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bookmarkIdSeed="3">
  <p:sldMasterIdLst>
    <p:sldMasterId id="2147483648" r:id="rId1"/>
    <p:sldMasterId id="2147483663" r:id="rId2"/>
    <p:sldMasterId id="2147483677" r:id="rId3"/>
  </p:sldMasterIdLst>
  <p:notesMasterIdLst>
    <p:notesMasterId r:id="rId128"/>
  </p:notesMasterIdLst>
  <p:handoutMasterIdLst>
    <p:handoutMasterId r:id="rId129"/>
  </p:handoutMasterIdLst>
  <p:sldIdLst>
    <p:sldId id="296" r:id="rId4"/>
    <p:sldId id="1191" r:id="rId5"/>
    <p:sldId id="764" r:id="rId6"/>
    <p:sldId id="704" r:id="rId7"/>
    <p:sldId id="766" r:id="rId8"/>
    <p:sldId id="767" r:id="rId9"/>
    <p:sldId id="826" r:id="rId10"/>
    <p:sldId id="827" r:id="rId11"/>
    <p:sldId id="1883" r:id="rId12"/>
    <p:sldId id="825" r:id="rId13"/>
    <p:sldId id="768" r:id="rId14"/>
    <p:sldId id="828" r:id="rId15"/>
    <p:sldId id="887" r:id="rId16"/>
    <p:sldId id="944" r:id="rId17"/>
    <p:sldId id="1060" r:id="rId18"/>
    <p:sldId id="1002" r:id="rId19"/>
    <p:sldId id="1119" r:id="rId20"/>
    <p:sldId id="1118" r:id="rId21"/>
    <p:sldId id="1121" r:id="rId22"/>
    <p:sldId id="1122" r:id="rId23"/>
    <p:sldId id="1887" r:id="rId24"/>
    <p:sldId id="1888" r:id="rId25"/>
    <p:sldId id="1123" r:id="rId26"/>
    <p:sldId id="1127" r:id="rId27"/>
    <p:sldId id="1128" r:id="rId28"/>
    <p:sldId id="1125" r:id="rId29"/>
    <p:sldId id="1129" r:id="rId30"/>
    <p:sldId id="1131" r:id="rId31"/>
    <p:sldId id="1132" r:id="rId32"/>
    <p:sldId id="1192" r:id="rId33"/>
    <p:sldId id="1284" r:id="rId34"/>
    <p:sldId id="1283" r:id="rId35"/>
    <p:sldId id="1885" r:id="rId36"/>
    <p:sldId id="1886" r:id="rId37"/>
    <p:sldId id="1195" r:id="rId38"/>
    <p:sldId id="1416" r:id="rId39"/>
    <p:sldId id="1414" r:id="rId40"/>
    <p:sldId id="1415" r:id="rId41"/>
    <p:sldId id="1641" r:id="rId42"/>
    <p:sldId id="1419" r:id="rId43"/>
    <p:sldId id="1420" r:id="rId44"/>
    <p:sldId id="1418" r:id="rId45"/>
    <p:sldId id="1194" r:id="rId46"/>
    <p:sldId id="1196" r:id="rId47"/>
    <p:sldId id="1410" r:id="rId48"/>
    <p:sldId id="1411" r:id="rId49"/>
    <p:sldId id="1197" r:id="rId50"/>
    <p:sldId id="1286" r:id="rId51"/>
    <p:sldId id="1282" r:id="rId52"/>
    <p:sldId id="1285" r:id="rId53"/>
    <p:sldId id="1287" r:id="rId54"/>
    <p:sldId id="1484" r:id="rId55"/>
    <p:sldId id="1486" r:id="rId56"/>
    <p:sldId id="1541" r:id="rId57"/>
    <p:sldId id="1281" r:id="rId58"/>
    <p:sldId id="1351" r:id="rId59"/>
    <p:sldId id="1483" r:id="rId60"/>
    <p:sldId id="1408" r:id="rId61"/>
    <p:sldId id="1409" r:id="rId62"/>
    <p:sldId id="1485" r:id="rId63"/>
    <p:sldId id="1593" r:id="rId64"/>
    <p:sldId id="1594" r:id="rId65"/>
    <p:sldId id="1595" r:id="rId66"/>
    <p:sldId id="1596" r:id="rId67"/>
    <p:sldId id="1599" r:id="rId68"/>
    <p:sldId id="1600" r:id="rId69"/>
    <p:sldId id="1601" r:id="rId70"/>
    <p:sldId id="1755" r:id="rId71"/>
    <p:sldId id="1603" r:id="rId72"/>
    <p:sldId id="1604" r:id="rId73"/>
    <p:sldId id="1753" r:id="rId74"/>
    <p:sldId id="1707" r:id="rId75"/>
    <p:sldId id="1708" r:id="rId76"/>
    <p:sldId id="719" r:id="rId77"/>
    <p:sldId id="727" r:id="rId78"/>
    <p:sldId id="1768" r:id="rId79"/>
    <p:sldId id="1757" r:id="rId80"/>
    <p:sldId id="1758" r:id="rId81"/>
    <p:sldId id="1769" r:id="rId82"/>
    <p:sldId id="1771" r:id="rId83"/>
    <p:sldId id="1761" r:id="rId84"/>
    <p:sldId id="1762" r:id="rId85"/>
    <p:sldId id="1794" r:id="rId86"/>
    <p:sldId id="1841" r:id="rId87"/>
    <p:sldId id="1774" r:id="rId88"/>
    <p:sldId id="1775" r:id="rId89"/>
    <p:sldId id="1777" r:id="rId90"/>
    <p:sldId id="1779" r:id="rId91"/>
    <p:sldId id="1780" r:id="rId92"/>
    <p:sldId id="1842" r:id="rId93"/>
    <p:sldId id="1782" r:id="rId94"/>
    <p:sldId id="1783" r:id="rId95"/>
    <p:sldId id="1787" r:id="rId96"/>
    <p:sldId id="1788" r:id="rId97"/>
    <p:sldId id="1790" r:id="rId98"/>
    <p:sldId id="1792" r:id="rId99"/>
    <p:sldId id="1793" r:id="rId100"/>
    <p:sldId id="1881" r:id="rId101"/>
    <p:sldId id="1843" r:id="rId102"/>
    <p:sldId id="1845" r:id="rId103"/>
    <p:sldId id="1844" r:id="rId104"/>
    <p:sldId id="722" r:id="rId105"/>
    <p:sldId id="736" r:id="rId106"/>
    <p:sldId id="737" r:id="rId107"/>
    <p:sldId id="738" r:id="rId108"/>
    <p:sldId id="739" r:id="rId109"/>
    <p:sldId id="740" r:id="rId110"/>
    <p:sldId id="741" r:id="rId111"/>
    <p:sldId id="742" r:id="rId112"/>
    <p:sldId id="743" r:id="rId113"/>
    <p:sldId id="744" r:id="rId114"/>
    <p:sldId id="745" r:id="rId115"/>
    <p:sldId id="720" r:id="rId116"/>
    <p:sldId id="1882" r:id="rId117"/>
    <p:sldId id="1742" r:id="rId118"/>
    <p:sldId id="1743" r:id="rId119"/>
    <p:sldId id="1744" r:id="rId120"/>
    <p:sldId id="1745" r:id="rId121"/>
    <p:sldId id="1747" r:id="rId122"/>
    <p:sldId id="1748" r:id="rId123"/>
    <p:sldId id="1749" r:id="rId124"/>
    <p:sldId id="1750" r:id="rId125"/>
    <p:sldId id="1751" r:id="rId126"/>
    <p:sldId id="696" r:id="rId127"/>
  </p:sldIdLst>
  <p:sldSz cx="12169775" cy="7021513"/>
  <p:notesSz cx="6797675" cy="9926638"/>
  <p:defaultTextStyle>
    <a:defPPr>
      <a:defRPr lang="zh-CN"/>
    </a:defPPr>
    <a:lvl1pPr marL="0" algn="l" defTabSz="1180465" rtl="0" eaLnBrk="1" latinLnBrk="0" hangingPunct="1">
      <a:defRPr sz="2300" kern="1200">
        <a:solidFill>
          <a:schemeClr val="tx1"/>
        </a:solidFill>
        <a:latin typeface="+mn-lt"/>
        <a:ea typeface="+mn-ea"/>
        <a:cs typeface="+mn-cs"/>
      </a:defRPr>
    </a:lvl1pPr>
    <a:lvl2pPr marL="590550" algn="l" defTabSz="1180465" rtl="0" eaLnBrk="1" latinLnBrk="0" hangingPunct="1">
      <a:defRPr sz="2300" kern="1200">
        <a:solidFill>
          <a:schemeClr val="tx1"/>
        </a:solidFill>
        <a:latin typeface="+mn-lt"/>
        <a:ea typeface="+mn-ea"/>
        <a:cs typeface="+mn-cs"/>
      </a:defRPr>
    </a:lvl2pPr>
    <a:lvl3pPr marL="1181100" algn="l" defTabSz="1180465" rtl="0" eaLnBrk="1" latinLnBrk="0" hangingPunct="1">
      <a:defRPr sz="2300" kern="1200">
        <a:solidFill>
          <a:schemeClr val="tx1"/>
        </a:solidFill>
        <a:latin typeface="+mn-lt"/>
        <a:ea typeface="+mn-ea"/>
        <a:cs typeface="+mn-cs"/>
      </a:defRPr>
    </a:lvl3pPr>
    <a:lvl4pPr marL="1771650" algn="l" defTabSz="1180465" rtl="0" eaLnBrk="1" latinLnBrk="0" hangingPunct="1">
      <a:defRPr sz="2300" kern="1200">
        <a:solidFill>
          <a:schemeClr val="tx1"/>
        </a:solidFill>
        <a:latin typeface="+mn-lt"/>
        <a:ea typeface="+mn-ea"/>
        <a:cs typeface="+mn-cs"/>
      </a:defRPr>
    </a:lvl4pPr>
    <a:lvl5pPr marL="2362200" algn="l" defTabSz="1180465" rtl="0" eaLnBrk="1" latinLnBrk="0" hangingPunct="1">
      <a:defRPr sz="2300" kern="1200">
        <a:solidFill>
          <a:schemeClr val="tx1"/>
        </a:solidFill>
        <a:latin typeface="+mn-lt"/>
        <a:ea typeface="+mn-ea"/>
        <a:cs typeface="+mn-cs"/>
      </a:defRPr>
    </a:lvl5pPr>
    <a:lvl6pPr marL="2952115" algn="l" defTabSz="1180465" rtl="0" eaLnBrk="1" latinLnBrk="0" hangingPunct="1">
      <a:defRPr sz="2300" kern="1200">
        <a:solidFill>
          <a:schemeClr val="tx1"/>
        </a:solidFill>
        <a:latin typeface="+mn-lt"/>
        <a:ea typeface="+mn-ea"/>
        <a:cs typeface="+mn-cs"/>
      </a:defRPr>
    </a:lvl6pPr>
    <a:lvl7pPr marL="3542665" algn="l" defTabSz="1180465" rtl="0" eaLnBrk="1" latinLnBrk="0" hangingPunct="1">
      <a:defRPr sz="2300" kern="1200">
        <a:solidFill>
          <a:schemeClr val="tx1"/>
        </a:solidFill>
        <a:latin typeface="+mn-lt"/>
        <a:ea typeface="+mn-ea"/>
        <a:cs typeface="+mn-cs"/>
      </a:defRPr>
    </a:lvl7pPr>
    <a:lvl8pPr marL="4133215" algn="l" defTabSz="1180465" rtl="0" eaLnBrk="1" latinLnBrk="0" hangingPunct="1">
      <a:defRPr sz="2300" kern="1200">
        <a:solidFill>
          <a:schemeClr val="tx1"/>
        </a:solidFill>
        <a:latin typeface="+mn-lt"/>
        <a:ea typeface="+mn-ea"/>
        <a:cs typeface="+mn-cs"/>
      </a:defRPr>
    </a:lvl8pPr>
    <a:lvl9pPr marL="4723765" algn="l" defTabSz="1180465" rtl="0" eaLnBrk="1" latinLnBrk="0" hangingPunct="1">
      <a:defRPr sz="23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3F130AEA-CD9C-40FB-92FB-9CDB9002632B}">
          <p14:sldIdLst>
            <p14:sldId id="296"/>
            <p14:sldId id="1191"/>
            <p14:sldId id="764"/>
            <p14:sldId id="704"/>
            <p14:sldId id="766"/>
            <p14:sldId id="767"/>
            <p14:sldId id="826"/>
            <p14:sldId id="827"/>
            <p14:sldId id="1883"/>
            <p14:sldId id="825"/>
            <p14:sldId id="768"/>
            <p14:sldId id="828"/>
            <p14:sldId id="887"/>
            <p14:sldId id="944"/>
            <p14:sldId id="1060"/>
            <p14:sldId id="1002"/>
            <p14:sldId id="1119"/>
            <p14:sldId id="1118"/>
            <p14:sldId id="1121"/>
            <p14:sldId id="1122"/>
            <p14:sldId id="1887"/>
            <p14:sldId id="1888"/>
            <p14:sldId id="1123"/>
            <p14:sldId id="1127"/>
            <p14:sldId id="1128"/>
            <p14:sldId id="1125"/>
            <p14:sldId id="1129"/>
            <p14:sldId id="1131"/>
            <p14:sldId id="1132"/>
            <p14:sldId id="1192"/>
            <p14:sldId id="1284"/>
            <p14:sldId id="1283"/>
            <p14:sldId id="1885"/>
            <p14:sldId id="1886"/>
            <p14:sldId id="1195"/>
            <p14:sldId id="1416"/>
            <p14:sldId id="1414"/>
            <p14:sldId id="1415"/>
            <p14:sldId id="1641"/>
            <p14:sldId id="1419"/>
            <p14:sldId id="1420"/>
            <p14:sldId id="1418"/>
            <p14:sldId id="1194"/>
            <p14:sldId id="1196"/>
            <p14:sldId id="1410"/>
            <p14:sldId id="1411"/>
            <p14:sldId id="1197"/>
            <p14:sldId id="1286"/>
            <p14:sldId id="1282"/>
            <p14:sldId id="1285"/>
            <p14:sldId id="1287"/>
            <p14:sldId id="1484"/>
            <p14:sldId id="1486"/>
            <p14:sldId id="1541"/>
            <p14:sldId id="1281"/>
            <p14:sldId id="1351"/>
            <p14:sldId id="1483"/>
            <p14:sldId id="1408"/>
            <p14:sldId id="1409"/>
            <p14:sldId id="1485"/>
            <p14:sldId id="1593"/>
            <p14:sldId id="1594"/>
            <p14:sldId id="1595"/>
            <p14:sldId id="1596"/>
            <p14:sldId id="1599"/>
            <p14:sldId id="1600"/>
            <p14:sldId id="1601"/>
            <p14:sldId id="1755"/>
            <p14:sldId id="1603"/>
            <p14:sldId id="1604"/>
            <p14:sldId id="1753"/>
            <p14:sldId id="1707"/>
            <p14:sldId id="1708"/>
            <p14:sldId id="719"/>
            <p14:sldId id="727"/>
            <p14:sldId id="1768"/>
            <p14:sldId id="1757"/>
            <p14:sldId id="1758"/>
            <p14:sldId id="1769"/>
            <p14:sldId id="1771"/>
            <p14:sldId id="1761"/>
            <p14:sldId id="1762"/>
            <p14:sldId id="1794"/>
            <p14:sldId id="1841"/>
            <p14:sldId id="1774"/>
            <p14:sldId id="1775"/>
            <p14:sldId id="1777"/>
            <p14:sldId id="1779"/>
            <p14:sldId id="1780"/>
            <p14:sldId id="1842"/>
            <p14:sldId id="1782"/>
            <p14:sldId id="1783"/>
            <p14:sldId id="1787"/>
            <p14:sldId id="1788"/>
            <p14:sldId id="1790"/>
            <p14:sldId id="1792"/>
            <p14:sldId id="1793"/>
            <p14:sldId id="1881"/>
            <p14:sldId id="1843"/>
            <p14:sldId id="1845"/>
            <p14:sldId id="1844"/>
            <p14:sldId id="722"/>
            <p14:sldId id="736"/>
            <p14:sldId id="737"/>
            <p14:sldId id="738"/>
            <p14:sldId id="739"/>
            <p14:sldId id="740"/>
            <p14:sldId id="741"/>
            <p14:sldId id="742"/>
            <p14:sldId id="743"/>
            <p14:sldId id="744"/>
            <p14:sldId id="745"/>
            <p14:sldId id="720"/>
            <p14:sldId id="1882"/>
            <p14:sldId id="1742"/>
            <p14:sldId id="1743"/>
            <p14:sldId id="1744"/>
            <p14:sldId id="1745"/>
            <p14:sldId id="1747"/>
            <p14:sldId id="1748"/>
            <p14:sldId id="1749"/>
            <p14:sldId id="1750"/>
            <p14:sldId id="1751"/>
            <p14:sldId id="696"/>
          </p14:sldIdLst>
        </p14:section>
      </p14:sectionLst>
    </p:ext>
    <p:ext uri="{EFAFB233-063F-42B5-8137-9DF3F51BA10A}">
      <p15:sldGuideLst xmlns:p15="http://schemas.microsoft.com/office/powerpoint/2012/main">
        <p15:guide id="1" orient="horz" pos="2188">
          <p15:clr>
            <a:srgbClr val="A4A3A4"/>
          </p15:clr>
        </p15:guide>
        <p15:guide id="2" pos="2862">
          <p15:clr>
            <a:srgbClr val="A4A3A4"/>
          </p15:clr>
        </p15:guide>
        <p15:guide id="3" pos="380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0074"/>
    <a:srgbClr val="F64C31"/>
    <a:srgbClr val="06A606"/>
    <a:srgbClr val="FBFBFB"/>
    <a:srgbClr val="447DAC"/>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88" autoAdjust="0"/>
    <p:restoredTop sz="92449" autoAdjust="0"/>
  </p:normalViewPr>
  <p:slideViewPr>
    <p:cSldViewPr>
      <p:cViewPr varScale="1">
        <p:scale>
          <a:sx n="109" d="100"/>
          <a:sy n="109" d="100"/>
        </p:scale>
        <p:origin x="420" y="108"/>
      </p:cViewPr>
      <p:guideLst>
        <p:guide orient="horz" pos="2188"/>
        <p:guide pos="2862"/>
        <p:guide pos="3802"/>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28" Type="http://schemas.openxmlformats.org/officeDocument/2006/relationships/notesMaster" Target="notesMasters/notesMaster1.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handoutMaster" Target="handoutMasters/handoutMaster1.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presProps" Target="presProp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theme" Target="theme/theme1.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19748" cy="540650"/>
          </a:xfrm>
          <a:prstGeom prst="rect">
            <a:avLst/>
          </a:prstGeom>
        </p:spPr>
        <p:txBody>
          <a:bodyPr vert="horz" lIns="91440" tIns="45720" rIns="91440" bIns="45720" rtlCol="0"/>
          <a:lstStyle>
            <a:lvl1pPr algn="l">
              <a:defRPr sz="1180"/>
            </a:lvl1pPr>
          </a:lstStyle>
          <a:p>
            <a:endParaRPr lang="zh-CN" altLang="en-US"/>
          </a:p>
        </p:txBody>
      </p:sp>
      <p:sp>
        <p:nvSpPr>
          <p:cNvPr id="3" name="日期占位符 2"/>
          <p:cNvSpPr>
            <a:spLocks noGrp="1"/>
          </p:cNvSpPr>
          <p:nvPr>
            <p:ph type="dt" sz="quarter" idx="1"/>
          </p:nvPr>
        </p:nvSpPr>
        <p:spPr>
          <a:xfrm>
            <a:off x="3816573" y="0"/>
            <a:ext cx="2919748" cy="540650"/>
          </a:xfrm>
          <a:prstGeom prst="rect">
            <a:avLst/>
          </a:prstGeom>
        </p:spPr>
        <p:txBody>
          <a:bodyPr vert="horz" lIns="91440" tIns="45720" rIns="91440" bIns="45720" rtlCol="0"/>
          <a:lstStyle>
            <a:lvl1pPr algn="r">
              <a:defRPr sz="1180"/>
            </a:lvl1pPr>
          </a:lstStyle>
          <a:p>
            <a:fld id="{0F9B84EA-7D68-4D60-9CB1-D50884785D1C}" type="datetimeFigureOut">
              <a:rPr lang="zh-CN" altLang="en-US" smtClean="0"/>
              <a:t>2021/1/13</a:t>
            </a:fld>
            <a:endParaRPr lang="zh-CN" altLang="en-US"/>
          </a:p>
        </p:txBody>
      </p:sp>
      <p:sp>
        <p:nvSpPr>
          <p:cNvPr id="4" name="页脚占位符 3"/>
          <p:cNvSpPr>
            <a:spLocks noGrp="1"/>
          </p:cNvSpPr>
          <p:nvPr>
            <p:ph type="ftr" sz="quarter" idx="2"/>
          </p:nvPr>
        </p:nvSpPr>
        <p:spPr>
          <a:xfrm>
            <a:off x="0" y="10234923"/>
            <a:ext cx="2919748" cy="540649"/>
          </a:xfrm>
          <a:prstGeom prst="rect">
            <a:avLst/>
          </a:prstGeom>
        </p:spPr>
        <p:txBody>
          <a:bodyPr vert="horz" lIns="91440" tIns="45720" rIns="91440" bIns="45720" rtlCol="0" anchor="b"/>
          <a:lstStyle>
            <a:lvl1pPr algn="l">
              <a:defRPr sz="1180"/>
            </a:lvl1pPr>
          </a:lstStyle>
          <a:p>
            <a:endParaRPr lang="zh-CN" altLang="en-US"/>
          </a:p>
        </p:txBody>
      </p:sp>
      <p:sp>
        <p:nvSpPr>
          <p:cNvPr id="5" name="灯片编号占位符 4"/>
          <p:cNvSpPr>
            <a:spLocks noGrp="1"/>
          </p:cNvSpPr>
          <p:nvPr>
            <p:ph type="sldNum" sz="quarter" idx="3"/>
          </p:nvPr>
        </p:nvSpPr>
        <p:spPr>
          <a:xfrm>
            <a:off x="3816573" y="10234923"/>
            <a:ext cx="2919748" cy="540649"/>
          </a:xfrm>
          <a:prstGeom prst="rect">
            <a:avLst/>
          </a:prstGeom>
        </p:spPr>
        <p:txBody>
          <a:bodyPr vert="horz" lIns="91440" tIns="45720" rIns="91440" bIns="45720" rtlCol="0" anchor="b"/>
          <a:lstStyle>
            <a:lvl1pPr algn="r">
              <a:defRPr sz="118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38030922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0992" tIns="45496" rIns="90992" bIns="45496"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6332"/>
          </a:xfrm>
          <a:prstGeom prst="rect">
            <a:avLst/>
          </a:prstGeom>
        </p:spPr>
        <p:txBody>
          <a:bodyPr vert="horz" lIns="90992" tIns="45496" rIns="90992" bIns="45496" rtlCol="0"/>
          <a:lstStyle>
            <a:lvl1pPr algn="r">
              <a:defRPr sz="1200"/>
            </a:lvl1pPr>
          </a:lstStyle>
          <a:p>
            <a:fld id="{0BDC8A9F-03BA-4092-90C6-8DBCCC555570}" type="datetimeFigureOut">
              <a:rPr lang="zh-CN" altLang="en-US" smtClean="0"/>
              <a:t>2021/1/13</a:t>
            </a:fld>
            <a:endParaRPr lang="zh-CN" altLang="en-US"/>
          </a:p>
        </p:txBody>
      </p:sp>
      <p:sp>
        <p:nvSpPr>
          <p:cNvPr id="4" name="幻灯片图像占位符 3"/>
          <p:cNvSpPr>
            <a:spLocks noGrp="1" noRot="1" noChangeAspect="1"/>
          </p:cNvSpPr>
          <p:nvPr>
            <p:ph type="sldImg" idx="2"/>
          </p:nvPr>
        </p:nvSpPr>
        <p:spPr>
          <a:xfrm>
            <a:off x="173038" y="744538"/>
            <a:ext cx="6451600" cy="3722687"/>
          </a:xfrm>
          <a:prstGeom prst="rect">
            <a:avLst/>
          </a:prstGeom>
          <a:noFill/>
          <a:ln w="12700">
            <a:solidFill>
              <a:prstClr val="black"/>
            </a:solidFill>
          </a:ln>
        </p:spPr>
        <p:txBody>
          <a:bodyPr vert="horz" lIns="90992" tIns="45496" rIns="90992" bIns="45496" rtlCol="0" anchor="ctr"/>
          <a:lstStyle/>
          <a:p>
            <a:endParaRPr lang="zh-CN" altLang="en-US"/>
          </a:p>
        </p:txBody>
      </p:sp>
      <p:sp>
        <p:nvSpPr>
          <p:cNvPr id="5" name="备注占位符 4"/>
          <p:cNvSpPr>
            <a:spLocks noGrp="1"/>
          </p:cNvSpPr>
          <p:nvPr>
            <p:ph type="body" sz="quarter" idx="3"/>
          </p:nvPr>
        </p:nvSpPr>
        <p:spPr>
          <a:xfrm>
            <a:off x="679768" y="4715154"/>
            <a:ext cx="5438140" cy="4466987"/>
          </a:xfrm>
          <a:prstGeom prst="rect">
            <a:avLst/>
          </a:prstGeom>
        </p:spPr>
        <p:txBody>
          <a:bodyPr vert="horz" lIns="90992" tIns="45496" rIns="90992" bIns="45496"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28584"/>
            <a:ext cx="2945659" cy="496332"/>
          </a:xfrm>
          <a:prstGeom prst="rect">
            <a:avLst/>
          </a:prstGeom>
        </p:spPr>
        <p:txBody>
          <a:bodyPr vert="horz" lIns="90992" tIns="45496" rIns="90992" bIns="45496"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4"/>
            <a:ext cx="2945659" cy="496332"/>
          </a:xfrm>
          <a:prstGeom prst="rect">
            <a:avLst/>
          </a:prstGeom>
        </p:spPr>
        <p:txBody>
          <a:bodyPr vert="horz" lIns="90992" tIns="45496" rIns="90992" bIns="45496" rtlCol="0" anchor="b"/>
          <a:lstStyle>
            <a:lvl1pPr algn="r">
              <a:defRPr sz="1200"/>
            </a:lvl1pPr>
          </a:lstStyle>
          <a:p>
            <a:fld id="{22DBFBE1-4ACE-405D-BA7B-7132CCF5E40B}" type="slidenum">
              <a:rPr lang="zh-CN" altLang="en-US" smtClean="0"/>
              <a:t>‹#›</a:t>
            </a:fld>
            <a:endParaRPr lang="zh-CN" altLang="en-US"/>
          </a:p>
        </p:txBody>
      </p:sp>
    </p:spTree>
    <p:extLst>
      <p:ext uri="{BB962C8B-B14F-4D97-AF65-F5344CB8AC3E}">
        <p14:creationId xmlns:p14="http://schemas.microsoft.com/office/powerpoint/2010/main" val="3629429102"/>
      </p:ext>
    </p:extLst>
  </p:cSld>
  <p:clrMap bg1="lt1" tx1="dk1" bg2="lt2" tx2="dk2" accent1="accent1" accent2="accent2" accent3="accent3" accent4="accent4" accent5="accent5" accent6="accent6" hlink="hlink" folHlink="folHlink"/>
  <p:notesStyle>
    <a:lvl1pPr marL="0" algn="l" defTabSz="1180465" rtl="0" eaLnBrk="1" latinLnBrk="0" hangingPunct="1">
      <a:defRPr sz="1500" kern="1200">
        <a:solidFill>
          <a:schemeClr val="tx1"/>
        </a:solidFill>
        <a:latin typeface="+mn-lt"/>
        <a:ea typeface="+mn-ea"/>
        <a:cs typeface="+mn-cs"/>
      </a:defRPr>
    </a:lvl1pPr>
    <a:lvl2pPr marL="590550" algn="l" defTabSz="1180465" rtl="0" eaLnBrk="1" latinLnBrk="0" hangingPunct="1">
      <a:defRPr sz="1500" kern="1200">
        <a:solidFill>
          <a:schemeClr val="tx1"/>
        </a:solidFill>
        <a:latin typeface="+mn-lt"/>
        <a:ea typeface="+mn-ea"/>
        <a:cs typeface="+mn-cs"/>
      </a:defRPr>
    </a:lvl2pPr>
    <a:lvl3pPr marL="1181100" algn="l" defTabSz="1180465" rtl="0" eaLnBrk="1" latinLnBrk="0" hangingPunct="1">
      <a:defRPr sz="1500" kern="1200">
        <a:solidFill>
          <a:schemeClr val="tx1"/>
        </a:solidFill>
        <a:latin typeface="+mn-lt"/>
        <a:ea typeface="+mn-ea"/>
        <a:cs typeface="+mn-cs"/>
      </a:defRPr>
    </a:lvl3pPr>
    <a:lvl4pPr marL="1771650" algn="l" defTabSz="1180465" rtl="0" eaLnBrk="1" latinLnBrk="0" hangingPunct="1">
      <a:defRPr sz="1500" kern="1200">
        <a:solidFill>
          <a:schemeClr val="tx1"/>
        </a:solidFill>
        <a:latin typeface="+mn-lt"/>
        <a:ea typeface="+mn-ea"/>
        <a:cs typeface="+mn-cs"/>
      </a:defRPr>
    </a:lvl4pPr>
    <a:lvl5pPr marL="2362200" algn="l" defTabSz="1180465" rtl="0" eaLnBrk="1" latinLnBrk="0" hangingPunct="1">
      <a:defRPr sz="1500" kern="1200">
        <a:solidFill>
          <a:schemeClr val="tx1"/>
        </a:solidFill>
        <a:latin typeface="+mn-lt"/>
        <a:ea typeface="+mn-ea"/>
        <a:cs typeface="+mn-cs"/>
      </a:defRPr>
    </a:lvl5pPr>
    <a:lvl6pPr marL="2952115" algn="l" defTabSz="1180465" rtl="0" eaLnBrk="1" latinLnBrk="0" hangingPunct="1">
      <a:defRPr sz="1500" kern="1200">
        <a:solidFill>
          <a:schemeClr val="tx1"/>
        </a:solidFill>
        <a:latin typeface="+mn-lt"/>
        <a:ea typeface="+mn-ea"/>
        <a:cs typeface="+mn-cs"/>
      </a:defRPr>
    </a:lvl6pPr>
    <a:lvl7pPr marL="3542665" algn="l" defTabSz="1180465" rtl="0" eaLnBrk="1" latinLnBrk="0" hangingPunct="1">
      <a:defRPr sz="1500" kern="1200">
        <a:solidFill>
          <a:schemeClr val="tx1"/>
        </a:solidFill>
        <a:latin typeface="+mn-lt"/>
        <a:ea typeface="+mn-ea"/>
        <a:cs typeface="+mn-cs"/>
      </a:defRPr>
    </a:lvl7pPr>
    <a:lvl8pPr marL="4133215" algn="l" defTabSz="1180465" rtl="0" eaLnBrk="1" latinLnBrk="0" hangingPunct="1">
      <a:defRPr sz="1500" kern="1200">
        <a:solidFill>
          <a:schemeClr val="tx1"/>
        </a:solidFill>
        <a:latin typeface="+mn-lt"/>
        <a:ea typeface="+mn-ea"/>
        <a:cs typeface="+mn-cs"/>
      </a:defRPr>
    </a:lvl8pPr>
    <a:lvl9pPr marL="4723765" algn="l" defTabSz="1180465" rtl="0" eaLnBrk="1" latinLnBrk="0" hangingPunct="1">
      <a:defRPr sz="15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12" Type="http://schemas.openxmlformats.org/officeDocument/2006/relationships/image" Target="../media/image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4.png"/><Relationship Id="rId5" Type="http://schemas.openxmlformats.org/officeDocument/2006/relationships/tags" Target="../tags/tag4.xml"/><Relationship Id="rId10" Type="http://schemas.openxmlformats.org/officeDocument/2006/relationships/image" Target="../media/image3.jpeg"/><Relationship Id="rId4" Type="http://schemas.openxmlformats.org/officeDocument/2006/relationships/tags" Target="../tags/tag3.xml"/><Relationship Id="rId9"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2733" y="2181224"/>
            <a:ext cx="10344309" cy="534017"/>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5466" y="3978862"/>
            <a:ext cx="8518843" cy="765578"/>
          </a:xfrm>
        </p:spPr>
        <p:txBody>
          <a:bodyPr/>
          <a:lstStyle>
            <a:lvl1pPr marL="0" indent="0" algn="ctr">
              <a:buNone/>
              <a:defRPr/>
            </a:lvl1pPr>
            <a:lvl2pPr marL="590550" indent="0" algn="ctr">
              <a:buNone/>
              <a:defRPr/>
            </a:lvl2pPr>
            <a:lvl3pPr marL="1181100" indent="0" algn="ctr">
              <a:buNone/>
              <a:defRPr/>
            </a:lvl3pPr>
            <a:lvl4pPr marL="1771650" indent="0" algn="ctr">
              <a:buNone/>
              <a:defRPr/>
            </a:lvl4pPr>
            <a:lvl5pPr marL="2362200" indent="0" algn="ctr">
              <a:buNone/>
              <a:defRPr/>
            </a:lvl5pPr>
            <a:lvl6pPr marL="2952115" indent="0" algn="ctr">
              <a:buNone/>
              <a:defRPr/>
            </a:lvl6pPr>
            <a:lvl7pPr marL="3542665" indent="0" algn="ctr">
              <a:buNone/>
              <a:defRPr/>
            </a:lvl7pPr>
            <a:lvl8pPr marL="4133215" indent="0" algn="ctr">
              <a:buNone/>
              <a:defRPr/>
            </a:lvl8pPr>
            <a:lvl9pPr marL="4723765" indent="0" algn="ctr">
              <a:buNone/>
              <a:defRPr/>
            </a:lvl9pPr>
          </a:lstStyle>
          <a:p>
            <a:r>
              <a:rPr lang="zh-CN" altLang="en-US" smtClean="0"/>
              <a:t>单击此处编辑母版副标题样式</a:t>
            </a: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5361" y="4802107"/>
            <a:ext cx="7301865" cy="534017"/>
          </a:xfrm>
        </p:spPr>
        <p:txBody>
          <a:bodyPr anchor="b"/>
          <a:lstStyle>
            <a:lvl1pPr algn="l">
              <a:defRPr sz="26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5361" y="627385"/>
            <a:ext cx="7301865" cy="1381131"/>
          </a:xfrm>
        </p:spPr>
        <p:txBody>
          <a:bodyPr/>
          <a:lstStyle>
            <a:lvl1pPr marL="0" indent="0">
              <a:buNone/>
              <a:defRPr sz="4100"/>
            </a:lvl1pPr>
            <a:lvl2pPr marL="590550" indent="0">
              <a:buNone/>
              <a:defRPr sz="3600"/>
            </a:lvl2pPr>
            <a:lvl3pPr marL="1181100" indent="0">
              <a:buNone/>
              <a:defRPr sz="3100"/>
            </a:lvl3pPr>
            <a:lvl4pPr marL="1771650" indent="0">
              <a:buNone/>
              <a:defRPr sz="2600"/>
            </a:lvl4pPr>
            <a:lvl5pPr marL="2362200" indent="0">
              <a:buNone/>
              <a:defRPr sz="2600"/>
            </a:lvl5pPr>
            <a:lvl6pPr marL="2952115" indent="0">
              <a:buNone/>
              <a:defRPr sz="2600"/>
            </a:lvl6pPr>
            <a:lvl7pPr marL="3542665" indent="0">
              <a:buNone/>
              <a:defRPr sz="2600"/>
            </a:lvl7pPr>
            <a:lvl8pPr marL="4133215" indent="0">
              <a:buNone/>
              <a:defRPr sz="2600"/>
            </a:lvl8pPr>
            <a:lvl9pPr marL="4723765" indent="0">
              <a:buNone/>
              <a:defRPr sz="2600"/>
            </a:lvl9pPr>
          </a:lstStyle>
          <a:p>
            <a:pPr lvl="0"/>
            <a:r>
              <a:rPr lang="zh-CN" altLang="en-US" noProof="0" smtClean="0"/>
              <a:t>单击图标添加图片</a:t>
            </a:r>
            <a:endParaRPr lang="zh-CN" altLang="en-US" noProof="0"/>
          </a:p>
        </p:txBody>
      </p:sp>
      <p:sp>
        <p:nvSpPr>
          <p:cNvPr id="4" name="文本占位符 3"/>
          <p:cNvSpPr>
            <a:spLocks noGrp="1"/>
          </p:cNvSpPr>
          <p:nvPr>
            <p:ph type="body" sz="half" idx="2"/>
          </p:nvPr>
        </p:nvSpPr>
        <p:spPr>
          <a:xfrm>
            <a:off x="2385361" y="5495310"/>
            <a:ext cx="7301865" cy="673245"/>
          </a:xfrm>
        </p:spPr>
        <p:txBody>
          <a:bodyPr/>
          <a:lstStyle>
            <a:lvl1pPr marL="0" indent="0">
              <a:buNone/>
              <a:defRPr sz="1800"/>
            </a:lvl1pPr>
            <a:lvl2pPr marL="590550" indent="0">
              <a:buNone/>
              <a:defRPr sz="1500"/>
            </a:lvl2pPr>
            <a:lvl3pPr marL="1181100" indent="0">
              <a:buNone/>
              <a:defRPr sz="1300"/>
            </a:lvl3pPr>
            <a:lvl4pPr marL="1771650" indent="0">
              <a:buNone/>
              <a:defRPr sz="1200"/>
            </a:lvl4pPr>
            <a:lvl5pPr marL="2362200" indent="0">
              <a:buNone/>
              <a:defRPr sz="1200"/>
            </a:lvl5pPr>
            <a:lvl6pPr marL="2952115" indent="0">
              <a:buNone/>
              <a:defRPr sz="1200"/>
            </a:lvl6pPr>
            <a:lvl7pPr marL="3542665" indent="0">
              <a:buNone/>
              <a:defRPr sz="1200"/>
            </a:lvl7pPr>
            <a:lvl8pPr marL="4133215" indent="0">
              <a:buNone/>
              <a:defRPr sz="1200"/>
            </a:lvl8pPr>
            <a:lvl9pPr marL="4723765" indent="0">
              <a:buNone/>
              <a:defRPr sz="1200"/>
            </a:lvl9pPr>
          </a:lstStyle>
          <a:p>
            <a:pPr lvl="0"/>
            <a:r>
              <a:rPr lang="zh-CN" altLang="en-US" smtClean="0"/>
              <a:t>单击此处编辑母版文本样式</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447674" y="708655"/>
            <a:ext cx="16008968" cy="4490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1027277" y="240554"/>
            <a:ext cx="534017" cy="592440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795223" y="240554"/>
            <a:ext cx="3784895" cy="592440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441578" y="240555"/>
            <a:ext cx="9032256" cy="534017"/>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8489" y="1225514"/>
            <a:ext cx="5374984" cy="360943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6186302" y="1225515"/>
            <a:ext cx="5374984" cy="360943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6186302" y="3772438"/>
            <a:ext cx="5374984" cy="360943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标题幻灯片">
    <p:bg>
      <p:bgPr>
        <a:solidFill>
          <a:srgbClr val="C2C1C1"/>
        </a:solidFill>
        <a:effectLst/>
      </p:bgPr>
    </p:bg>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nvGraphicFramePr>
        <p:xfrm>
          <a:off x="0" y="1"/>
          <a:ext cx="211281" cy="162535"/>
        </p:xfrm>
        <a:graphic>
          <a:graphicData uri="http://schemas.openxmlformats.org/presentationml/2006/ole">
            <mc:AlternateContent xmlns:mc="http://schemas.openxmlformats.org/markup-compatibility/2006">
              <mc:Choice xmlns:v="urn:schemas-microsoft-com:vml" Requires="v">
                <p:oleObj spid="_x0000_s30216" name="think-cell Slide" r:id="rId8" imgW="12700" imgH="12700" progId="">
                  <p:embed/>
                </p:oleObj>
              </mc:Choice>
              <mc:Fallback>
                <p:oleObj name="think-cell Slide" r:id="rId8" imgW="12700" imgH="12700" progId="">
                  <p:embed/>
                  <p:pic>
                    <p:nvPicPr>
                      <p:cNvPr id="0" name="Picture 8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211281" cy="1625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descr="11"/>
          <p:cNvSpPr>
            <a:spLocks noGrp="1" noChangeAspect="1" noChangeArrowheads="1"/>
          </p:cNvSpPr>
          <p:nvPr isPhoto="1" userDrawn="1">
            <p:custDataLst>
              <p:tags r:id="rId2"/>
            </p:custDataLst>
          </p:nvPr>
        </p:nvSpPr>
        <p:spPr bwMode="auto">
          <a:xfrm>
            <a:off x="1" y="0"/>
            <a:ext cx="12167663" cy="7021513"/>
          </a:xfrm>
          <a:prstGeom prst="rect">
            <a:avLst/>
          </a:prstGeom>
          <a:blipFill dpi="0" rotWithShape="1">
            <a:blip r:embed="rId10" cstate="email"/>
            <a:srcRect/>
            <a:stretch>
              <a:fillRect b="-3"/>
            </a:stretch>
          </a:blipFill>
          <a:ln w="9525">
            <a:solidFill>
              <a:schemeClr val="tx1"/>
            </a:solidFill>
            <a:miter lim="800000"/>
          </a:ln>
          <a:effectLst/>
        </p:spPr>
        <p:txBody>
          <a:bodyPr lIns="118095" tIns="59047" rIns="118095" bIns="59047"/>
          <a:lstStyle/>
          <a:p>
            <a:pPr algn="ctr">
              <a:spcBef>
                <a:spcPts val="0"/>
              </a:spcBef>
              <a:spcAft>
                <a:spcPts val="0"/>
              </a:spcAft>
              <a:defRPr/>
            </a:pPr>
            <a:endParaRPr lang="zh-CN" altLang="en-US" sz="2300" b="0" dirty="0">
              <a:ea typeface="+mn-ea"/>
            </a:endParaRPr>
          </a:p>
        </p:txBody>
      </p:sp>
      <p:pic>
        <p:nvPicPr>
          <p:cNvPr id="6" name="Picture 12" descr="集团logo"/>
          <p:cNvPicPr>
            <a:picLocks noChangeAspect="1" noChangeArrowheads="1"/>
          </p:cNvPicPr>
          <p:nvPr userDrawn="1">
            <p:custDataLst>
              <p:tags r:id="rId3"/>
            </p:custDataLst>
          </p:nvPr>
        </p:nvPicPr>
        <p:blipFill>
          <a:blip r:embed="rId11" cstate="print"/>
          <a:srcRect/>
          <a:stretch>
            <a:fillRect/>
          </a:stretch>
        </p:blipFill>
        <p:spPr bwMode="auto">
          <a:xfrm>
            <a:off x="9535104" y="266559"/>
            <a:ext cx="2011393" cy="394960"/>
          </a:xfrm>
          <a:prstGeom prst="rect">
            <a:avLst/>
          </a:prstGeom>
          <a:noFill/>
          <a:ln w="9525">
            <a:noFill/>
            <a:miter lim="800000"/>
            <a:headEnd/>
            <a:tailEnd/>
          </a:ln>
        </p:spPr>
      </p:pic>
      <p:sp>
        <p:nvSpPr>
          <p:cNvPr id="7" name="Line 664"/>
          <p:cNvSpPr>
            <a:spLocks noChangeShapeType="1"/>
          </p:cNvSpPr>
          <p:nvPr userDrawn="1">
            <p:custDataLst>
              <p:tags r:id="rId4"/>
            </p:custDataLst>
          </p:nvPr>
        </p:nvSpPr>
        <p:spPr bwMode="white">
          <a:xfrm>
            <a:off x="150013" y="3418113"/>
            <a:ext cx="8328690" cy="1624"/>
          </a:xfrm>
          <a:prstGeom prst="line">
            <a:avLst/>
          </a:prstGeom>
          <a:noFill/>
          <a:ln w="28575">
            <a:solidFill>
              <a:schemeClr val="bg1"/>
            </a:solidFill>
            <a:round/>
          </a:ln>
        </p:spPr>
        <p:txBody>
          <a:bodyPr wrap="none" lIns="0" tIns="0" rIns="0" bIns="0" anchor="ctr"/>
          <a:lstStyle/>
          <a:p>
            <a:pPr>
              <a:defRPr/>
            </a:pPr>
            <a:endParaRPr lang="zh-CN" altLang="en-US" b="0"/>
          </a:p>
        </p:txBody>
      </p:sp>
      <p:sp>
        <p:nvSpPr>
          <p:cNvPr id="8" name="Rectangle 19"/>
          <p:cNvSpPr>
            <a:spLocks noChangeArrowheads="1"/>
          </p:cNvSpPr>
          <p:nvPr userDrawn="1">
            <p:custDataLst>
              <p:tags r:id="rId5"/>
            </p:custDataLst>
          </p:nvPr>
        </p:nvSpPr>
        <p:spPr bwMode="auto">
          <a:xfrm>
            <a:off x="283117" y="4984951"/>
            <a:ext cx="11601430" cy="737909"/>
          </a:xfrm>
          <a:prstGeom prst="rect">
            <a:avLst/>
          </a:prstGeom>
          <a:solidFill>
            <a:srgbClr val="FFFFFF"/>
          </a:solidFill>
          <a:ln w="9525" algn="ctr">
            <a:noFill/>
            <a:miter lim="800000"/>
          </a:ln>
          <a:effectLst/>
        </p:spPr>
        <p:txBody>
          <a:bodyPr wrap="none" lIns="118095" tIns="59047" rIns="118095" bIns="59047" anchor="ctr"/>
          <a:lstStyle/>
          <a:p>
            <a:pPr>
              <a:defRPr/>
            </a:pPr>
            <a:endParaRPr lang="zh-CN" altLang="en-US" b="0"/>
          </a:p>
        </p:txBody>
      </p:sp>
      <p:sp>
        <p:nvSpPr>
          <p:cNvPr id="9" name="Rectangle 62"/>
          <p:cNvSpPr>
            <a:spLocks noChangeArrowheads="1"/>
          </p:cNvSpPr>
          <p:nvPr userDrawn="1">
            <p:custDataLst>
              <p:tags r:id="rId6"/>
            </p:custDataLst>
          </p:nvPr>
        </p:nvSpPr>
        <p:spPr bwMode="auto">
          <a:xfrm>
            <a:off x="9159024" y="2699709"/>
            <a:ext cx="2829049" cy="943359"/>
          </a:xfrm>
          <a:prstGeom prst="rect">
            <a:avLst/>
          </a:prstGeom>
          <a:noFill/>
          <a:ln w="9525" algn="ctr">
            <a:noFill/>
            <a:miter lim="800000"/>
          </a:ln>
          <a:effectLst/>
        </p:spPr>
        <p:txBody>
          <a:bodyPr lIns="46494" tIns="46494" rIns="46494" bIns="46494">
            <a:spAutoFit/>
          </a:bodyPr>
          <a:lstStyle/>
          <a:p>
            <a:pPr>
              <a:lnSpc>
                <a:spcPct val="120000"/>
              </a:lnSpc>
              <a:buSzPct val="80000"/>
              <a:buFont typeface="Wingdings" panose="05000000000000000000" pitchFamily="2" charset="2"/>
              <a:buNone/>
              <a:defRPr/>
            </a:pPr>
            <a:r>
              <a:rPr lang="zh-CN" altLang="en-US" b="0"/>
              <a:t>请使用恰当的图片覆盖“灰板”</a:t>
            </a:r>
          </a:p>
        </p:txBody>
      </p:sp>
      <p:pic>
        <p:nvPicPr>
          <p:cNvPr id="10" name="Picture 3"/>
          <p:cNvPicPr>
            <a:picLocks noChangeAspect="1" noChangeArrowheads="1"/>
          </p:cNvPicPr>
          <p:nvPr userDrawn="1"/>
        </p:nvPicPr>
        <p:blipFill>
          <a:blip r:embed="rId12" cstate="print"/>
          <a:srcRect/>
          <a:stretch>
            <a:fillRect/>
          </a:stretch>
        </p:blipFill>
        <p:spPr bwMode="auto">
          <a:xfrm>
            <a:off x="8728014" y="877691"/>
            <a:ext cx="3441764" cy="3876461"/>
          </a:xfrm>
          <a:prstGeom prst="rect">
            <a:avLst/>
          </a:prstGeom>
          <a:noFill/>
          <a:ln w="9525">
            <a:noFill/>
            <a:miter lim="800000"/>
            <a:headEnd/>
            <a:tailEnd/>
          </a:ln>
        </p:spPr>
      </p:pic>
      <p:sp>
        <p:nvSpPr>
          <p:cNvPr id="11" name="Rectangle 5"/>
          <p:cNvSpPr>
            <a:spLocks noGrp="1" noChangeArrowheads="1"/>
          </p:cNvSpPr>
          <p:nvPr>
            <p:ph type="title"/>
          </p:nvPr>
        </p:nvSpPr>
        <p:spPr bwMode="auto">
          <a:xfrm>
            <a:off x="441577" y="1823637"/>
            <a:ext cx="8115313" cy="703294"/>
          </a:xfrm>
          <a:prstGeom prst="rect">
            <a:avLst/>
          </a:prstGeom>
          <a:noFill/>
          <a:ln w="9525" algn="ctr">
            <a:noFill/>
            <a:miter lim="800000"/>
          </a:ln>
        </p:spPr>
        <p:txBody>
          <a:bodyPr/>
          <a:lstStyle>
            <a:lvl1pPr>
              <a:defRPr sz="3600">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单击此处编辑母版标题样式</a:t>
            </a:r>
          </a:p>
        </p:txBody>
      </p:sp>
      <p:sp>
        <p:nvSpPr>
          <p:cNvPr id="14" name="内容占位符 2"/>
          <p:cNvSpPr>
            <a:spLocks noGrp="1"/>
          </p:cNvSpPr>
          <p:nvPr>
            <p:ph idx="1"/>
          </p:nvPr>
        </p:nvSpPr>
        <p:spPr>
          <a:xfrm>
            <a:off x="285188" y="3437618"/>
            <a:ext cx="8176625" cy="559368"/>
          </a:xfrm>
        </p:spPr>
        <p:txBody>
          <a:bodyPr/>
          <a:lstStyle>
            <a:lvl1pPr algn="l" rtl="0" eaLnBrk="0" fontAlgn="base" hangingPunct="0">
              <a:lnSpc>
                <a:spcPct val="110000"/>
              </a:lnSpc>
              <a:spcBef>
                <a:spcPct val="0"/>
              </a:spcBef>
              <a:spcAft>
                <a:spcPct val="0"/>
              </a:spcAft>
              <a:buFont typeface="+mj-lt"/>
              <a:buNone/>
              <a:defRPr lang="zh-CN" altLang="en-US" sz="2600" b="1" dirty="0" smtClean="0">
                <a:solidFill>
                  <a:schemeClr val="bg1"/>
                </a:solidFill>
                <a:latin typeface="微软雅黑" panose="020B0503020204020204" pitchFamily="34" charset="-122"/>
                <a:ea typeface="微软雅黑" panose="020B0503020204020204" pitchFamily="34" charset="-122"/>
                <a:cs typeface="+mj-cs"/>
              </a:defRPr>
            </a:lvl1pPr>
            <a:lvl2pPr marL="1033145" indent="-442595" algn="l" rtl="0" eaLnBrk="0" fontAlgn="base" hangingPunct="0">
              <a:lnSpc>
                <a:spcPct val="110000"/>
              </a:lnSpc>
              <a:spcBef>
                <a:spcPct val="0"/>
              </a:spcBef>
              <a:spcAft>
                <a:spcPct val="0"/>
              </a:spcAft>
              <a:buFont typeface="+mj-lt"/>
              <a:buAutoNum type="arabicPeriod"/>
              <a:defRPr lang="zh-CN" altLang="en-US" sz="2300" b="0" dirty="0" smtClean="0">
                <a:solidFill>
                  <a:schemeClr val="tx2"/>
                </a:solidFill>
                <a:latin typeface="+mj-lt"/>
                <a:ea typeface="+mj-ea"/>
                <a:cs typeface="+mj-cs"/>
              </a:defRPr>
            </a:lvl2pPr>
            <a:lvl3pPr marL="1623695" indent="-442595" algn="l" rtl="0" eaLnBrk="0" fontAlgn="base" hangingPunct="0">
              <a:lnSpc>
                <a:spcPct val="110000"/>
              </a:lnSpc>
              <a:spcBef>
                <a:spcPct val="0"/>
              </a:spcBef>
              <a:spcAft>
                <a:spcPct val="0"/>
              </a:spcAft>
              <a:buFont typeface="+mj-lt"/>
              <a:buAutoNum type="arabicPeriod"/>
              <a:defRPr lang="zh-CN" altLang="en-US" sz="2300" b="0" dirty="0" smtClean="0">
                <a:solidFill>
                  <a:schemeClr val="tx2"/>
                </a:solidFill>
                <a:latin typeface="+mj-lt"/>
                <a:ea typeface="+mj-ea"/>
                <a:cs typeface="+mj-cs"/>
              </a:defRPr>
            </a:lvl3pPr>
            <a:lvl4pPr marL="2214245" indent="-442595" algn="l" rtl="0" eaLnBrk="0" fontAlgn="base" hangingPunct="0">
              <a:lnSpc>
                <a:spcPct val="110000"/>
              </a:lnSpc>
              <a:spcBef>
                <a:spcPct val="0"/>
              </a:spcBef>
              <a:spcAft>
                <a:spcPct val="0"/>
              </a:spcAft>
              <a:buFont typeface="+mj-lt"/>
              <a:buAutoNum type="arabicPeriod"/>
              <a:defRPr lang="zh-CN" altLang="en-US" sz="2300" b="0" dirty="0" smtClean="0">
                <a:solidFill>
                  <a:schemeClr val="tx2"/>
                </a:solidFill>
                <a:latin typeface="+mj-lt"/>
                <a:ea typeface="+mj-ea"/>
                <a:cs typeface="+mj-cs"/>
              </a:defRPr>
            </a:lvl4pPr>
            <a:lvl5pPr marL="2804795" indent="-442595" algn="l" rtl="0" eaLnBrk="0" fontAlgn="base" hangingPunct="0">
              <a:lnSpc>
                <a:spcPct val="110000"/>
              </a:lnSpc>
              <a:spcBef>
                <a:spcPct val="0"/>
              </a:spcBef>
              <a:spcAft>
                <a:spcPct val="0"/>
              </a:spcAft>
              <a:buFont typeface="+mj-lt"/>
              <a:buAutoNum type="arabicPeriod"/>
              <a:defRPr lang="zh-CN" altLang="en-US" sz="2300" b="0" dirty="0">
                <a:solidFill>
                  <a:schemeClr val="tx2"/>
                </a:solidFill>
                <a:latin typeface="+mj-lt"/>
                <a:ea typeface="+mj-ea"/>
                <a:cs typeface="+mj-cs"/>
              </a:defRPr>
            </a:lvl5pPr>
          </a:lstStyle>
          <a:p>
            <a:pPr lvl="0"/>
            <a:r>
              <a:rPr lang="zh-CN" altLang="en-US" dirty="0" smtClean="0"/>
              <a:t>单击此处编辑母版文本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2733" y="2181222"/>
            <a:ext cx="10344309" cy="534017"/>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5466" y="3978859"/>
            <a:ext cx="8518843" cy="765578"/>
          </a:xfrm>
        </p:spPr>
        <p:txBody>
          <a:bodyPr/>
          <a:lstStyle>
            <a:lvl1pPr marL="0" indent="0" algn="ctr">
              <a:buNone/>
              <a:defRPr/>
            </a:lvl1pPr>
            <a:lvl2pPr marL="590550" indent="0" algn="ctr">
              <a:buNone/>
              <a:defRPr/>
            </a:lvl2pPr>
            <a:lvl3pPr marL="1181100" indent="0" algn="ctr">
              <a:buNone/>
              <a:defRPr/>
            </a:lvl3pPr>
            <a:lvl4pPr marL="1771650" indent="0" algn="ctr">
              <a:buNone/>
              <a:defRPr/>
            </a:lvl4pPr>
            <a:lvl5pPr marL="2362200" indent="0" algn="ctr">
              <a:buNone/>
              <a:defRPr/>
            </a:lvl5pPr>
            <a:lvl6pPr marL="2952115" indent="0" algn="ctr">
              <a:buNone/>
              <a:defRPr/>
            </a:lvl6pPr>
            <a:lvl7pPr marL="3542665" indent="0" algn="ctr">
              <a:buNone/>
              <a:defRPr/>
            </a:lvl7pPr>
            <a:lvl8pPr marL="4133215" indent="0" algn="ctr">
              <a:buNone/>
              <a:defRPr/>
            </a:lvl8pPr>
            <a:lvl9pPr marL="4723765" indent="0" algn="ctr">
              <a:buNone/>
              <a:defRPr/>
            </a:lvl9pPr>
          </a:lstStyle>
          <a:p>
            <a:r>
              <a:rPr lang="zh-CN" altLang="en-US" smtClean="0"/>
              <a:t>单击此处编辑母版副标题样式</a:t>
            </a:r>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41578" y="240554"/>
            <a:ext cx="9032254" cy="534017"/>
          </a:xfr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608489" y="709213"/>
            <a:ext cx="10952798" cy="765578"/>
          </a:xfrm>
        </p:spPr>
        <p:txBody>
          <a:bodyPr/>
          <a:lstStyle>
            <a:lvl1pPr marL="0" indent="0" algn="l" rtl="0" eaLnBrk="0" fontAlgn="base" hangingPunct="0">
              <a:spcBef>
                <a:spcPct val="0"/>
              </a:spcBef>
              <a:spcAft>
                <a:spcPct val="0"/>
              </a:spcAft>
              <a:buSzPct val="100000"/>
              <a:buFont typeface="+mj-lt"/>
              <a:buNone/>
              <a:defRPr lang="zh-CN" altLang="en-US" sz="2100" b="0" dirty="0" smtClean="0">
                <a:solidFill>
                  <a:schemeClr val="tx2"/>
                </a:solidFill>
                <a:latin typeface="+mj-lt"/>
                <a:ea typeface="+mj-ea"/>
                <a:cs typeface="+mj-cs"/>
              </a:defRPr>
            </a:lvl1pPr>
            <a:lvl2pPr marL="1033145" indent="-442595" algn="l" rtl="0" eaLnBrk="0" fontAlgn="base" hangingPunct="0">
              <a:lnSpc>
                <a:spcPct val="110000"/>
              </a:lnSpc>
              <a:spcBef>
                <a:spcPct val="0"/>
              </a:spcBef>
              <a:spcAft>
                <a:spcPct val="0"/>
              </a:spcAft>
              <a:buFont typeface="+mj-lt"/>
              <a:buAutoNum type="arabicPeriod"/>
              <a:defRPr lang="zh-CN" altLang="en-US" sz="2100" b="0" dirty="0" smtClean="0">
                <a:solidFill>
                  <a:schemeClr val="tx2"/>
                </a:solidFill>
                <a:latin typeface="+mj-lt"/>
                <a:ea typeface="+mj-ea"/>
                <a:cs typeface="+mj-cs"/>
              </a:defRPr>
            </a:lvl2pPr>
            <a:lvl3pPr marL="1623695" indent="-442595" algn="l" rtl="0" eaLnBrk="0" fontAlgn="base" hangingPunct="0">
              <a:lnSpc>
                <a:spcPct val="110000"/>
              </a:lnSpc>
              <a:spcBef>
                <a:spcPct val="0"/>
              </a:spcBef>
              <a:spcAft>
                <a:spcPct val="0"/>
              </a:spcAft>
              <a:buFont typeface="+mj-lt"/>
              <a:buAutoNum type="arabicPeriod"/>
              <a:defRPr lang="zh-CN" altLang="en-US" sz="2100" b="0" dirty="0" smtClean="0">
                <a:solidFill>
                  <a:schemeClr val="tx2"/>
                </a:solidFill>
                <a:latin typeface="+mj-lt"/>
                <a:ea typeface="+mj-ea"/>
                <a:cs typeface="+mj-cs"/>
              </a:defRPr>
            </a:lvl3pPr>
            <a:lvl4pPr marL="2214245" indent="-442595" algn="l" rtl="0" eaLnBrk="0" fontAlgn="base" hangingPunct="0">
              <a:lnSpc>
                <a:spcPct val="110000"/>
              </a:lnSpc>
              <a:spcBef>
                <a:spcPct val="0"/>
              </a:spcBef>
              <a:spcAft>
                <a:spcPct val="0"/>
              </a:spcAft>
              <a:buFont typeface="+mj-lt"/>
              <a:buAutoNum type="arabicPeriod"/>
              <a:defRPr lang="zh-CN" altLang="en-US" sz="2100" b="0" dirty="0" smtClean="0">
                <a:solidFill>
                  <a:schemeClr val="tx2"/>
                </a:solidFill>
                <a:latin typeface="+mj-lt"/>
                <a:ea typeface="+mj-ea"/>
                <a:cs typeface="+mj-cs"/>
              </a:defRPr>
            </a:lvl4pPr>
            <a:lvl5pPr marL="2804795" indent="-442595" algn="l" rtl="0" eaLnBrk="0" fontAlgn="base" hangingPunct="0">
              <a:lnSpc>
                <a:spcPct val="110000"/>
              </a:lnSpc>
              <a:spcBef>
                <a:spcPct val="0"/>
              </a:spcBef>
              <a:spcAft>
                <a:spcPct val="0"/>
              </a:spcAft>
              <a:buFont typeface="+mj-lt"/>
              <a:buAutoNum type="arabicPeriod"/>
              <a:defRPr lang="zh-CN" altLang="en-US" sz="2100" b="0" dirty="0">
                <a:solidFill>
                  <a:schemeClr val="tx2"/>
                </a:solidFill>
                <a:latin typeface="+mj-lt"/>
                <a:ea typeface="+mj-ea"/>
                <a:cs typeface="+mj-cs"/>
              </a:defRPr>
            </a:lvl5pPr>
          </a:lstStyle>
          <a:p>
            <a:pPr lvl="0"/>
            <a:r>
              <a:rPr lang="zh-CN" altLang="en-US" dirty="0" smtClean="0"/>
              <a:t>单击此处编辑母版文本样式</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1328" y="4511974"/>
            <a:ext cx="10344309" cy="974137"/>
          </a:xfrm>
        </p:spPr>
        <p:txBody>
          <a:bodyPr/>
          <a:lstStyle>
            <a:lvl1pPr algn="l">
              <a:defRPr sz="52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1328" y="3592507"/>
            <a:ext cx="10344309" cy="919466"/>
          </a:xfrm>
        </p:spPr>
        <p:txBody>
          <a:bodyPr anchor="b"/>
          <a:lstStyle>
            <a:lvl1pPr marL="0" indent="0">
              <a:buNone/>
              <a:defRPr sz="2600"/>
            </a:lvl1pPr>
            <a:lvl2pPr marL="590550" indent="0">
              <a:buNone/>
              <a:defRPr sz="2300"/>
            </a:lvl2pPr>
            <a:lvl3pPr marL="1181100" indent="0">
              <a:buNone/>
              <a:defRPr sz="2100"/>
            </a:lvl3pPr>
            <a:lvl4pPr marL="1771650" indent="0">
              <a:buNone/>
              <a:defRPr sz="1800"/>
            </a:lvl4pPr>
            <a:lvl5pPr marL="2362200" indent="0">
              <a:buNone/>
              <a:defRPr sz="1800"/>
            </a:lvl5pPr>
            <a:lvl6pPr marL="2952115" indent="0">
              <a:buNone/>
              <a:defRPr sz="1800"/>
            </a:lvl6pPr>
            <a:lvl7pPr marL="3542665" indent="0">
              <a:buNone/>
              <a:defRPr sz="1800"/>
            </a:lvl7pPr>
            <a:lvl8pPr marL="4133215" indent="0">
              <a:buNone/>
              <a:defRPr sz="1800"/>
            </a:lvl8pPr>
            <a:lvl9pPr marL="4723765" indent="0">
              <a:buNone/>
              <a:defRPr sz="1800"/>
            </a:lvl9pPr>
          </a:lstStyle>
          <a:p>
            <a:pPr lvl="0"/>
            <a:r>
              <a:rPr lang="zh-CN" altLang="en-US" smtClean="0"/>
              <a:t>单击此处编辑母版文本样式</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8489" y="1225515"/>
            <a:ext cx="5374984" cy="5822347"/>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86302" y="1225515"/>
            <a:ext cx="5374984" cy="5822347"/>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8489" y="281187"/>
            <a:ext cx="10952798" cy="534017"/>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8489" y="1153377"/>
            <a:ext cx="5377097" cy="1073355"/>
          </a:xfrm>
        </p:spPr>
        <p:txBody>
          <a:bodyPr anchor="b"/>
          <a:lstStyle>
            <a:lvl1pPr marL="0" indent="0">
              <a:buNone/>
              <a:defRPr sz="3100" b="1"/>
            </a:lvl1pPr>
            <a:lvl2pPr marL="590550" indent="0">
              <a:buNone/>
              <a:defRPr sz="2600" b="1"/>
            </a:lvl2pPr>
            <a:lvl3pPr marL="1181100" indent="0">
              <a:buNone/>
              <a:defRPr sz="2300" b="1"/>
            </a:lvl3pPr>
            <a:lvl4pPr marL="1771650" indent="0">
              <a:buNone/>
              <a:defRPr sz="2100" b="1"/>
            </a:lvl4pPr>
            <a:lvl5pPr marL="2362200" indent="0">
              <a:buNone/>
              <a:defRPr sz="2100" b="1"/>
            </a:lvl5pPr>
            <a:lvl6pPr marL="2952115" indent="0">
              <a:buNone/>
              <a:defRPr sz="2100" b="1"/>
            </a:lvl6pPr>
            <a:lvl7pPr marL="3542665" indent="0">
              <a:buNone/>
              <a:defRPr sz="2100" b="1"/>
            </a:lvl7pPr>
            <a:lvl8pPr marL="4133215" indent="0">
              <a:buNone/>
              <a:defRPr sz="2100" b="1"/>
            </a:lvl8pPr>
            <a:lvl9pPr marL="4723765" indent="0">
              <a:buNone/>
              <a:defRPr sz="2100" b="1"/>
            </a:lvl9pPr>
          </a:lstStyle>
          <a:p>
            <a:pPr lvl="0"/>
            <a:r>
              <a:rPr lang="zh-CN" altLang="en-US" smtClean="0"/>
              <a:t>单击此处编辑母版文本样式</a:t>
            </a:r>
          </a:p>
        </p:txBody>
      </p:sp>
      <p:sp>
        <p:nvSpPr>
          <p:cNvPr id="4" name="内容占位符 3"/>
          <p:cNvSpPr>
            <a:spLocks noGrp="1"/>
          </p:cNvSpPr>
          <p:nvPr>
            <p:ph sz="half" idx="2"/>
          </p:nvPr>
        </p:nvSpPr>
        <p:spPr>
          <a:xfrm>
            <a:off x="608489" y="2226729"/>
            <a:ext cx="5377097" cy="5108305"/>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82080" y="1153377"/>
            <a:ext cx="5379210" cy="1073355"/>
          </a:xfrm>
        </p:spPr>
        <p:txBody>
          <a:bodyPr anchor="b"/>
          <a:lstStyle>
            <a:lvl1pPr marL="0" indent="0">
              <a:buNone/>
              <a:defRPr sz="3100" b="1"/>
            </a:lvl1pPr>
            <a:lvl2pPr marL="590550" indent="0">
              <a:buNone/>
              <a:defRPr sz="2600" b="1"/>
            </a:lvl2pPr>
            <a:lvl3pPr marL="1181100" indent="0">
              <a:buNone/>
              <a:defRPr sz="2300" b="1"/>
            </a:lvl3pPr>
            <a:lvl4pPr marL="1771650" indent="0">
              <a:buNone/>
              <a:defRPr sz="2100" b="1"/>
            </a:lvl4pPr>
            <a:lvl5pPr marL="2362200" indent="0">
              <a:buNone/>
              <a:defRPr sz="2100" b="1"/>
            </a:lvl5pPr>
            <a:lvl6pPr marL="2952115" indent="0">
              <a:buNone/>
              <a:defRPr sz="2100" b="1"/>
            </a:lvl6pPr>
            <a:lvl7pPr marL="3542665" indent="0">
              <a:buNone/>
              <a:defRPr sz="2100" b="1"/>
            </a:lvl7pPr>
            <a:lvl8pPr marL="4133215" indent="0">
              <a:buNone/>
              <a:defRPr sz="2100" b="1"/>
            </a:lvl8pPr>
            <a:lvl9pPr marL="4723765" indent="0">
              <a:buNone/>
              <a:defRPr sz="2100" b="1"/>
            </a:lvl9pPr>
          </a:lstStyle>
          <a:p>
            <a:pPr lvl="0"/>
            <a:r>
              <a:rPr lang="zh-CN" altLang="en-US" smtClean="0"/>
              <a:t>单击此处编辑母版文本样式</a:t>
            </a:r>
          </a:p>
        </p:txBody>
      </p:sp>
      <p:sp>
        <p:nvSpPr>
          <p:cNvPr id="6" name="内容占位符 5"/>
          <p:cNvSpPr>
            <a:spLocks noGrp="1"/>
          </p:cNvSpPr>
          <p:nvPr>
            <p:ph sz="quarter" idx="4"/>
          </p:nvPr>
        </p:nvSpPr>
        <p:spPr>
          <a:xfrm>
            <a:off x="6182080" y="2226729"/>
            <a:ext cx="5379210" cy="5108305"/>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41578" y="240555"/>
            <a:ext cx="9032256" cy="534017"/>
          </a:xfr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608489" y="709213"/>
            <a:ext cx="10952798" cy="765578"/>
          </a:xfrm>
        </p:spPr>
        <p:txBody>
          <a:bodyPr/>
          <a:lstStyle>
            <a:lvl1pPr marL="0" indent="0" algn="l" rtl="0" eaLnBrk="0" fontAlgn="base" hangingPunct="0">
              <a:spcBef>
                <a:spcPct val="0"/>
              </a:spcBef>
              <a:spcAft>
                <a:spcPct val="0"/>
              </a:spcAft>
              <a:buSzPct val="100000"/>
              <a:buFont typeface="+mj-lt"/>
              <a:buNone/>
              <a:defRPr lang="zh-CN" altLang="en-US" sz="2100" b="0" dirty="0" smtClean="0">
                <a:solidFill>
                  <a:schemeClr val="tx2"/>
                </a:solidFill>
                <a:latin typeface="+mj-lt"/>
                <a:ea typeface="+mj-ea"/>
                <a:cs typeface="+mj-cs"/>
              </a:defRPr>
            </a:lvl1pPr>
            <a:lvl2pPr marL="1033145" indent="-442595" algn="l" rtl="0" eaLnBrk="0" fontAlgn="base" hangingPunct="0">
              <a:lnSpc>
                <a:spcPct val="110000"/>
              </a:lnSpc>
              <a:spcBef>
                <a:spcPct val="0"/>
              </a:spcBef>
              <a:spcAft>
                <a:spcPct val="0"/>
              </a:spcAft>
              <a:buFont typeface="+mj-lt"/>
              <a:buAutoNum type="arabicPeriod"/>
              <a:defRPr lang="zh-CN" altLang="en-US" sz="2100" b="0" dirty="0" smtClean="0">
                <a:solidFill>
                  <a:schemeClr val="tx2"/>
                </a:solidFill>
                <a:latin typeface="+mj-lt"/>
                <a:ea typeface="+mj-ea"/>
                <a:cs typeface="+mj-cs"/>
              </a:defRPr>
            </a:lvl2pPr>
            <a:lvl3pPr marL="1623695" indent="-442595" algn="l" rtl="0" eaLnBrk="0" fontAlgn="base" hangingPunct="0">
              <a:lnSpc>
                <a:spcPct val="110000"/>
              </a:lnSpc>
              <a:spcBef>
                <a:spcPct val="0"/>
              </a:spcBef>
              <a:spcAft>
                <a:spcPct val="0"/>
              </a:spcAft>
              <a:buFont typeface="+mj-lt"/>
              <a:buAutoNum type="arabicPeriod"/>
              <a:defRPr lang="zh-CN" altLang="en-US" sz="2100" b="0" dirty="0" smtClean="0">
                <a:solidFill>
                  <a:schemeClr val="tx2"/>
                </a:solidFill>
                <a:latin typeface="+mj-lt"/>
                <a:ea typeface="+mj-ea"/>
                <a:cs typeface="+mj-cs"/>
              </a:defRPr>
            </a:lvl3pPr>
            <a:lvl4pPr marL="2214245" indent="-442595" algn="l" rtl="0" eaLnBrk="0" fontAlgn="base" hangingPunct="0">
              <a:lnSpc>
                <a:spcPct val="110000"/>
              </a:lnSpc>
              <a:spcBef>
                <a:spcPct val="0"/>
              </a:spcBef>
              <a:spcAft>
                <a:spcPct val="0"/>
              </a:spcAft>
              <a:buFont typeface="+mj-lt"/>
              <a:buAutoNum type="arabicPeriod"/>
              <a:defRPr lang="zh-CN" altLang="en-US" sz="2100" b="0" dirty="0" smtClean="0">
                <a:solidFill>
                  <a:schemeClr val="tx2"/>
                </a:solidFill>
                <a:latin typeface="+mj-lt"/>
                <a:ea typeface="+mj-ea"/>
                <a:cs typeface="+mj-cs"/>
              </a:defRPr>
            </a:lvl4pPr>
            <a:lvl5pPr marL="2804795" indent="-442595" algn="l" rtl="0" eaLnBrk="0" fontAlgn="base" hangingPunct="0">
              <a:lnSpc>
                <a:spcPct val="110000"/>
              </a:lnSpc>
              <a:spcBef>
                <a:spcPct val="0"/>
              </a:spcBef>
              <a:spcAft>
                <a:spcPct val="0"/>
              </a:spcAft>
              <a:buFont typeface="+mj-lt"/>
              <a:buAutoNum type="arabicPeriod"/>
              <a:defRPr lang="zh-CN" altLang="en-US" sz="2100" b="0" dirty="0">
                <a:solidFill>
                  <a:schemeClr val="tx2"/>
                </a:solidFill>
                <a:latin typeface="+mj-lt"/>
                <a:ea typeface="+mj-ea"/>
                <a:cs typeface="+mj-cs"/>
              </a:defRPr>
            </a:lvl5pPr>
          </a:lstStyle>
          <a:p>
            <a:pPr lvl="0"/>
            <a:r>
              <a:rPr lang="zh-CN" altLang="en-US" dirty="0" smtClean="0"/>
              <a:t>单击此处编辑母版文本样式</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8492" y="495179"/>
            <a:ext cx="4003772" cy="974137"/>
          </a:xfrm>
        </p:spPr>
        <p:txBody>
          <a:bodyPr anchor="b"/>
          <a:lstStyle>
            <a:lvl1pPr algn="l">
              <a:defRPr sz="26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58044" y="279561"/>
            <a:ext cx="6803242" cy="6671810"/>
          </a:xfrm>
        </p:spPr>
        <p:txBody>
          <a:bodyPr/>
          <a:lstStyle>
            <a:lvl1pPr>
              <a:defRPr sz="41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8492" y="1469318"/>
            <a:ext cx="4003772" cy="673245"/>
          </a:xfrm>
        </p:spPr>
        <p:txBody>
          <a:bodyPr/>
          <a:lstStyle>
            <a:lvl1pPr marL="0" indent="0">
              <a:buNone/>
              <a:defRPr sz="1800"/>
            </a:lvl1pPr>
            <a:lvl2pPr marL="590550" indent="0">
              <a:buNone/>
              <a:defRPr sz="1500"/>
            </a:lvl2pPr>
            <a:lvl3pPr marL="1181100" indent="0">
              <a:buNone/>
              <a:defRPr sz="1300"/>
            </a:lvl3pPr>
            <a:lvl4pPr marL="1771650" indent="0">
              <a:buNone/>
              <a:defRPr sz="1200"/>
            </a:lvl4pPr>
            <a:lvl5pPr marL="2362200" indent="0">
              <a:buNone/>
              <a:defRPr sz="1200"/>
            </a:lvl5pPr>
            <a:lvl6pPr marL="2952115" indent="0">
              <a:buNone/>
              <a:defRPr sz="1200"/>
            </a:lvl6pPr>
            <a:lvl7pPr marL="3542665" indent="0">
              <a:buNone/>
              <a:defRPr sz="1200"/>
            </a:lvl7pPr>
            <a:lvl8pPr marL="4133215" indent="0">
              <a:buNone/>
              <a:defRPr sz="1200"/>
            </a:lvl8pPr>
            <a:lvl9pPr marL="4723765" indent="0">
              <a:buNone/>
              <a:defRPr sz="1200"/>
            </a:lvl9pPr>
          </a:lstStyle>
          <a:p>
            <a:pPr lvl="0"/>
            <a:r>
              <a:rPr lang="zh-CN" altLang="en-US" smtClean="0"/>
              <a:t>单击此处编辑母版文本样式</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5361" y="4961294"/>
            <a:ext cx="7301865" cy="534017"/>
          </a:xfrm>
        </p:spPr>
        <p:txBody>
          <a:bodyPr anchor="b"/>
          <a:lstStyle>
            <a:lvl1pPr algn="l">
              <a:defRPr sz="26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5361" y="627385"/>
            <a:ext cx="7301865" cy="1381131"/>
          </a:xfrm>
        </p:spPr>
        <p:txBody>
          <a:bodyPr/>
          <a:lstStyle>
            <a:lvl1pPr marL="0" indent="0">
              <a:buNone/>
              <a:defRPr sz="4100"/>
            </a:lvl1pPr>
            <a:lvl2pPr marL="590550" indent="0">
              <a:buNone/>
              <a:defRPr sz="3600"/>
            </a:lvl2pPr>
            <a:lvl3pPr marL="1181100" indent="0">
              <a:buNone/>
              <a:defRPr sz="3100"/>
            </a:lvl3pPr>
            <a:lvl4pPr marL="1771650" indent="0">
              <a:buNone/>
              <a:defRPr sz="2600"/>
            </a:lvl4pPr>
            <a:lvl5pPr marL="2362200" indent="0">
              <a:buNone/>
              <a:defRPr sz="2600"/>
            </a:lvl5pPr>
            <a:lvl6pPr marL="2952115" indent="0">
              <a:buNone/>
              <a:defRPr sz="2600"/>
            </a:lvl6pPr>
            <a:lvl7pPr marL="3542665" indent="0">
              <a:buNone/>
              <a:defRPr sz="2600"/>
            </a:lvl7pPr>
            <a:lvl8pPr marL="4133215" indent="0">
              <a:buNone/>
              <a:defRPr sz="2600"/>
            </a:lvl8pPr>
            <a:lvl9pPr marL="4723765" indent="0">
              <a:buNone/>
              <a:defRPr sz="2600"/>
            </a:lvl9pPr>
          </a:lstStyle>
          <a:p>
            <a:pPr lvl="0"/>
            <a:r>
              <a:rPr lang="zh-CN" altLang="en-US" noProof="0" smtClean="0"/>
              <a:t>单击图标添加图片</a:t>
            </a:r>
            <a:endParaRPr lang="zh-CN" altLang="en-US" noProof="0"/>
          </a:p>
        </p:txBody>
      </p:sp>
      <p:sp>
        <p:nvSpPr>
          <p:cNvPr id="4" name="文本占位符 3"/>
          <p:cNvSpPr>
            <a:spLocks noGrp="1"/>
          </p:cNvSpPr>
          <p:nvPr>
            <p:ph type="body" sz="half" idx="2"/>
          </p:nvPr>
        </p:nvSpPr>
        <p:spPr>
          <a:xfrm>
            <a:off x="2385361" y="5495309"/>
            <a:ext cx="7301865" cy="673245"/>
          </a:xfrm>
        </p:spPr>
        <p:txBody>
          <a:bodyPr/>
          <a:lstStyle>
            <a:lvl1pPr marL="0" indent="0">
              <a:buNone/>
              <a:defRPr sz="1800"/>
            </a:lvl1pPr>
            <a:lvl2pPr marL="590550" indent="0">
              <a:buNone/>
              <a:defRPr sz="1500"/>
            </a:lvl2pPr>
            <a:lvl3pPr marL="1181100" indent="0">
              <a:buNone/>
              <a:defRPr sz="1300"/>
            </a:lvl3pPr>
            <a:lvl4pPr marL="1771650" indent="0">
              <a:buNone/>
              <a:defRPr sz="1200"/>
            </a:lvl4pPr>
            <a:lvl5pPr marL="2362200" indent="0">
              <a:buNone/>
              <a:defRPr sz="1200"/>
            </a:lvl5pPr>
            <a:lvl6pPr marL="2952115" indent="0">
              <a:buNone/>
              <a:defRPr sz="1200"/>
            </a:lvl6pPr>
            <a:lvl7pPr marL="3542665" indent="0">
              <a:buNone/>
              <a:defRPr sz="1200"/>
            </a:lvl7pPr>
            <a:lvl8pPr marL="4133215" indent="0">
              <a:buNone/>
              <a:defRPr sz="1200"/>
            </a:lvl8pPr>
            <a:lvl9pPr marL="4723765" indent="0">
              <a:buNone/>
              <a:defRPr sz="1200"/>
            </a:lvl9pPr>
          </a:lstStyle>
          <a:p>
            <a:pPr lvl="0"/>
            <a:r>
              <a:rPr lang="zh-CN" altLang="en-US" smtClean="0"/>
              <a:t>单击此处编辑母版文本样式</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447681" y="708654"/>
            <a:ext cx="16008968" cy="79829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1027271" y="240552"/>
            <a:ext cx="534017" cy="592440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795222" y="240552"/>
            <a:ext cx="3784895" cy="592440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441578" y="240554"/>
            <a:ext cx="9032254" cy="534017"/>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8489" y="1225514"/>
            <a:ext cx="5374984" cy="360943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6186302" y="1225514"/>
            <a:ext cx="5374984" cy="360943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6186302" y="3772438"/>
            <a:ext cx="5374984" cy="360943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2733" y="2181221"/>
            <a:ext cx="10344309" cy="150507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5466" y="3978857"/>
            <a:ext cx="8518843" cy="1794387"/>
          </a:xfrm>
        </p:spPr>
        <p:txBody>
          <a:bodyPr/>
          <a:lstStyle>
            <a:lvl1pPr marL="0" indent="0" algn="ctr">
              <a:buNone/>
              <a:defRPr/>
            </a:lvl1pPr>
            <a:lvl2pPr marL="590550" indent="0" algn="ctr">
              <a:buNone/>
              <a:defRPr/>
            </a:lvl2pPr>
            <a:lvl3pPr marL="1181100" indent="0" algn="ctr">
              <a:buNone/>
              <a:defRPr/>
            </a:lvl3pPr>
            <a:lvl4pPr marL="1771650" indent="0" algn="ctr">
              <a:buNone/>
              <a:defRPr/>
            </a:lvl4pPr>
            <a:lvl5pPr marL="2362200" indent="0" algn="ctr">
              <a:buNone/>
              <a:defRPr/>
            </a:lvl5pPr>
            <a:lvl6pPr marL="2952115" indent="0" algn="ctr">
              <a:buNone/>
              <a:defRPr/>
            </a:lvl6pPr>
            <a:lvl7pPr marL="3542665" indent="0" algn="ctr">
              <a:buNone/>
              <a:defRPr/>
            </a:lvl7pPr>
            <a:lvl8pPr marL="4133215" indent="0" algn="ctr">
              <a:buNone/>
              <a:defRPr/>
            </a:lvl8pPr>
            <a:lvl9pPr marL="4723765" indent="0" algn="ctr">
              <a:buNone/>
              <a:defRPr/>
            </a:lvl9pPr>
          </a:lstStyle>
          <a:p>
            <a:r>
              <a:rPr lang="zh-CN" altLang="en-US" smtClean="0"/>
              <a:t>单击此处编辑母版副标题样式</a:t>
            </a:r>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marL="0" indent="0" algn="l" rtl="0" eaLnBrk="0" fontAlgn="base" hangingPunct="0">
              <a:spcBef>
                <a:spcPct val="0"/>
              </a:spcBef>
              <a:spcAft>
                <a:spcPct val="0"/>
              </a:spcAft>
              <a:buSzPct val="100000"/>
              <a:buFont typeface="+mj-lt"/>
              <a:buNone/>
              <a:defRPr lang="zh-CN" altLang="en-US" sz="2300" b="0" dirty="0" smtClean="0">
                <a:solidFill>
                  <a:schemeClr val="tx2"/>
                </a:solidFill>
                <a:latin typeface="+mj-lt"/>
                <a:ea typeface="+mj-ea"/>
                <a:cs typeface="+mj-cs"/>
              </a:defRPr>
            </a:lvl1pPr>
            <a:lvl2pPr marL="1033145" indent="-442595" algn="l" rtl="0" eaLnBrk="0" fontAlgn="base" hangingPunct="0">
              <a:lnSpc>
                <a:spcPct val="110000"/>
              </a:lnSpc>
              <a:spcBef>
                <a:spcPct val="0"/>
              </a:spcBef>
              <a:spcAft>
                <a:spcPct val="0"/>
              </a:spcAft>
              <a:buFont typeface="+mj-lt"/>
              <a:buAutoNum type="arabicPeriod"/>
              <a:defRPr lang="zh-CN" altLang="en-US" sz="2300" b="0" dirty="0" smtClean="0">
                <a:solidFill>
                  <a:schemeClr val="tx2"/>
                </a:solidFill>
                <a:latin typeface="+mj-lt"/>
                <a:ea typeface="+mj-ea"/>
                <a:cs typeface="+mj-cs"/>
              </a:defRPr>
            </a:lvl2pPr>
            <a:lvl3pPr marL="1623695" indent="-442595" algn="l" rtl="0" eaLnBrk="0" fontAlgn="base" hangingPunct="0">
              <a:lnSpc>
                <a:spcPct val="110000"/>
              </a:lnSpc>
              <a:spcBef>
                <a:spcPct val="0"/>
              </a:spcBef>
              <a:spcAft>
                <a:spcPct val="0"/>
              </a:spcAft>
              <a:buFont typeface="+mj-lt"/>
              <a:buAutoNum type="arabicPeriod"/>
              <a:defRPr lang="zh-CN" altLang="en-US" sz="2300" b="0" dirty="0" smtClean="0">
                <a:solidFill>
                  <a:schemeClr val="tx2"/>
                </a:solidFill>
                <a:latin typeface="+mj-lt"/>
                <a:ea typeface="+mj-ea"/>
                <a:cs typeface="+mj-cs"/>
              </a:defRPr>
            </a:lvl3pPr>
            <a:lvl4pPr marL="2214245" indent="-442595" algn="l" rtl="0" eaLnBrk="0" fontAlgn="base" hangingPunct="0">
              <a:lnSpc>
                <a:spcPct val="110000"/>
              </a:lnSpc>
              <a:spcBef>
                <a:spcPct val="0"/>
              </a:spcBef>
              <a:spcAft>
                <a:spcPct val="0"/>
              </a:spcAft>
              <a:buFont typeface="+mj-lt"/>
              <a:buAutoNum type="arabicPeriod"/>
              <a:defRPr lang="zh-CN" altLang="en-US" sz="2300" b="0" dirty="0" smtClean="0">
                <a:solidFill>
                  <a:schemeClr val="tx2"/>
                </a:solidFill>
                <a:latin typeface="+mj-lt"/>
                <a:ea typeface="+mj-ea"/>
                <a:cs typeface="+mj-cs"/>
              </a:defRPr>
            </a:lvl4pPr>
            <a:lvl5pPr marL="2804795" indent="-442595" algn="l" rtl="0" eaLnBrk="0" fontAlgn="base" hangingPunct="0">
              <a:lnSpc>
                <a:spcPct val="110000"/>
              </a:lnSpc>
              <a:spcBef>
                <a:spcPct val="0"/>
              </a:spcBef>
              <a:spcAft>
                <a:spcPct val="0"/>
              </a:spcAft>
              <a:buFont typeface="+mj-lt"/>
              <a:buAutoNum type="arabicPeriod"/>
              <a:defRPr lang="zh-CN" altLang="en-US" sz="2300" b="0" dirty="0">
                <a:solidFill>
                  <a:schemeClr val="tx2"/>
                </a:solidFill>
                <a:latin typeface="+mj-lt"/>
                <a:ea typeface="+mj-ea"/>
                <a:cs typeface="+mj-cs"/>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1328" y="4511973"/>
            <a:ext cx="10344309" cy="974137"/>
          </a:xfrm>
        </p:spPr>
        <p:txBody>
          <a:bodyPr/>
          <a:lstStyle>
            <a:lvl1pPr algn="l">
              <a:defRPr sz="52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1328" y="2781316"/>
            <a:ext cx="10344309" cy="919466"/>
          </a:xfrm>
        </p:spPr>
        <p:txBody>
          <a:bodyPr anchor="b"/>
          <a:lstStyle>
            <a:lvl1pPr marL="0" indent="0">
              <a:buNone/>
              <a:defRPr sz="2600"/>
            </a:lvl1pPr>
            <a:lvl2pPr marL="590550" indent="0">
              <a:buNone/>
              <a:defRPr sz="2300"/>
            </a:lvl2pPr>
            <a:lvl3pPr marL="1181100" indent="0">
              <a:buNone/>
              <a:defRPr sz="2100"/>
            </a:lvl3pPr>
            <a:lvl4pPr marL="1771650" indent="0">
              <a:buNone/>
              <a:defRPr sz="1800"/>
            </a:lvl4pPr>
            <a:lvl5pPr marL="2362200" indent="0">
              <a:buNone/>
              <a:defRPr sz="1800"/>
            </a:lvl5pPr>
            <a:lvl6pPr marL="2952115" indent="0">
              <a:buNone/>
              <a:defRPr sz="1800"/>
            </a:lvl6pPr>
            <a:lvl7pPr marL="3542665" indent="0">
              <a:buNone/>
              <a:defRPr sz="1800"/>
            </a:lvl7pPr>
            <a:lvl8pPr marL="4133215" indent="0">
              <a:buNone/>
              <a:defRPr sz="1800"/>
            </a:lvl8pPr>
            <a:lvl9pPr marL="4723765" indent="0">
              <a:buNone/>
              <a:defRPr sz="1800"/>
            </a:lvl9pPr>
          </a:lstStyle>
          <a:p>
            <a:pPr lvl="0"/>
            <a:r>
              <a:rPr lang="zh-CN" altLang="en-US" smtClean="0"/>
              <a:t>单击此处编辑母版文本样式</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1328" y="4511974"/>
            <a:ext cx="10344309" cy="1394550"/>
          </a:xfrm>
        </p:spPr>
        <p:txBody>
          <a:bodyPr/>
          <a:lstStyle>
            <a:lvl1pPr algn="l">
              <a:defRPr sz="52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1328" y="2976017"/>
            <a:ext cx="10344309" cy="1535956"/>
          </a:xfrm>
        </p:spPr>
        <p:txBody>
          <a:bodyPr anchor="b"/>
          <a:lstStyle>
            <a:lvl1pPr marL="0" indent="0">
              <a:buNone/>
              <a:defRPr sz="2600"/>
            </a:lvl1pPr>
            <a:lvl2pPr marL="590550" indent="0">
              <a:buNone/>
              <a:defRPr sz="2300"/>
            </a:lvl2pPr>
            <a:lvl3pPr marL="1181100" indent="0">
              <a:buNone/>
              <a:defRPr sz="2100"/>
            </a:lvl3pPr>
            <a:lvl4pPr marL="1771650" indent="0">
              <a:buNone/>
              <a:defRPr sz="1800"/>
            </a:lvl4pPr>
            <a:lvl5pPr marL="2362200" indent="0">
              <a:buNone/>
              <a:defRPr sz="1800"/>
            </a:lvl5pPr>
            <a:lvl6pPr marL="2952115" indent="0">
              <a:buNone/>
              <a:defRPr sz="1800"/>
            </a:lvl6pPr>
            <a:lvl7pPr marL="3542665" indent="0">
              <a:buNone/>
              <a:defRPr sz="1800"/>
            </a:lvl7pPr>
            <a:lvl8pPr marL="4133215" indent="0">
              <a:buNone/>
              <a:defRPr sz="1800"/>
            </a:lvl8pPr>
            <a:lvl9pPr marL="4723765" indent="0">
              <a:buNone/>
              <a:defRPr sz="1800"/>
            </a:lvl9pPr>
          </a:lstStyle>
          <a:p>
            <a:pPr lvl="0"/>
            <a:r>
              <a:rPr lang="zh-CN" altLang="en-US" smtClean="0"/>
              <a:t>单击此处编辑母版文本样式</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8489" y="1225514"/>
            <a:ext cx="5374984" cy="4939440"/>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86302" y="1225514"/>
            <a:ext cx="5374984" cy="4939440"/>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8489" y="281185"/>
            <a:ext cx="10952798" cy="1170252"/>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8489" y="1571714"/>
            <a:ext cx="5377097" cy="655017"/>
          </a:xfrm>
        </p:spPr>
        <p:txBody>
          <a:bodyPr anchor="b"/>
          <a:lstStyle>
            <a:lvl1pPr marL="0" indent="0">
              <a:buNone/>
              <a:defRPr sz="3100" b="1"/>
            </a:lvl1pPr>
            <a:lvl2pPr marL="590550" indent="0">
              <a:buNone/>
              <a:defRPr sz="2600" b="1"/>
            </a:lvl2pPr>
            <a:lvl3pPr marL="1181100" indent="0">
              <a:buNone/>
              <a:defRPr sz="2300" b="1"/>
            </a:lvl3pPr>
            <a:lvl4pPr marL="1771650" indent="0">
              <a:buNone/>
              <a:defRPr sz="2100" b="1"/>
            </a:lvl4pPr>
            <a:lvl5pPr marL="2362200" indent="0">
              <a:buNone/>
              <a:defRPr sz="2100" b="1"/>
            </a:lvl5pPr>
            <a:lvl6pPr marL="2952115" indent="0">
              <a:buNone/>
              <a:defRPr sz="2100" b="1"/>
            </a:lvl6pPr>
            <a:lvl7pPr marL="3542665" indent="0">
              <a:buNone/>
              <a:defRPr sz="2100" b="1"/>
            </a:lvl7pPr>
            <a:lvl8pPr marL="4133215" indent="0">
              <a:buNone/>
              <a:defRPr sz="2100" b="1"/>
            </a:lvl8pPr>
            <a:lvl9pPr marL="4723765" indent="0">
              <a:buNone/>
              <a:defRPr sz="2100" b="1"/>
            </a:lvl9pPr>
          </a:lstStyle>
          <a:p>
            <a:pPr lvl="0"/>
            <a:r>
              <a:rPr lang="zh-CN" altLang="en-US" smtClean="0"/>
              <a:t>单击此处编辑母版文本样式</a:t>
            </a:r>
          </a:p>
        </p:txBody>
      </p:sp>
      <p:sp>
        <p:nvSpPr>
          <p:cNvPr id="4" name="内容占位符 3"/>
          <p:cNvSpPr>
            <a:spLocks noGrp="1"/>
          </p:cNvSpPr>
          <p:nvPr>
            <p:ph sz="half" idx="2"/>
          </p:nvPr>
        </p:nvSpPr>
        <p:spPr>
          <a:xfrm>
            <a:off x="608489" y="2226730"/>
            <a:ext cx="5377097" cy="4045497"/>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82080" y="1571714"/>
            <a:ext cx="5379210" cy="655017"/>
          </a:xfrm>
        </p:spPr>
        <p:txBody>
          <a:bodyPr anchor="b"/>
          <a:lstStyle>
            <a:lvl1pPr marL="0" indent="0">
              <a:buNone/>
              <a:defRPr sz="3100" b="1"/>
            </a:lvl1pPr>
            <a:lvl2pPr marL="590550" indent="0">
              <a:buNone/>
              <a:defRPr sz="2600" b="1"/>
            </a:lvl2pPr>
            <a:lvl3pPr marL="1181100" indent="0">
              <a:buNone/>
              <a:defRPr sz="2300" b="1"/>
            </a:lvl3pPr>
            <a:lvl4pPr marL="1771650" indent="0">
              <a:buNone/>
              <a:defRPr sz="2100" b="1"/>
            </a:lvl4pPr>
            <a:lvl5pPr marL="2362200" indent="0">
              <a:buNone/>
              <a:defRPr sz="2100" b="1"/>
            </a:lvl5pPr>
            <a:lvl6pPr marL="2952115" indent="0">
              <a:buNone/>
              <a:defRPr sz="2100" b="1"/>
            </a:lvl6pPr>
            <a:lvl7pPr marL="3542665" indent="0">
              <a:buNone/>
              <a:defRPr sz="2100" b="1"/>
            </a:lvl7pPr>
            <a:lvl8pPr marL="4133215" indent="0">
              <a:buNone/>
              <a:defRPr sz="2100" b="1"/>
            </a:lvl8pPr>
            <a:lvl9pPr marL="4723765" indent="0">
              <a:buNone/>
              <a:defRPr sz="2100" b="1"/>
            </a:lvl9pPr>
          </a:lstStyle>
          <a:p>
            <a:pPr lvl="0"/>
            <a:r>
              <a:rPr lang="zh-CN" altLang="en-US" smtClean="0"/>
              <a:t>单击此处编辑母版文本样式</a:t>
            </a:r>
          </a:p>
        </p:txBody>
      </p:sp>
      <p:sp>
        <p:nvSpPr>
          <p:cNvPr id="6" name="内容占位符 5"/>
          <p:cNvSpPr>
            <a:spLocks noGrp="1"/>
          </p:cNvSpPr>
          <p:nvPr>
            <p:ph sz="quarter" idx="4"/>
          </p:nvPr>
        </p:nvSpPr>
        <p:spPr>
          <a:xfrm>
            <a:off x="6182080" y="2226730"/>
            <a:ext cx="5379210" cy="4045497"/>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8492" y="279559"/>
            <a:ext cx="4003772" cy="1189758"/>
          </a:xfrm>
        </p:spPr>
        <p:txBody>
          <a:bodyPr anchor="b"/>
          <a:lstStyle>
            <a:lvl1pPr algn="l">
              <a:defRPr sz="26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58044" y="279562"/>
            <a:ext cx="6803242" cy="5992667"/>
          </a:xfrm>
        </p:spPr>
        <p:txBody>
          <a:bodyPr/>
          <a:lstStyle>
            <a:lvl1pPr>
              <a:defRPr sz="41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8492" y="1469319"/>
            <a:ext cx="4003772" cy="4802910"/>
          </a:xfrm>
        </p:spPr>
        <p:txBody>
          <a:bodyPr/>
          <a:lstStyle>
            <a:lvl1pPr marL="0" indent="0">
              <a:buNone/>
              <a:defRPr sz="1800"/>
            </a:lvl1pPr>
            <a:lvl2pPr marL="590550" indent="0">
              <a:buNone/>
              <a:defRPr sz="1500"/>
            </a:lvl2pPr>
            <a:lvl3pPr marL="1181100" indent="0">
              <a:buNone/>
              <a:defRPr sz="1300"/>
            </a:lvl3pPr>
            <a:lvl4pPr marL="1771650" indent="0">
              <a:buNone/>
              <a:defRPr sz="1200"/>
            </a:lvl4pPr>
            <a:lvl5pPr marL="2362200" indent="0">
              <a:buNone/>
              <a:defRPr sz="1200"/>
            </a:lvl5pPr>
            <a:lvl6pPr marL="2952115" indent="0">
              <a:buNone/>
              <a:defRPr sz="1200"/>
            </a:lvl6pPr>
            <a:lvl7pPr marL="3542665" indent="0">
              <a:buNone/>
              <a:defRPr sz="1200"/>
            </a:lvl7pPr>
            <a:lvl8pPr marL="4133215" indent="0">
              <a:buNone/>
              <a:defRPr sz="1200"/>
            </a:lvl8pPr>
            <a:lvl9pPr marL="4723765" indent="0">
              <a:buNone/>
              <a:defRPr sz="1200"/>
            </a:lvl9pPr>
          </a:lstStyle>
          <a:p>
            <a:pPr lvl="0"/>
            <a:r>
              <a:rPr lang="zh-CN" altLang="en-US" smtClean="0"/>
              <a:t>单击此处编辑母版文本样式</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5361" y="4915059"/>
            <a:ext cx="7301865" cy="580251"/>
          </a:xfrm>
        </p:spPr>
        <p:txBody>
          <a:bodyPr anchor="b"/>
          <a:lstStyle>
            <a:lvl1pPr algn="l">
              <a:defRPr sz="26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5361" y="627385"/>
            <a:ext cx="7301865" cy="4212908"/>
          </a:xfrm>
        </p:spPr>
        <p:txBody>
          <a:bodyPr/>
          <a:lstStyle>
            <a:lvl1pPr marL="0" indent="0">
              <a:buNone/>
              <a:defRPr sz="4100"/>
            </a:lvl1pPr>
            <a:lvl2pPr marL="590550" indent="0">
              <a:buNone/>
              <a:defRPr sz="3600"/>
            </a:lvl2pPr>
            <a:lvl3pPr marL="1181100" indent="0">
              <a:buNone/>
              <a:defRPr sz="3100"/>
            </a:lvl3pPr>
            <a:lvl4pPr marL="1771650" indent="0">
              <a:buNone/>
              <a:defRPr sz="2600"/>
            </a:lvl4pPr>
            <a:lvl5pPr marL="2362200" indent="0">
              <a:buNone/>
              <a:defRPr sz="2600"/>
            </a:lvl5pPr>
            <a:lvl6pPr marL="2952115" indent="0">
              <a:buNone/>
              <a:defRPr sz="2600"/>
            </a:lvl6pPr>
            <a:lvl7pPr marL="3542665" indent="0">
              <a:buNone/>
              <a:defRPr sz="2600"/>
            </a:lvl7pPr>
            <a:lvl8pPr marL="4133215" indent="0">
              <a:buNone/>
              <a:defRPr sz="2600"/>
            </a:lvl8pPr>
            <a:lvl9pPr marL="4723765" indent="0">
              <a:buNone/>
              <a:defRPr sz="2600"/>
            </a:lvl9pPr>
          </a:lstStyle>
          <a:p>
            <a:pPr lvl="0"/>
            <a:endParaRPr lang="zh-CN" altLang="en-US" noProof="0"/>
          </a:p>
        </p:txBody>
      </p:sp>
      <p:sp>
        <p:nvSpPr>
          <p:cNvPr id="4" name="文本占位符 3"/>
          <p:cNvSpPr>
            <a:spLocks noGrp="1"/>
          </p:cNvSpPr>
          <p:nvPr>
            <p:ph type="body" sz="half" idx="2"/>
          </p:nvPr>
        </p:nvSpPr>
        <p:spPr>
          <a:xfrm>
            <a:off x="2385361" y="5495311"/>
            <a:ext cx="7301865" cy="824053"/>
          </a:xfrm>
        </p:spPr>
        <p:txBody>
          <a:bodyPr/>
          <a:lstStyle>
            <a:lvl1pPr marL="0" indent="0">
              <a:buNone/>
              <a:defRPr sz="1800"/>
            </a:lvl1pPr>
            <a:lvl2pPr marL="590550" indent="0">
              <a:buNone/>
              <a:defRPr sz="1500"/>
            </a:lvl2pPr>
            <a:lvl3pPr marL="1181100" indent="0">
              <a:buNone/>
              <a:defRPr sz="1300"/>
            </a:lvl3pPr>
            <a:lvl4pPr marL="1771650" indent="0">
              <a:buNone/>
              <a:defRPr sz="1200"/>
            </a:lvl4pPr>
            <a:lvl5pPr marL="2362200" indent="0">
              <a:buNone/>
              <a:defRPr sz="1200"/>
            </a:lvl5pPr>
            <a:lvl6pPr marL="2952115" indent="0">
              <a:buNone/>
              <a:defRPr sz="1200"/>
            </a:lvl6pPr>
            <a:lvl7pPr marL="3542665" indent="0">
              <a:buNone/>
              <a:defRPr sz="1200"/>
            </a:lvl7pPr>
            <a:lvl8pPr marL="4133215" indent="0">
              <a:buNone/>
              <a:defRPr sz="1200"/>
            </a:lvl8pPr>
            <a:lvl9pPr marL="4723765" indent="0">
              <a:buNone/>
              <a:defRPr sz="1200"/>
            </a:lvl9pPr>
          </a:lstStyle>
          <a:p>
            <a:pPr lvl="0"/>
            <a:r>
              <a:rPr lang="zh-CN" altLang="en-US" smtClean="0"/>
              <a:t>单击此处编辑母版文本样式</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82944" y="240552"/>
            <a:ext cx="2778342" cy="592440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41578" y="240552"/>
            <a:ext cx="8138537" cy="592440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8489" y="1225519"/>
            <a:ext cx="5374984" cy="5822347"/>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86302" y="1225519"/>
            <a:ext cx="5374984" cy="5822347"/>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8489" y="281189"/>
            <a:ext cx="10952798" cy="534017"/>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8490" y="1349173"/>
            <a:ext cx="5377097" cy="1073355"/>
          </a:xfrm>
        </p:spPr>
        <p:txBody>
          <a:bodyPr anchor="b"/>
          <a:lstStyle>
            <a:lvl1pPr marL="0" indent="0">
              <a:buNone/>
              <a:defRPr sz="3100" b="1"/>
            </a:lvl1pPr>
            <a:lvl2pPr marL="590550" indent="0">
              <a:buNone/>
              <a:defRPr sz="2600" b="1"/>
            </a:lvl2pPr>
            <a:lvl3pPr marL="1181100" indent="0">
              <a:buNone/>
              <a:defRPr sz="2300" b="1"/>
            </a:lvl3pPr>
            <a:lvl4pPr marL="1771650" indent="0">
              <a:buNone/>
              <a:defRPr sz="2100" b="1"/>
            </a:lvl4pPr>
            <a:lvl5pPr marL="2362200" indent="0">
              <a:buNone/>
              <a:defRPr sz="2100" b="1"/>
            </a:lvl5pPr>
            <a:lvl6pPr marL="2952115" indent="0">
              <a:buNone/>
              <a:defRPr sz="2100" b="1"/>
            </a:lvl6pPr>
            <a:lvl7pPr marL="3542665" indent="0">
              <a:buNone/>
              <a:defRPr sz="2100" b="1"/>
            </a:lvl7pPr>
            <a:lvl8pPr marL="4133215" indent="0">
              <a:buNone/>
              <a:defRPr sz="2100" b="1"/>
            </a:lvl8pPr>
            <a:lvl9pPr marL="4723765" indent="0">
              <a:buNone/>
              <a:defRPr sz="2100" b="1"/>
            </a:lvl9pPr>
          </a:lstStyle>
          <a:p>
            <a:pPr lvl="0"/>
            <a:r>
              <a:rPr lang="zh-CN" altLang="en-US" smtClean="0"/>
              <a:t>单击此处编辑母版文本样式</a:t>
            </a:r>
          </a:p>
        </p:txBody>
      </p:sp>
      <p:sp>
        <p:nvSpPr>
          <p:cNvPr id="4" name="内容占位符 3"/>
          <p:cNvSpPr>
            <a:spLocks noGrp="1"/>
          </p:cNvSpPr>
          <p:nvPr>
            <p:ph sz="half" idx="2"/>
          </p:nvPr>
        </p:nvSpPr>
        <p:spPr>
          <a:xfrm>
            <a:off x="608490" y="2226729"/>
            <a:ext cx="5377097" cy="5108305"/>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82084" y="1349173"/>
            <a:ext cx="5379210" cy="1073355"/>
          </a:xfrm>
        </p:spPr>
        <p:txBody>
          <a:bodyPr anchor="b"/>
          <a:lstStyle>
            <a:lvl1pPr marL="0" indent="0">
              <a:buNone/>
              <a:defRPr sz="3100" b="1"/>
            </a:lvl1pPr>
            <a:lvl2pPr marL="590550" indent="0">
              <a:buNone/>
              <a:defRPr sz="2600" b="1"/>
            </a:lvl2pPr>
            <a:lvl3pPr marL="1181100" indent="0">
              <a:buNone/>
              <a:defRPr sz="2300" b="1"/>
            </a:lvl3pPr>
            <a:lvl4pPr marL="1771650" indent="0">
              <a:buNone/>
              <a:defRPr sz="2100" b="1"/>
            </a:lvl4pPr>
            <a:lvl5pPr marL="2362200" indent="0">
              <a:buNone/>
              <a:defRPr sz="2100" b="1"/>
            </a:lvl5pPr>
            <a:lvl6pPr marL="2952115" indent="0">
              <a:buNone/>
              <a:defRPr sz="2100" b="1"/>
            </a:lvl6pPr>
            <a:lvl7pPr marL="3542665" indent="0">
              <a:buNone/>
              <a:defRPr sz="2100" b="1"/>
            </a:lvl7pPr>
            <a:lvl8pPr marL="4133215" indent="0">
              <a:buNone/>
              <a:defRPr sz="2100" b="1"/>
            </a:lvl8pPr>
            <a:lvl9pPr marL="4723765" indent="0">
              <a:buNone/>
              <a:defRPr sz="2100" b="1"/>
            </a:lvl9pPr>
          </a:lstStyle>
          <a:p>
            <a:pPr lvl="0"/>
            <a:r>
              <a:rPr lang="zh-CN" altLang="en-US" smtClean="0"/>
              <a:t>单击此处编辑母版文本样式</a:t>
            </a:r>
          </a:p>
        </p:txBody>
      </p:sp>
      <p:sp>
        <p:nvSpPr>
          <p:cNvPr id="6" name="内容占位符 5"/>
          <p:cNvSpPr>
            <a:spLocks noGrp="1"/>
          </p:cNvSpPr>
          <p:nvPr>
            <p:ph sz="quarter" idx="4"/>
          </p:nvPr>
        </p:nvSpPr>
        <p:spPr>
          <a:xfrm>
            <a:off x="6182084" y="2226729"/>
            <a:ext cx="5379210" cy="5108305"/>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8492" y="73111"/>
            <a:ext cx="4003772" cy="974137"/>
          </a:xfrm>
        </p:spPr>
        <p:txBody>
          <a:bodyPr anchor="b"/>
          <a:lstStyle>
            <a:lvl1pPr algn="l">
              <a:defRPr sz="26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58048" y="279559"/>
            <a:ext cx="6803244" cy="6671810"/>
          </a:xfrm>
        </p:spPr>
        <p:txBody>
          <a:bodyPr/>
          <a:lstStyle>
            <a:lvl1pPr>
              <a:defRPr sz="41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8492" y="1469318"/>
            <a:ext cx="4003772" cy="673245"/>
          </a:xfrm>
        </p:spPr>
        <p:txBody>
          <a:bodyPr/>
          <a:lstStyle>
            <a:lvl1pPr marL="0" indent="0">
              <a:buNone/>
              <a:defRPr sz="1800"/>
            </a:lvl1pPr>
            <a:lvl2pPr marL="590550" indent="0">
              <a:buNone/>
              <a:defRPr sz="1500"/>
            </a:lvl2pPr>
            <a:lvl3pPr marL="1181100" indent="0">
              <a:buNone/>
              <a:defRPr sz="1300"/>
            </a:lvl3pPr>
            <a:lvl4pPr marL="1771650" indent="0">
              <a:buNone/>
              <a:defRPr sz="1200"/>
            </a:lvl4pPr>
            <a:lvl5pPr marL="2362200" indent="0">
              <a:buNone/>
              <a:defRPr sz="1200"/>
            </a:lvl5pPr>
            <a:lvl6pPr marL="2952115" indent="0">
              <a:buNone/>
              <a:defRPr sz="1200"/>
            </a:lvl6pPr>
            <a:lvl7pPr marL="3542665" indent="0">
              <a:buNone/>
              <a:defRPr sz="1200"/>
            </a:lvl7pPr>
            <a:lvl8pPr marL="4133215" indent="0">
              <a:buNone/>
              <a:defRPr sz="1200"/>
            </a:lvl8pPr>
            <a:lvl9pPr marL="4723765" indent="0">
              <a:buNone/>
              <a:defRPr sz="1200"/>
            </a:lvl9pPr>
          </a:lstStyle>
          <a:p>
            <a:pPr lvl="0"/>
            <a:r>
              <a:rPr lang="zh-CN" altLang="en-US" smtClean="0"/>
              <a:t>单击此处编辑母版文本样式</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526090" y="6654187"/>
            <a:ext cx="11643685" cy="368954"/>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endParaRPr lang="zh-CN" altLang="en-US" sz="2300" dirty="0" smtClean="0">
              <a:solidFill>
                <a:srgbClr val="FFFFFF"/>
              </a:solidFill>
              <a:ea typeface="微软雅黑" panose="020B0503020204020204" pitchFamily="34" charset="-122"/>
            </a:endParaRPr>
          </a:p>
        </p:txBody>
      </p:sp>
      <p:sp>
        <p:nvSpPr>
          <p:cNvPr id="1027" name="Rectangle 7"/>
          <p:cNvSpPr>
            <a:spLocks noChangeArrowheads="1"/>
          </p:cNvSpPr>
          <p:nvPr/>
        </p:nvSpPr>
        <p:spPr bwMode="auto">
          <a:xfrm>
            <a:off x="0" y="6286857"/>
            <a:ext cx="526090" cy="368954"/>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endParaRPr lang="zh-CN" altLang="en-US" sz="2300" dirty="0" smtClean="0">
              <a:solidFill>
                <a:srgbClr val="FFFFFF"/>
              </a:solidFill>
              <a:ea typeface="微软雅黑" panose="020B0503020204020204" pitchFamily="34" charset="-122"/>
            </a:endParaRPr>
          </a:p>
        </p:txBody>
      </p:sp>
      <p:sp>
        <p:nvSpPr>
          <p:cNvPr id="1028" name="Line 11"/>
          <p:cNvSpPr>
            <a:spLocks noChangeShapeType="1"/>
          </p:cNvSpPr>
          <p:nvPr/>
        </p:nvSpPr>
        <p:spPr bwMode="auto">
          <a:xfrm>
            <a:off x="27467" y="658268"/>
            <a:ext cx="11762002"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lIns="118095" tIns="59047" rIns="118095" bIns="59047"/>
          <a:lstStyle/>
          <a:p>
            <a:pPr eaLnBrk="0" fontAlgn="base" hangingPunct="0">
              <a:spcBef>
                <a:spcPct val="0"/>
              </a:spcBef>
              <a:spcAft>
                <a:spcPct val="0"/>
              </a:spcAft>
            </a:pPr>
            <a:endParaRPr lang="zh-CN" altLang="en-US" sz="1500" dirty="0">
              <a:solidFill>
                <a:srgbClr val="FFFFFF"/>
              </a:solidFill>
              <a:latin typeface="宋体" panose="02010600030101010101" pitchFamily="2" charset="-122"/>
              <a:ea typeface="宋体" panose="02010600030101010101" pitchFamily="2" charset="-122"/>
            </a:endParaRPr>
          </a:p>
        </p:txBody>
      </p:sp>
      <p:pic>
        <p:nvPicPr>
          <p:cNvPr id="1029" name="Picture 12" descr="集团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587924" y="146284"/>
            <a:ext cx="2011393" cy="394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
          <p:cNvSpPr>
            <a:spLocks noGrp="1" noChangeArrowheads="1"/>
          </p:cNvSpPr>
          <p:nvPr>
            <p:ph type="body" idx="1"/>
          </p:nvPr>
        </p:nvSpPr>
        <p:spPr bwMode="auto">
          <a:xfrm>
            <a:off x="608489" y="708657"/>
            <a:ext cx="10952798" cy="765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095" tIns="59047" rIns="118095" bIns="59047" numCol="1" anchor="t" anchorCtr="0" compatLnSpc="1">
            <a:spAutoFit/>
          </a:bodyPr>
          <a:lstStyle/>
          <a:p>
            <a:pPr lvl="0"/>
            <a:r>
              <a:rPr lang="zh-CN" altLang="en-US" smtClean="0"/>
              <a:t>单击此处编辑母版文本样式</a:t>
            </a:r>
          </a:p>
        </p:txBody>
      </p:sp>
      <p:sp>
        <p:nvSpPr>
          <p:cNvPr id="1031" name="Rectangle 5"/>
          <p:cNvSpPr>
            <a:spLocks noGrp="1" noChangeArrowheads="1"/>
          </p:cNvSpPr>
          <p:nvPr>
            <p:ph type="title"/>
          </p:nvPr>
        </p:nvSpPr>
        <p:spPr bwMode="auto">
          <a:xfrm>
            <a:off x="441578" y="240555"/>
            <a:ext cx="9032256" cy="534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494" tIns="46494" rIns="46494" bIns="46494" numCol="1" anchor="t" anchorCtr="0" compatLnSpc="1">
            <a:spAutoFit/>
          </a:bodyPr>
          <a:lstStyle/>
          <a:p>
            <a:pPr lvl="0"/>
            <a:r>
              <a:rPr lang="zh-CN" altLang="en-US" smtClean="0"/>
              <a:t>单击此处编辑母版标题样式</a:t>
            </a:r>
          </a:p>
        </p:txBody>
      </p:sp>
      <p:sp>
        <p:nvSpPr>
          <p:cNvPr id="2056" name="Text Box 9"/>
          <p:cNvSpPr txBox="1">
            <a:spLocks noChangeArrowheads="1"/>
          </p:cNvSpPr>
          <p:nvPr/>
        </p:nvSpPr>
        <p:spPr bwMode="auto">
          <a:xfrm>
            <a:off x="18588" y="6694822"/>
            <a:ext cx="469329" cy="30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spAutoFit/>
          </a:bodyPr>
          <a:lstStyle>
            <a:lvl1pPr>
              <a:defRPr sz="1200">
                <a:solidFill>
                  <a:schemeClr val="bg1"/>
                </a:solidFill>
                <a:latin typeface="宋体" panose="02010600030101010101" pitchFamily="2" charset="-122"/>
                <a:ea typeface="宋体" panose="02010600030101010101" pitchFamily="2" charset="-122"/>
              </a:defRPr>
            </a:lvl1pPr>
            <a:lvl2pPr marL="742950" indent="-285750">
              <a:defRPr sz="1200">
                <a:solidFill>
                  <a:schemeClr val="bg1"/>
                </a:solidFill>
                <a:latin typeface="宋体" panose="02010600030101010101" pitchFamily="2" charset="-122"/>
                <a:ea typeface="宋体" panose="02010600030101010101" pitchFamily="2" charset="-122"/>
              </a:defRPr>
            </a:lvl2pPr>
            <a:lvl3pPr marL="1143000" indent="-228600">
              <a:defRPr sz="1200">
                <a:solidFill>
                  <a:schemeClr val="bg1"/>
                </a:solidFill>
                <a:latin typeface="宋体" panose="02010600030101010101" pitchFamily="2" charset="-122"/>
                <a:ea typeface="宋体" panose="02010600030101010101" pitchFamily="2" charset="-122"/>
              </a:defRPr>
            </a:lvl3pPr>
            <a:lvl4pPr marL="1600200" indent="-228600">
              <a:defRPr sz="1200">
                <a:solidFill>
                  <a:schemeClr val="bg1"/>
                </a:solidFill>
                <a:latin typeface="宋体" panose="02010600030101010101" pitchFamily="2" charset="-122"/>
                <a:ea typeface="宋体" panose="02010600030101010101" pitchFamily="2" charset="-122"/>
              </a:defRPr>
            </a:lvl4pPr>
            <a:lvl5pPr marL="2057400" indent="-22860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fontAlgn="base">
              <a:spcBef>
                <a:spcPct val="0"/>
              </a:spcBef>
              <a:spcAft>
                <a:spcPct val="0"/>
              </a:spcAft>
              <a:defRPr/>
            </a:pPr>
            <a:fld id="{3F22E4EF-BFA2-437B-ABD6-6901660AFD78}" type="slidenum">
              <a:rPr lang="zh-CN" altLang="en-US" b="1" smtClean="0">
                <a:solidFill>
                  <a:srgbClr val="FF0000"/>
                </a:solidFill>
                <a:ea typeface="Arial Unicode MS" pitchFamily="34" charset="-122"/>
                <a:cs typeface="Arial Unicode MS" pitchFamily="34" charset="-122"/>
              </a:rPr>
              <a:t>‹#›</a:t>
            </a:fld>
            <a:endParaRPr lang="en-US" altLang="zh-CN" b="1" smtClean="0">
              <a:solidFill>
                <a:srgbClr val="FF0000"/>
              </a:solidFill>
              <a:ea typeface="Arial Unicode MS" pitchFamily="34" charset="-122"/>
              <a:cs typeface="Arial Unicode MS" pitchFamily="34"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dt="0"/>
  <p:txStyles>
    <p:title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p:titleStyle>
    <p:bodyStyle>
      <a:lvl1pPr marL="442595" indent="-442595" algn="l" rtl="0" eaLnBrk="0" fontAlgn="base" hangingPunct="0">
        <a:lnSpc>
          <a:spcPct val="200000"/>
        </a:lnSpc>
        <a:spcBef>
          <a:spcPct val="20000"/>
        </a:spcBef>
        <a:spcAft>
          <a:spcPct val="0"/>
        </a:spcAft>
        <a:buSzPct val="80000"/>
        <a:buFont typeface="Wingdings" panose="05000000000000000000" pitchFamily="2" charset="2"/>
        <a:buChar char="n"/>
        <a:defRPr lang="zh-CN" altLang="en-US" sz="2100" dirty="0">
          <a:solidFill>
            <a:schemeClr val="tx2"/>
          </a:solidFill>
          <a:latin typeface="+mj-lt"/>
          <a:ea typeface="+mj-ea"/>
          <a:cs typeface="+mj-cs"/>
        </a:defRPr>
      </a:lvl1pPr>
      <a:lvl2pPr marL="959485" indent="-368935"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2100" dirty="0">
          <a:solidFill>
            <a:schemeClr val="tx2"/>
          </a:solidFill>
          <a:latin typeface="+mj-lt"/>
          <a:ea typeface="+mj-ea"/>
          <a:cs typeface="+mj-cs"/>
        </a:defRPr>
      </a:lvl2pPr>
      <a:lvl3pPr marL="1476375" indent="-295275" algn="l" rtl="0" eaLnBrk="0" fontAlgn="base" hangingPunct="0">
        <a:lnSpc>
          <a:spcPct val="200000"/>
        </a:lnSpc>
        <a:spcBef>
          <a:spcPct val="20000"/>
        </a:spcBef>
        <a:spcAft>
          <a:spcPct val="0"/>
        </a:spcAft>
        <a:buFont typeface="Wingdings" panose="05000000000000000000" pitchFamily="2" charset="2"/>
        <a:buChar char="ü"/>
        <a:defRPr lang="zh-CN" altLang="en-US" sz="2100" dirty="0">
          <a:solidFill>
            <a:schemeClr val="tx2"/>
          </a:solidFill>
          <a:latin typeface="+mj-lt"/>
          <a:ea typeface="+mj-ea"/>
          <a:cs typeface="+mj-cs"/>
        </a:defRPr>
      </a:lvl3pPr>
      <a:lvl4pPr marL="2066925" indent="-295275" algn="l" rtl="0" eaLnBrk="0" fontAlgn="base" hangingPunct="0">
        <a:lnSpc>
          <a:spcPct val="200000"/>
        </a:lnSpc>
        <a:spcBef>
          <a:spcPct val="20000"/>
        </a:spcBef>
        <a:spcAft>
          <a:spcPct val="0"/>
        </a:spcAft>
        <a:buFont typeface="Wingdings" panose="05000000000000000000" pitchFamily="2" charset="2"/>
        <a:buChar char="n"/>
        <a:defRPr lang="zh-CN" altLang="en-US" sz="2100" dirty="0">
          <a:solidFill>
            <a:schemeClr val="tx2"/>
          </a:solidFill>
          <a:latin typeface="+mj-lt"/>
          <a:ea typeface="+mj-ea"/>
          <a:cs typeface="+mj-cs"/>
        </a:defRPr>
      </a:lvl4pPr>
      <a:lvl5pPr marL="2656840" indent="-295275" algn="l" rtl="0" eaLnBrk="0" fontAlgn="base" hangingPunct="0">
        <a:lnSpc>
          <a:spcPct val="200000"/>
        </a:lnSpc>
        <a:spcBef>
          <a:spcPct val="20000"/>
        </a:spcBef>
        <a:spcAft>
          <a:spcPct val="0"/>
        </a:spcAft>
        <a:buFont typeface="Wingdings" panose="05000000000000000000" pitchFamily="2" charset="2"/>
        <a:buChar char="n"/>
        <a:defRPr lang="zh-CN" altLang="en-US" sz="2100" dirty="0">
          <a:solidFill>
            <a:schemeClr val="tx2"/>
          </a:solidFill>
          <a:latin typeface="+mj-lt"/>
          <a:ea typeface="+mj-ea"/>
          <a:cs typeface="+mj-cs"/>
        </a:defRPr>
      </a:lvl5pPr>
      <a:lvl6pPr marL="324739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6pPr>
      <a:lvl7pPr marL="383794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7pPr>
      <a:lvl8pPr marL="442849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8pPr>
      <a:lvl9pPr marL="501904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9pPr>
    </p:bodyStyle>
    <p:otherStyle>
      <a:defPPr>
        <a:defRPr lang="zh-CN"/>
      </a:defPPr>
      <a:lvl1pPr marL="0" algn="l" defTabSz="1180465" rtl="0" eaLnBrk="1" latinLnBrk="0" hangingPunct="1">
        <a:defRPr sz="2300" kern="1200">
          <a:solidFill>
            <a:schemeClr val="tx1"/>
          </a:solidFill>
          <a:latin typeface="+mn-lt"/>
          <a:ea typeface="+mn-ea"/>
          <a:cs typeface="+mn-cs"/>
        </a:defRPr>
      </a:lvl1pPr>
      <a:lvl2pPr marL="590550" algn="l" defTabSz="1180465" rtl="0" eaLnBrk="1" latinLnBrk="0" hangingPunct="1">
        <a:defRPr sz="2300" kern="1200">
          <a:solidFill>
            <a:schemeClr val="tx1"/>
          </a:solidFill>
          <a:latin typeface="+mn-lt"/>
          <a:ea typeface="+mn-ea"/>
          <a:cs typeface="+mn-cs"/>
        </a:defRPr>
      </a:lvl2pPr>
      <a:lvl3pPr marL="1181100" algn="l" defTabSz="1180465" rtl="0" eaLnBrk="1" latinLnBrk="0" hangingPunct="1">
        <a:defRPr sz="2300" kern="1200">
          <a:solidFill>
            <a:schemeClr val="tx1"/>
          </a:solidFill>
          <a:latin typeface="+mn-lt"/>
          <a:ea typeface="+mn-ea"/>
          <a:cs typeface="+mn-cs"/>
        </a:defRPr>
      </a:lvl3pPr>
      <a:lvl4pPr marL="1771650" algn="l" defTabSz="1180465" rtl="0" eaLnBrk="1" latinLnBrk="0" hangingPunct="1">
        <a:defRPr sz="2300" kern="1200">
          <a:solidFill>
            <a:schemeClr val="tx1"/>
          </a:solidFill>
          <a:latin typeface="+mn-lt"/>
          <a:ea typeface="+mn-ea"/>
          <a:cs typeface="+mn-cs"/>
        </a:defRPr>
      </a:lvl4pPr>
      <a:lvl5pPr marL="2362200" algn="l" defTabSz="1180465" rtl="0" eaLnBrk="1" latinLnBrk="0" hangingPunct="1">
        <a:defRPr sz="2300" kern="1200">
          <a:solidFill>
            <a:schemeClr val="tx1"/>
          </a:solidFill>
          <a:latin typeface="+mn-lt"/>
          <a:ea typeface="+mn-ea"/>
          <a:cs typeface="+mn-cs"/>
        </a:defRPr>
      </a:lvl5pPr>
      <a:lvl6pPr marL="2952115" algn="l" defTabSz="1180465" rtl="0" eaLnBrk="1" latinLnBrk="0" hangingPunct="1">
        <a:defRPr sz="2300" kern="1200">
          <a:solidFill>
            <a:schemeClr val="tx1"/>
          </a:solidFill>
          <a:latin typeface="+mn-lt"/>
          <a:ea typeface="+mn-ea"/>
          <a:cs typeface="+mn-cs"/>
        </a:defRPr>
      </a:lvl6pPr>
      <a:lvl7pPr marL="3542665" algn="l" defTabSz="1180465" rtl="0" eaLnBrk="1" latinLnBrk="0" hangingPunct="1">
        <a:defRPr sz="2300" kern="1200">
          <a:solidFill>
            <a:schemeClr val="tx1"/>
          </a:solidFill>
          <a:latin typeface="+mn-lt"/>
          <a:ea typeface="+mn-ea"/>
          <a:cs typeface="+mn-cs"/>
        </a:defRPr>
      </a:lvl7pPr>
      <a:lvl8pPr marL="4133215" algn="l" defTabSz="1180465" rtl="0" eaLnBrk="1" latinLnBrk="0" hangingPunct="1">
        <a:defRPr sz="2300" kern="1200">
          <a:solidFill>
            <a:schemeClr val="tx1"/>
          </a:solidFill>
          <a:latin typeface="+mn-lt"/>
          <a:ea typeface="+mn-ea"/>
          <a:cs typeface="+mn-cs"/>
        </a:defRPr>
      </a:lvl8pPr>
      <a:lvl9pPr marL="4723765" algn="l" defTabSz="1180465" rtl="0" eaLnBrk="1" latinLnBrk="0" hangingPunct="1">
        <a:defRPr sz="2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526090" y="6654184"/>
            <a:ext cx="11643685" cy="368954"/>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endParaRPr lang="zh-CN" altLang="en-US" sz="2300" dirty="0" smtClean="0">
              <a:solidFill>
                <a:srgbClr val="FFFFFF"/>
              </a:solidFill>
              <a:ea typeface="微软雅黑" panose="020B0503020204020204" pitchFamily="34" charset="-122"/>
            </a:endParaRPr>
          </a:p>
        </p:txBody>
      </p:sp>
      <p:sp>
        <p:nvSpPr>
          <p:cNvPr id="1027" name="Rectangle 7"/>
          <p:cNvSpPr>
            <a:spLocks noChangeArrowheads="1"/>
          </p:cNvSpPr>
          <p:nvPr/>
        </p:nvSpPr>
        <p:spPr bwMode="auto">
          <a:xfrm>
            <a:off x="0" y="6286855"/>
            <a:ext cx="526090" cy="368954"/>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nchor="ct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endParaRPr lang="zh-CN" altLang="en-US" sz="2300" dirty="0" smtClean="0">
              <a:solidFill>
                <a:srgbClr val="FFFFFF"/>
              </a:solidFill>
              <a:ea typeface="微软雅黑" panose="020B0503020204020204" pitchFamily="34" charset="-122"/>
            </a:endParaRPr>
          </a:p>
        </p:txBody>
      </p:sp>
      <p:sp>
        <p:nvSpPr>
          <p:cNvPr id="1028" name="Line 11"/>
          <p:cNvSpPr>
            <a:spLocks noChangeShapeType="1"/>
          </p:cNvSpPr>
          <p:nvPr/>
        </p:nvSpPr>
        <p:spPr bwMode="auto">
          <a:xfrm>
            <a:off x="27467" y="658268"/>
            <a:ext cx="11762002"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lIns="118095" tIns="59047" rIns="118095" bIns="59047"/>
          <a:lstStyle/>
          <a:p>
            <a:pPr eaLnBrk="0" fontAlgn="base" hangingPunct="0">
              <a:spcBef>
                <a:spcPct val="0"/>
              </a:spcBef>
              <a:spcAft>
                <a:spcPct val="0"/>
              </a:spcAft>
            </a:pPr>
            <a:endParaRPr lang="zh-CN" altLang="en-US" sz="1500" dirty="0">
              <a:solidFill>
                <a:srgbClr val="FFFFFF"/>
              </a:solidFill>
              <a:latin typeface="宋体" panose="02010600030101010101" pitchFamily="2" charset="-122"/>
              <a:ea typeface="宋体" panose="02010600030101010101" pitchFamily="2" charset="-122"/>
            </a:endParaRPr>
          </a:p>
        </p:txBody>
      </p:sp>
      <p:pic>
        <p:nvPicPr>
          <p:cNvPr id="1029" name="Picture 12" descr="集团logo"/>
          <p:cNvPicPr>
            <a:picLocks noChangeAspect="1" noChangeArrowheads="1"/>
          </p:cNvPicPr>
          <p:nvPr/>
        </p:nvPicPr>
        <p:blipFill>
          <a:blip r:embed="rId15" cstate="print"/>
          <a:srcRect/>
          <a:stretch>
            <a:fillRect/>
          </a:stretch>
        </p:blipFill>
        <p:spPr bwMode="auto">
          <a:xfrm>
            <a:off x="9587924" y="146283"/>
            <a:ext cx="2011393" cy="394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
          <p:cNvSpPr>
            <a:spLocks noGrp="1" noChangeArrowheads="1"/>
          </p:cNvSpPr>
          <p:nvPr>
            <p:ph type="body" idx="1"/>
          </p:nvPr>
        </p:nvSpPr>
        <p:spPr bwMode="auto">
          <a:xfrm>
            <a:off x="608489" y="708655"/>
            <a:ext cx="10952798" cy="765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095" tIns="59047" rIns="118095" bIns="59047" numCol="1" anchor="t" anchorCtr="0" compatLnSpc="1">
            <a:spAutoFit/>
          </a:bodyPr>
          <a:lstStyle/>
          <a:p>
            <a:pPr lvl="0"/>
            <a:r>
              <a:rPr lang="zh-CN" altLang="en-US" smtClean="0"/>
              <a:t>单击此处编辑母版文本样式</a:t>
            </a:r>
          </a:p>
        </p:txBody>
      </p:sp>
      <p:sp>
        <p:nvSpPr>
          <p:cNvPr id="1031" name="Rectangle 5"/>
          <p:cNvSpPr>
            <a:spLocks noGrp="1" noChangeArrowheads="1"/>
          </p:cNvSpPr>
          <p:nvPr>
            <p:ph type="title"/>
          </p:nvPr>
        </p:nvSpPr>
        <p:spPr bwMode="auto">
          <a:xfrm>
            <a:off x="441578" y="240554"/>
            <a:ext cx="9032254" cy="534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494" tIns="46494" rIns="46494" bIns="46494" numCol="1" anchor="t" anchorCtr="0" compatLnSpc="1">
            <a:spAutoFit/>
          </a:bodyPr>
          <a:lstStyle/>
          <a:p>
            <a:pPr lvl="0"/>
            <a:r>
              <a:rPr lang="zh-CN" altLang="en-US" smtClean="0"/>
              <a:t>单击此处编辑母版标题样式</a:t>
            </a:r>
          </a:p>
        </p:txBody>
      </p:sp>
      <p:sp>
        <p:nvSpPr>
          <p:cNvPr id="2056" name="Text Box 9"/>
          <p:cNvSpPr txBox="1">
            <a:spLocks noChangeArrowheads="1"/>
          </p:cNvSpPr>
          <p:nvPr/>
        </p:nvSpPr>
        <p:spPr bwMode="auto">
          <a:xfrm>
            <a:off x="18872" y="6694820"/>
            <a:ext cx="469329" cy="30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spAutoFit/>
          </a:bodyPr>
          <a:lstStyle>
            <a:lvl1pPr>
              <a:defRPr sz="1200">
                <a:solidFill>
                  <a:schemeClr val="bg1"/>
                </a:solidFill>
                <a:latin typeface="宋体" panose="02010600030101010101" pitchFamily="2" charset="-122"/>
                <a:ea typeface="宋体" panose="02010600030101010101" pitchFamily="2" charset="-122"/>
              </a:defRPr>
            </a:lvl1pPr>
            <a:lvl2pPr marL="742950" indent="-285750">
              <a:defRPr sz="1200">
                <a:solidFill>
                  <a:schemeClr val="bg1"/>
                </a:solidFill>
                <a:latin typeface="宋体" panose="02010600030101010101" pitchFamily="2" charset="-122"/>
                <a:ea typeface="宋体" panose="02010600030101010101" pitchFamily="2" charset="-122"/>
              </a:defRPr>
            </a:lvl2pPr>
            <a:lvl3pPr marL="1143000" indent="-228600">
              <a:defRPr sz="1200">
                <a:solidFill>
                  <a:schemeClr val="bg1"/>
                </a:solidFill>
                <a:latin typeface="宋体" panose="02010600030101010101" pitchFamily="2" charset="-122"/>
                <a:ea typeface="宋体" panose="02010600030101010101" pitchFamily="2" charset="-122"/>
              </a:defRPr>
            </a:lvl3pPr>
            <a:lvl4pPr marL="1600200" indent="-228600">
              <a:defRPr sz="1200">
                <a:solidFill>
                  <a:schemeClr val="bg1"/>
                </a:solidFill>
                <a:latin typeface="宋体" panose="02010600030101010101" pitchFamily="2" charset="-122"/>
                <a:ea typeface="宋体" panose="02010600030101010101" pitchFamily="2" charset="-122"/>
              </a:defRPr>
            </a:lvl4pPr>
            <a:lvl5pPr marL="2057400" indent="-22860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fontAlgn="base">
              <a:spcBef>
                <a:spcPct val="0"/>
              </a:spcBef>
              <a:spcAft>
                <a:spcPct val="0"/>
              </a:spcAft>
              <a:defRPr/>
            </a:pPr>
            <a:fld id="{3F22E4EF-BFA2-437B-ABD6-6901660AFD78}" type="slidenum">
              <a:rPr lang="zh-CN" altLang="en-US" b="1" smtClean="0">
                <a:solidFill>
                  <a:srgbClr val="FF0000"/>
                </a:solidFill>
                <a:ea typeface="Arial Unicode MS" pitchFamily="34" charset="-122"/>
                <a:cs typeface="Arial Unicode MS" pitchFamily="34" charset="-122"/>
              </a:rPr>
              <a:t>‹#›</a:t>
            </a:fld>
            <a:endParaRPr lang="en-US" altLang="zh-CN" b="1" smtClean="0">
              <a:solidFill>
                <a:srgbClr val="FF0000"/>
              </a:solidFill>
              <a:ea typeface="Arial Unicode MS" pitchFamily="34" charset="-122"/>
              <a:cs typeface="Arial Unicode MS" pitchFamily="34" charset="-122"/>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Lst>
  <p:hf hdr="0" ftr="0" dt="0"/>
  <p:txStyles>
    <p:title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p:titleStyle>
    <p:bodyStyle>
      <a:lvl1pPr marL="442595" indent="-442595" algn="l" rtl="0" eaLnBrk="0" fontAlgn="base" hangingPunct="0">
        <a:lnSpc>
          <a:spcPct val="200000"/>
        </a:lnSpc>
        <a:spcBef>
          <a:spcPct val="20000"/>
        </a:spcBef>
        <a:spcAft>
          <a:spcPct val="0"/>
        </a:spcAft>
        <a:buSzPct val="80000"/>
        <a:buFont typeface="Wingdings" panose="05000000000000000000" pitchFamily="2" charset="2"/>
        <a:buChar char="n"/>
        <a:defRPr lang="zh-CN" altLang="en-US" sz="2100" dirty="0">
          <a:solidFill>
            <a:schemeClr val="tx2"/>
          </a:solidFill>
          <a:latin typeface="+mj-lt"/>
          <a:ea typeface="+mj-ea"/>
          <a:cs typeface="+mj-cs"/>
        </a:defRPr>
      </a:lvl1pPr>
      <a:lvl2pPr marL="959485" indent="-368935" algn="l" rtl="0" eaLnBrk="0" fontAlgn="base" hangingPunct="0">
        <a:lnSpc>
          <a:spcPct val="200000"/>
        </a:lnSpc>
        <a:spcBef>
          <a:spcPct val="20000"/>
        </a:spcBef>
        <a:spcAft>
          <a:spcPct val="0"/>
        </a:spcAft>
        <a:buSzPct val="80000"/>
        <a:buFont typeface="Wingdings" panose="05000000000000000000" pitchFamily="2" charset="2"/>
        <a:buChar char="Ø"/>
        <a:defRPr lang="zh-CN" altLang="en-US" sz="2100" dirty="0">
          <a:solidFill>
            <a:schemeClr val="tx2"/>
          </a:solidFill>
          <a:latin typeface="+mj-lt"/>
          <a:ea typeface="+mj-ea"/>
          <a:cs typeface="+mj-cs"/>
        </a:defRPr>
      </a:lvl2pPr>
      <a:lvl3pPr marL="1476375" indent="-295275" algn="l" rtl="0" eaLnBrk="0" fontAlgn="base" hangingPunct="0">
        <a:lnSpc>
          <a:spcPct val="200000"/>
        </a:lnSpc>
        <a:spcBef>
          <a:spcPct val="20000"/>
        </a:spcBef>
        <a:spcAft>
          <a:spcPct val="0"/>
        </a:spcAft>
        <a:buFont typeface="Wingdings" panose="05000000000000000000" pitchFamily="2" charset="2"/>
        <a:buChar char="ü"/>
        <a:defRPr lang="zh-CN" altLang="en-US" sz="2100" dirty="0">
          <a:solidFill>
            <a:schemeClr val="tx2"/>
          </a:solidFill>
          <a:latin typeface="+mj-lt"/>
          <a:ea typeface="+mj-ea"/>
          <a:cs typeface="+mj-cs"/>
        </a:defRPr>
      </a:lvl3pPr>
      <a:lvl4pPr marL="2066925" indent="-295275" algn="l" rtl="0" eaLnBrk="0" fontAlgn="base" hangingPunct="0">
        <a:lnSpc>
          <a:spcPct val="200000"/>
        </a:lnSpc>
        <a:spcBef>
          <a:spcPct val="20000"/>
        </a:spcBef>
        <a:spcAft>
          <a:spcPct val="0"/>
        </a:spcAft>
        <a:buFont typeface="Wingdings" panose="05000000000000000000" pitchFamily="2" charset="2"/>
        <a:buChar char="n"/>
        <a:defRPr lang="zh-CN" altLang="en-US" sz="2100" dirty="0">
          <a:solidFill>
            <a:schemeClr val="tx2"/>
          </a:solidFill>
          <a:latin typeface="+mj-lt"/>
          <a:ea typeface="+mj-ea"/>
          <a:cs typeface="+mj-cs"/>
        </a:defRPr>
      </a:lvl4pPr>
      <a:lvl5pPr marL="2656840" indent="-295275" algn="l" rtl="0" eaLnBrk="0" fontAlgn="base" hangingPunct="0">
        <a:lnSpc>
          <a:spcPct val="200000"/>
        </a:lnSpc>
        <a:spcBef>
          <a:spcPct val="20000"/>
        </a:spcBef>
        <a:spcAft>
          <a:spcPct val="0"/>
        </a:spcAft>
        <a:buFont typeface="Wingdings" panose="05000000000000000000" pitchFamily="2" charset="2"/>
        <a:buChar char="n"/>
        <a:defRPr lang="zh-CN" altLang="en-US" sz="2100" dirty="0">
          <a:solidFill>
            <a:schemeClr val="tx2"/>
          </a:solidFill>
          <a:latin typeface="+mj-lt"/>
          <a:ea typeface="+mj-ea"/>
          <a:cs typeface="+mj-cs"/>
        </a:defRPr>
      </a:lvl5pPr>
      <a:lvl6pPr marL="324739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6pPr>
      <a:lvl7pPr marL="383794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7pPr>
      <a:lvl8pPr marL="442849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8pPr>
      <a:lvl9pPr marL="5019040" indent="-295275" algn="l" rtl="0" eaLnBrk="1" fontAlgn="base" hangingPunct="1">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9pPr>
    </p:bodyStyle>
    <p:otherStyle>
      <a:defPPr>
        <a:defRPr lang="zh-CN"/>
      </a:defPPr>
      <a:lvl1pPr marL="0" algn="l" defTabSz="1180465" rtl="0" eaLnBrk="1" latinLnBrk="0" hangingPunct="1">
        <a:defRPr sz="2300" kern="1200">
          <a:solidFill>
            <a:schemeClr val="tx1"/>
          </a:solidFill>
          <a:latin typeface="+mn-lt"/>
          <a:ea typeface="+mn-ea"/>
          <a:cs typeface="+mn-cs"/>
        </a:defRPr>
      </a:lvl1pPr>
      <a:lvl2pPr marL="590550" algn="l" defTabSz="1180465" rtl="0" eaLnBrk="1" latinLnBrk="0" hangingPunct="1">
        <a:defRPr sz="2300" kern="1200">
          <a:solidFill>
            <a:schemeClr val="tx1"/>
          </a:solidFill>
          <a:latin typeface="+mn-lt"/>
          <a:ea typeface="+mn-ea"/>
          <a:cs typeface="+mn-cs"/>
        </a:defRPr>
      </a:lvl2pPr>
      <a:lvl3pPr marL="1181100" algn="l" defTabSz="1180465" rtl="0" eaLnBrk="1" latinLnBrk="0" hangingPunct="1">
        <a:defRPr sz="2300" kern="1200">
          <a:solidFill>
            <a:schemeClr val="tx1"/>
          </a:solidFill>
          <a:latin typeface="+mn-lt"/>
          <a:ea typeface="+mn-ea"/>
          <a:cs typeface="+mn-cs"/>
        </a:defRPr>
      </a:lvl3pPr>
      <a:lvl4pPr marL="1771650" algn="l" defTabSz="1180465" rtl="0" eaLnBrk="1" latinLnBrk="0" hangingPunct="1">
        <a:defRPr sz="2300" kern="1200">
          <a:solidFill>
            <a:schemeClr val="tx1"/>
          </a:solidFill>
          <a:latin typeface="+mn-lt"/>
          <a:ea typeface="+mn-ea"/>
          <a:cs typeface="+mn-cs"/>
        </a:defRPr>
      </a:lvl4pPr>
      <a:lvl5pPr marL="2362200" algn="l" defTabSz="1180465" rtl="0" eaLnBrk="1" latinLnBrk="0" hangingPunct="1">
        <a:defRPr sz="2300" kern="1200">
          <a:solidFill>
            <a:schemeClr val="tx1"/>
          </a:solidFill>
          <a:latin typeface="+mn-lt"/>
          <a:ea typeface="+mn-ea"/>
          <a:cs typeface="+mn-cs"/>
        </a:defRPr>
      </a:lvl5pPr>
      <a:lvl6pPr marL="2952115" algn="l" defTabSz="1180465" rtl="0" eaLnBrk="1" latinLnBrk="0" hangingPunct="1">
        <a:defRPr sz="2300" kern="1200">
          <a:solidFill>
            <a:schemeClr val="tx1"/>
          </a:solidFill>
          <a:latin typeface="+mn-lt"/>
          <a:ea typeface="+mn-ea"/>
          <a:cs typeface="+mn-cs"/>
        </a:defRPr>
      </a:lvl6pPr>
      <a:lvl7pPr marL="3542665" algn="l" defTabSz="1180465" rtl="0" eaLnBrk="1" latinLnBrk="0" hangingPunct="1">
        <a:defRPr sz="2300" kern="1200">
          <a:solidFill>
            <a:schemeClr val="tx1"/>
          </a:solidFill>
          <a:latin typeface="+mn-lt"/>
          <a:ea typeface="+mn-ea"/>
          <a:cs typeface="+mn-cs"/>
        </a:defRPr>
      </a:lvl7pPr>
      <a:lvl8pPr marL="4133215" algn="l" defTabSz="1180465" rtl="0" eaLnBrk="1" latinLnBrk="0" hangingPunct="1">
        <a:defRPr sz="2300" kern="1200">
          <a:solidFill>
            <a:schemeClr val="tx1"/>
          </a:solidFill>
          <a:latin typeface="+mn-lt"/>
          <a:ea typeface="+mn-ea"/>
          <a:cs typeface="+mn-cs"/>
        </a:defRPr>
      </a:lvl8pPr>
      <a:lvl9pPr marL="4723765" algn="l" defTabSz="1180465"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526090" y="6654184"/>
            <a:ext cx="11643685" cy="368954"/>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nchor="ctr"/>
          <a:lstStyle/>
          <a:p>
            <a:pPr algn="ctr" fontAlgn="base">
              <a:spcBef>
                <a:spcPct val="0"/>
              </a:spcBef>
              <a:spcAft>
                <a:spcPct val="0"/>
              </a:spcAft>
            </a:pPr>
            <a:endParaRPr lang="zh-CN" altLang="en-US">
              <a:solidFill>
                <a:srgbClr val="FFFFFF"/>
              </a:solidFill>
              <a:latin typeface="宋体" panose="02010600030101010101" pitchFamily="2" charset="-122"/>
            </a:endParaRPr>
          </a:p>
        </p:txBody>
      </p:sp>
      <p:sp>
        <p:nvSpPr>
          <p:cNvPr id="1027" name="Rectangle 7"/>
          <p:cNvSpPr>
            <a:spLocks noChangeArrowheads="1"/>
          </p:cNvSpPr>
          <p:nvPr/>
        </p:nvSpPr>
        <p:spPr bwMode="auto">
          <a:xfrm>
            <a:off x="0" y="6286855"/>
            <a:ext cx="526090" cy="368954"/>
          </a:xfrm>
          <a:prstGeom prst="rect">
            <a:avLst/>
          </a:prstGeom>
          <a:solidFill>
            <a:srgbClr val="F64C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nchor="ctr"/>
          <a:lstStyle/>
          <a:p>
            <a:pPr algn="ctr" fontAlgn="base">
              <a:spcBef>
                <a:spcPct val="0"/>
              </a:spcBef>
              <a:spcAft>
                <a:spcPct val="0"/>
              </a:spcAft>
            </a:pPr>
            <a:endParaRPr lang="zh-CN" altLang="en-US">
              <a:solidFill>
                <a:srgbClr val="FFFFFF"/>
              </a:solidFill>
              <a:latin typeface="宋体" panose="02010600030101010101" pitchFamily="2" charset="-122"/>
            </a:endParaRPr>
          </a:p>
        </p:txBody>
      </p:sp>
      <p:sp>
        <p:nvSpPr>
          <p:cNvPr id="1028" name="Line 11"/>
          <p:cNvSpPr>
            <a:spLocks noChangeShapeType="1"/>
          </p:cNvSpPr>
          <p:nvPr userDrawn="1"/>
        </p:nvSpPr>
        <p:spPr bwMode="auto">
          <a:xfrm>
            <a:off x="27467" y="658268"/>
            <a:ext cx="11762002" cy="0"/>
          </a:xfrm>
          <a:prstGeom prst="line">
            <a:avLst/>
          </a:prstGeom>
          <a:noFill/>
          <a:ln w="19050">
            <a:solidFill>
              <a:srgbClr val="808080"/>
            </a:solidFill>
            <a:round/>
          </a:ln>
          <a:extLst>
            <a:ext uri="{909E8E84-426E-40DD-AFC4-6F175D3DCCD1}">
              <a14:hiddenFill xmlns:a14="http://schemas.microsoft.com/office/drawing/2010/main">
                <a:noFill/>
              </a14:hiddenFill>
            </a:ext>
          </a:extLst>
        </p:spPr>
        <p:txBody>
          <a:bodyPr lIns="118095" tIns="59047" rIns="118095" bIns="59047"/>
          <a:lstStyle/>
          <a:p>
            <a:pPr fontAlgn="base">
              <a:spcBef>
                <a:spcPct val="0"/>
              </a:spcBef>
              <a:spcAft>
                <a:spcPct val="0"/>
              </a:spcAft>
            </a:pPr>
            <a:endParaRPr lang="zh-CN" altLang="en-US" sz="1500" dirty="0">
              <a:solidFill>
                <a:srgbClr val="FFFFFF"/>
              </a:solidFill>
              <a:latin typeface="宋体" panose="02010600030101010101" pitchFamily="2" charset="-122"/>
              <a:ea typeface="宋体" panose="02010600030101010101" pitchFamily="2" charset="-122"/>
            </a:endParaRPr>
          </a:p>
        </p:txBody>
      </p:sp>
      <p:pic>
        <p:nvPicPr>
          <p:cNvPr id="1029" name="Picture 12" descr="集团logo"/>
          <p:cNvPicPr>
            <a:picLocks noChangeAspect="1" noChangeArrowheads="1"/>
          </p:cNvPicPr>
          <p:nvPr/>
        </p:nvPicPr>
        <p:blipFill>
          <a:blip r:embed="rId14" cstate="email"/>
          <a:srcRect/>
          <a:stretch>
            <a:fillRect/>
          </a:stretch>
        </p:blipFill>
        <p:spPr bwMode="auto">
          <a:xfrm>
            <a:off x="9587924" y="146283"/>
            <a:ext cx="2011393" cy="394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3"/>
          <p:cNvSpPr>
            <a:spLocks noGrp="1" noChangeArrowheads="1"/>
          </p:cNvSpPr>
          <p:nvPr>
            <p:ph type="body" idx="1"/>
          </p:nvPr>
        </p:nvSpPr>
        <p:spPr bwMode="auto">
          <a:xfrm>
            <a:off x="608489" y="1225514"/>
            <a:ext cx="10952798" cy="4939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095" tIns="59047" rIns="118095" bIns="59047" numCol="1" anchor="t" anchorCtr="0" compatLnSpc="1"/>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31" name="Rectangle 5"/>
          <p:cNvSpPr>
            <a:spLocks noGrp="1" noChangeArrowheads="1"/>
          </p:cNvSpPr>
          <p:nvPr>
            <p:ph type="title"/>
          </p:nvPr>
        </p:nvSpPr>
        <p:spPr bwMode="auto">
          <a:xfrm>
            <a:off x="441578" y="240554"/>
            <a:ext cx="9032254" cy="59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494" tIns="46494" rIns="46494" bIns="46494" numCol="1" anchor="t" anchorCtr="0" compatLnSpc="1"/>
          <a:lstStyle/>
          <a:p>
            <a:pPr lvl="0"/>
            <a:r>
              <a:rPr lang="zh-CN" altLang="en-US" smtClean="0"/>
              <a:t>单击此处编辑母版标题样式</a:t>
            </a:r>
          </a:p>
        </p:txBody>
      </p:sp>
      <p:sp>
        <p:nvSpPr>
          <p:cNvPr id="2056" name="Text Box 9"/>
          <p:cNvSpPr txBox="1">
            <a:spLocks noChangeArrowheads="1"/>
          </p:cNvSpPr>
          <p:nvPr userDrawn="1"/>
        </p:nvSpPr>
        <p:spPr bwMode="auto">
          <a:xfrm>
            <a:off x="18872" y="6694820"/>
            <a:ext cx="469329" cy="30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8095" tIns="59047" rIns="118095" bIns="59047">
            <a:spAutoFit/>
          </a:bodyPr>
          <a:lstStyle>
            <a:lvl1pPr eaLnBrk="0" hangingPunct="0">
              <a:defRPr sz="1200">
                <a:solidFill>
                  <a:schemeClr val="bg1"/>
                </a:solidFill>
                <a:latin typeface="宋体" panose="02010600030101010101" pitchFamily="2" charset="-122"/>
                <a:ea typeface="宋体" panose="02010600030101010101" pitchFamily="2" charset="-122"/>
              </a:defRPr>
            </a:lvl1pPr>
            <a:lvl2pPr marL="742950" indent="-285750" eaLnBrk="0" hangingPunct="0">
              <a:defRPr sz="1200">
                <a:solidFill>
                  <a:schemeClr val="bg1"/>
                </a:solidFill>
                <a:latin typeface="宋体" panose="02010600030101010101" pitchFamily="2" charset="-122"/>
                <a:ea typeface="宋体" panose="02010600030101010101" pitchFamily="2" charset="-122"/>
              </a:defRPr>
            </a:lvl2pPr>
            <a:lvl3pPr marL="1143000" indent="-228600" eaLnBrk="0" hangingPunct="0">
              <a:defRPr sz="1200">
                <a:solidFill>
                  <a:schemeClr val="bg1"/>
                </a:solidFill>
                <a:latin typeface="宋体" panose="02010600030101010101" pitchFamily="2" charset="-122"/>
                <a:ea typeface="宋体" panose="02010600030101010101" pitchFamily="2" charset="-122"/>
              </a:defRPr>
            </a:lvl3pPr>
            <a:lvl4pPr marL="1600200" indent="-228600" eaLnBrk="0" hangingPunct="0">
              <a:defRPr sz="1200">
                <a:solidFill>
                  <a:schemeClr val="bg1"/>
                </a:solidFill>
                <a:latin typeface="宋体" panose="02010600030101010101" pitchFamily="2" charset="-122"/>
                <a:ea typeface="宋体" panose="02010600030101010101" pitchFamily="2" charset="-122"/>
              </a:defRPr>
            </a:lvl4pPr>
            <a:lvl5pPr marL="2057400" indent="-228600" eaLnBrk="0" hangingPunct="0">
              <a:defRPr sz="1200">
                <a:solidFill>
                  <a:schemeClr val="bg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1200">
                <a:solidFill>
                  <a:schemeClr val="bg1"/>
                </a:solidFill>
                <a:latin typeface="宋体" panose="02010600030101010101" pitchFamily="2" charset="-122"/>
                <a:ea typeface="宋体" panose="02010600030101010101" pitchFamily="2" charset="-122"/>
              </a:defRPr>
            </a:lvl9pPr>
          </a:lstStyle>
          <a:p>
            <a:pPr algn="ctr" eaLnBrk="1" fontAlgn="base" hangingPunct="1">
              <a:spcBef>
                <a:spcPct val="0"/>
              </a:spcBef>
              <a:spcAft>
                <a:spcPct val="0"/>
              </a:spcAft>
              <a:defRPr/>
            </a:pPr>
            <a:fld id="{69A27AB3-5EBD-41BE-8E84-67CCE24C0F98}" type="slidenum">
              <a:rPr lang="zh-CN" altLang="en-US" b="1" smtClean="0">
                <a:solidFill>
                  <a:srgbClr val="FF0000"/>
                </a:solidFill>
                <a:ea typeface="Arial Unicode MS" pitchFamily="34" charset="-122"/>
                <a:cs typeface="Arial Unicode MS" pitchFamily="34" charset="-122"/>
              </a:rPr>
              <a:t>‹#›</a:t>
            </a:fld>
            <a:endParaRPr lang="en-US" altLang="zh-CN" b="1" dirty="0" smtClean="0">
              <a:solidFill>
                <a:srgbClr val="FF0000"/>
              </a:solidFill>
              <a:ea typeface="Arial Unicode MS" pitchFamily="34" charset="-122"/>
              <a:cs typeface="Arial Unicode MS" pitchFamily="34" charset="-122"/>
            </a:endParaRPr>
          </a:p>
        </p:txBody>
      </p:sp>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hdr="0" ftr="0" dt="0"/>
  <p:txStyles>
    <p:titleStyle>
      <a:lvl1pPr algn="l" rtl="0" eaLnBrk="0" fontAlgn="base" hangingPunct="0">
        <a:lnSpc>
          <a:spcPct val="110000"/>
        </a:lnSpc>
        <a:spcBef>
          <a:spcPct val="0"/>
        </a:spcBef>
        <a:spcAft>
          <a:spcPct val="0"/>
        </a:spcAft>
        <a:defRPr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fontAlgn="base">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fontAlgn="base">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fontAlgn="base">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fontAlgn="base">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p:titleStyle>
    <p:bodyStyle>
      <a:lvl1pPr marL="442595" indent="-442595" algn="l" rtl="0" eaLnBrk="0" fontAlgn="base" hangingPunct="0">
        <a:lnSpc>
          <a:spcPct val="200000"/>
        </a:lnSpc>
        <a:spcBef>
          <a:spcPct val="20000"/>
        </a:spcBef>
        <a:spcAft>
          <a:spcPct val="0"/>
        </a:spcAft>
        <a:buSzPct val="80000"/>
        <a:buFont typeface="Wingdings" panose="05000000000000000000" pitchFamily="2" charset="2"/>
        <a:buChar char="n"/>
        <a:defRPr sz="4100">
          <a:solidFill>
            <a:schemeClr val="tx1"/>
          </a:solidFill>
          <a:latin typeface="+mn-lt"/>
          <a:ea typeface="+mn-ea"/>
          <a:cs typeface="+mn-cs"/>
        </a:defRPr>
      </a:lvl1pPr>
      <a:lvl2pPr marL="959485" indent="-368935" algn="l" rtl="0" eaLnBrk="0" fontAlgn="base" hangingPunct="0">
        <a:lnSpc>
          <a:spcPct val="200000"/>
        </a:lnSpc>
        <a:spcBef>
          <a:spcPct val="20000"/>
        </a:spcBef>
        <a:spcAft>
          <a:spcPct val="0"/>
        </a:spcAft>
        <a:buSzPct val="80000"/>
        <a:buFont typeface="Wingdings" panose="05000000000000000000" pitchFamily="2" charset="2"/>
        <a:buChar char="Ø"/>
        <a:defRPr sz="3600">
          <a:solidFill>
            <a:schemeClr val="tx1"/>
          </a:solidFill>
          <a:latin typeface="+mn-lt"/>
          <a:ea typeface="+mn-ea"/>
        </a:defRPr>
      </a:lvl2pPr>
      <a:lvl3pPr marL="1476375" indent="-295275" algn="l" rtl="0" eaLnBrk="0" fontAlgn="base" hangingPunct="0">
        <a:lnSpc>
          <a:spcPct val="200000"/>
        </a:lnSpc>
        <a:spcBef>
          <a:spcPct val="20000"/>
        </a:spcBef>
        <a:spcAft>
          <a:spcPct val="0"/>
        </a:spcAft>
        <a:buFont typeface="Wingdings" panose="05000000000000000000" pitchFamily="2" charset="2"/>
        <a:buChar char="ü"/>
        <a:defRPr sz="2100">
          <a:solidFill>
            <a:schemeClr val="tx1"/>
          </a:solidFill>
          <a:latin typeface="+mn-lt"/>
          <a:ea typeface="+mn-ea"/>
        </a:defRPr>
      </a:lvl3pPr>
      <a:lvl4pPr marL="2066925" indent="-295275" algn="l" rtl="0" eaLnBrk="0" fontAlgn="base" hangingPunct="0">
        <a:lnSpc>
          <a:spcPct val="200000"/>
        </a:lnSpc>
        <a:spcBef>
          <a:spcPct val="20000"/>
        </a:spcBef>
        <a:spcAft>
          <a:spcPct val="0"/>
        </a:spcAft>
        <a:buFont typeface="Wingdings" panose="05000000000000000000" pitchFamily="2" charset="2"/>
        <a:buChar char="n"/>
        <a:defRPr sz="1800">
          <a:solidFill>
            <a:schemeClr val="tx1"/>
          </a:solidFill>
          <a:latin typeface="+mn-lt"/>
          <a:ea typeface="+mn-ea"/>
        </a:defRPr>
      </a:lvl4pPr>
      <a:lvl5pPr marL="2656840" indent="-295275" algn="l" rtl="0" eaLnBrk="0" fontAlgn="base" hangingPunct="0">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5pPr>
      <a:lvl6pPr marL="3247390" indent="-295275" algn="l" rtl="0" fontAlgn="base">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6pPr>
      <a:lvl7pPr marL="3837940" indent="-295275" algn="l" rtl="0" fontAlgn="base">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7pPr>
      <a:lvl8pPr marL="4428490" indent="-295275" algn="l" rtl="0" fontAlgn="base">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8pPr>
      <a:lvl9pPr marL="5019040" indent="-295275" algn="l" rtl="0" fontAlgn="base">
        <a:lnSpc>
          <a:spcPct val="200000"/>
        </a:lnSpc>
        <a:spcBef>
          <a:spcPct val="20000"/>
        </a:spcBef>
        <a:spcAft>
          <a:spcPct val="0"/>
        </a:spcAft>
        <a:buFont typeface="Wingdings" panose="05000000000000000000" pitchFamily="2" charset="2"/>
        <a:buChar char="n"/>
        <a:defRPr sz="1500">
          <a:solidFill>
            <a:schemeClr val="tx1"/>
          </a:solidFill>
          <a:latin typeface="+mn-lt"/>
          <a:ea typeface="+mn-ea"/>
        </a:defRPr>
      </a:lvl9pPr>
    </p:bodyStyle>
    <p:otherStyle>
      <a:defPPr>
        <a:defRPr lang="zh-CN"/>
      </a:defPPr>
      <a:lvl1pPr marL="0" algn="l" defTabSz="1180465" rtl="0" eaLnBrk="1" latinLnBrk="0" hangingPunct="1">
        <a:defRPr sz="2300" kern="1200">
          <a:solidFill>
            <a:schemeClr val="tx1"/>
          </a:solidFill>
          <a:latin typeface="+mn-lt"/>
          <a:ea typeface="+mn-ea"/>
          <a:cs typeface="+mn-cs"/>
        </a:defRPr>
      </a:lvl1pPr>
      <a:lvl2pPr marL="590550" algn="l" defTabSz="1180465" rtl="0" eaLnBrk="1" latinLnBrk="0" hangingPunct="1">
        <a:defRPr sz="2300" kern="1200">
          <a:solidFill>
            <a:schemeClr val="tx1"/>
          </a:solidFill>
          <a:latin typeface="+mn-lt"/>
          <a:ea typeface="+mn-ea"/>
          <a:cs typeface="+mn-cs"/>
        </a:defRPr>
      </a:lvl2pPr>
      <a:lvl3pPr marL="1181100" algn="l" defTabSz="1180465" rtl="0" eaLnBrk="1" latinLnBrk="0" hangingPunct="1">
        <a:defRPr sz="2300" kern="1200">
          <a:solidFill>
            <a:schemeClr val="tx1"/>
          </a:solidFill>
          <a:latin typeface="+mn-lt"/>
          <a:ea typeface="+mn-ea"/>
          <a:cs typeface="+mn-cs"/>
        </a:defRPr>
      </a:lvl3pPr>
      <a:lvl4pPr marL="1771650" algn="l" defTabSz="1180465" rtl="0" eaLnBrk="1" latinLnBrk="0" hangingPunct="1">
        <a:defRPr sz="2300" kern="1200">
          <a:solidFill>
            <a:schemeClr val="tx1"/>
          </a:solidFill>
          <a:latin typeface="+mn-lt"/>
          <a:ea typeface="+mn-ea"/>
          <a:cs typeface="+mn-cs"/>
        </a:defRPr>
      </a:lvl4pPr>
      <a:lvl5pPr marL="2362200" algn="l" defTabSz="1180465" rtl="0" eaLnBrk="1" latinLnBrk="0" hangingPunct="1">
        <a:defRPr sz="2300" kern="1200">
          <a:solidFill>
            <a:schemeClr val="tx1"/>
          </a:solidFill>
          <a:latin typeface="+mn-lt"/>
          <a:ea typeface="+mn-ea"/>
          <a:cs typeface="+mn-cs"/>
        </a:defRPr>
      </a:lvl5pPr>
      <a:lvl6pPr marL="2952115" algn="l" defTabSz="1180465" rtl="0" eaLnBrk="1" latinLnBrk="0" hangingPunct="1">
        <a:defRPr sz="2300" kern="1200">
          <a:solidFill>
            <a:schemeClr val="tx1"/>
          </a:solidFill>
          <a:latin typeface="+mn-lt"/>
          <a:ea typeface="+mn-ea"/>
          <a:cs typeface="+mn-cs"/>
        </a:defRPr>
      </a:lvl6pPr>
      <a:lvl7pPr marL="3542665" algn="l" defTabSz="1180465" rtl="0" eaLnBrk="1" latinLnBrk="0" hangingPunct="1">
        <a:defRPr sz="2300" kern="1200">
          <a:solidFill>
            <a:schemeClr val="tx1"/>
          </a:solidFill>
          <a:latin typeface="+mn-lt"/>
          <a:ea typeface="+mn-ea"/>
          <a:cs typeface="+mn-cs"/>
        </a:defRPr>
      </a:lvl7pPr>
      <a:lvl8pPr marL="4133215" algn="l" defTabSz="1180465" rtl="0" eaLnBrk="1" latinLnBrk="0" hangingPunct="1">
        <a:defRPr sz="2300" kern="1200">
          <a:solidFill>
            <a:schemeClr val="tx1"/>
          </a:solidFill>
          <a:latin typeface="+mn-lt"/>
          <a:ea typeface="+mn-ea"/>
          <a:cs typeface="+mn-cs"/>
        </a:defRPr>
      </a:lvl8pPr>
      <a:lvl9pPr marL="4723765" algn="l" defTabSz="1180465"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image" Target="../media/image161.png"/><Relationship Id="rId1" Type="http://schemas.openxmlformats.org/officeDocument/2006/relationships/slideLayout" Target="../slideLayouts/slideLayout2.xml"/><Relationship Id="rId6" Type="http://schemas.openxmlformats.org/officeDocument/2006/relationships/image" Target="../media/image165.jpeg"/><Relationship Id="rId5" Type="http://schemas.openxmlformats.org/officeDocument/2006/relationships/image" Target="../media/image164.jpeg"/><Relationship Id="rId4" Type="http://schemas.openxmlformats.org/officeDocument/2006/relationships/image" Target="../media/image163.jpeg"/></Relationships>
</file>

<file path=ppt/slides/_rels/slide101.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166.emf"/></Relationships>
</file>

<file path=ppt/slides/_rels/slide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2.xml"/><Relationship Id="rId4" Type="http://schemas.openxmlformats.org/officeDocument/2006/relationships/image" Target="../media/image169.png"/></Relationships>
</file>

<file path=ppt/slides/_rels/slide10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2.xml"/><Relationship Id="rId4" Type="http://schemas.openxmlformats.org/officeDocument/2006/relationships/image" Target="../media/image174.png"/></Relationships>
</file>

<file path=ppt/slides/_rels/slide10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jpeg"/><Relationship Id="rId1" Type="http://schemas.openxmlformats.org/officeDocument/2006/relationships/slideLayout" Target="../slideLayouts/slideLayout2.xml"/><Relationship Id="rId5" Type="http://schemas.openxmlformats.org/officeDocument/2006/relationships/image" Target="../media/image182.png"/><Relationship Id="rId4" Type="http://schemas.openxmlformats.org/officeDocument/2006/relationships/image" Target="../media/image181.png"/></Relationships>
</file>

<file path=ppt/slides/_rels/slide10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xml"/><Relationship Id="rId4" Type="http://schemas.openxmlformats.org/officeDocument/2006/relationships/image" Target="../media/image185.jpe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jpeg"/></Relationships>
</file>

<file path=ppt/slides/_rels/slide110.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2.xml"/><Relationship Id="rId5" Type="http://schemas.openxmlformats.org/officeDocument/2006/relationships/image" Target="../media/image189.png"/><Relationship Id="rId4" Type="http://schemas.openxmlformats.org/officeDocument/2006/relationships/image" Target="../media/image188.png"/></Relationships>
</file>

<file path=ppt/slides/_rels/slide11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2.xml"/><Relationship Id="rId6" Type="http://schemas.openxmlformats.org/officeDocument/2006/relationships/image" Target="../media/image194.png"/><Relationship Id="rId5" Type="http://schemas.openxmlformats.org/officeDocument/2006/relationships/image" Target="../media/image193.png"/><Relationship Id="rId4" Type="http://schemas.openxmlformats.org/officeDocument/2006/relationships/image" Target="../media/image192.png"/></Relationships>
</file>

<file path=ppt/slides/_rels/slide11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95.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16.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image" Target="../media/image197.jpeg"/><Relationship Id="rId1" Type="http://schemas.openxmlformats.org/officeDocument/2006/relationships/slideLayout" Target="../slideLayouts/slideLayout8.xml"/><Relationship Id="rId4" Type="http://schemas.openxmlformats.org/officeDocument/2006/relationships/image" Target="../media/image199.jpeg"/></Relationships>
</file>

<file path=ppt/slides/_rels/slide117.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image" Target="../media/image200.jpeg"/><Relationship Id="rId1" Type="http://schemas.openxmlformats.org/officeDocument/2006/relationships/slideLayout" Target="../slideLayouts/slideLayout8.xml"/><Relationship Id="rId4" Type="http://schemas.openxmlformats.org/officeDocument/2006/relationships/image" Target="../media/image202.jpeg"/></Relationships>
</file>

<file path=ppt/slides/_rels/slide118.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image" Target="../media/image203.jpeg"/><Relationship Id="rId1" Type="http://schemas.openxmlformats.org/officeDocument/2006/relationships/slideLayout" Target="../slideLayouts/slideLayout8.xml"/></Relationships>
</file>

<file path=ppt/slides/_rels/slide119.xml.rels><?xml version="1.0" encoding="UTF-8" standalone="yes"?>
<Relationships xmlns="http://schemas.openxmlformats.org/package/2006/relationships"><Relationship Id="rId2" Type="http://schemas.openxmlformats.org/officeDocument/2006/relationships/image" Target="../media/image205.jpe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120.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image" Target="../media/image206.jpeg"/><Relationship Id="rId1" Type="http://schemas.openxmlformats.org/officeDocument/2006/relationships/slideLayout" Target="../slideLayouts/slideLayout8.xml"/></Relationships>
</file>

<file path=ppt/slides/_rels/slide121.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image" Target="../media/image208.jpeg"/><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image" Target="../media/image210.jpeg"/><Relationship Id="rId1" Type="http://schemas.openxmlformats.org/officeDocument/2006/relationships/slideLayout" Target="../slideLayouts/slideLayout8.xml"/></Relationships>
</file>

<file path=ppt/slides/_rels/slide123.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12.jpeg"/><Relationship Id="rId1" Type="http://schemas.openxmlformats.org/officeDocument/2006/relationships/slideLayout" Target="../slideLayouts/slideLayout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slideLayout" Target="../slideLayouts/slideLayout2.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2.xml"/><Relationship Id="rId4" Type="http://schemas.openxmlformats.org/officeDocument/2006/relationships/image" Target="../media/image41.jpeg"/></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image" Target="../media/image54.jpg"/><Relationship Id="rId5" Type="http://schemas.openxmlformats.org/officeDocument/2006/relationships/image" Target="../media/image53.jpe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jpg"/></Relationships>
</file>

<file path=ppt/slides/_rels/slide3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62.w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 Id="rId4" Type="http://schemas.openxmlformats.org/officeDocument/2006/relationships/image" Target="../media/image65.jpeg"/></Relationships>
</file>

<file path=ppt/slides/_rels/slide3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2.xml"/><Relationship Id="rId5" Type="http://schemas.openxmlformats.org/officeDocument/2006/relationships/image" Target="../media/image78.png"/><Relationship Id="rId4" Type="http://schemas.openxmlformats.org/officeDocument/2006/relationships/image" Target="../media/image77.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2.xml"/><Relationship Id="rId4" Type="http://schemas.openxmlformats.org/officeDocument/2006/relationships/image" Target="../media/image81.jpeg"/></Relationships>
</file>

<file path=ppt/slides/_rels/slide5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2.xml"/><Relationship Id="rId4" Type="http://schemas.openxmlformats.org/officeDocument/2006/relationships/image" Target="../media/image84.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package" Target="../embeddings/Microsoft_Excel____.xlsx"/><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91.emf"/></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2.xml"/><Relationship Id="rId5" Type="http://schemas.openxmlformats.org/officeDocument/2006/relationships/image" Target="../media/image95.jpeg"/><Relationship Id="rId4" Type="http://schemas.openxmlformats.org/officeDocument/2006/relationships/image" Target="../media/image94.jpeg"/></Relationships>
</file>

<file path=ppt/slides/_rels/slide6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2.xml"/><Relationship Id="rId5" Type="http://schemas.openxmlformats.org/officeDocument/2006/relationships/image" Target="../media/image99.png"/><Relationship Id="rId4" Type="http://schemas.openxmlformats.org/officeDocument/2006/relationships/image" Target="../media/image98.jpeg"/></Relationships>
</file>

<file path=ppt/slides/_rels/slide6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xml"/><Relationship Id="rId5" Type="http://schemas.openxmlformats.org/officeDocument/2006/relationships/image" Target="../media/image109.png"/><Relationship Id="rId4" Type="http://schemas.openxmlformats.org/officeDocument/2006/relationships/image" Target="../media/image108.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2.xml"/><Relationship Id="rId5" Type="http://schemas.openxmlformats.org/officeDocument/2006/relationships/image" Target="../media/image17.jp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114.jpeg"/><Relationship Id="rId1" Type="http://schemas.openxmlformats.org/officeDocument/2006/relationships/slideLayout" Target="../slideLayouts/slideLayout2.xml"/><Relationship Id="rId5" Type="http://schemas.openxmlformats.org/officeDocument/2006/relationships/image" Target="../media/image117.jpeg"/><Relationship Id="rId4" Type="http://schemas.openxmlformats.org/officeDocument/2006/relationships/image" Target="../media/image116.jpe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120.jpe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jpeg"/><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jpeg"/><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128.jpeg"/><Relationship Id="rId1" Type="http://schemas.openxmlformats.org/officeDocument/2006/relationships/slideLayout" Target="../slideLayouts/slideLayout8.xml"/><Relationship Id="rId5" Type="http://schemas.openxmlformats.org/officeDocument/2006/relationships/image" Target="../media/image131.jpeg"/><Relationship Id="rId4" Type="http://schemas.openxmlformats.org/officeDocument/2006/relationships/image" Target="../media/image130.jpeg"/></Relationships>
</file>

<file path=ppt/slides/_rels/slide87.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132.jpeg"/><Relationship Id="rId1" Type="http://schemas.openxmlformats.org/officeDocument/2006/relationships/slideLayout" Target="../slideLayouts/slideLayout8.xml"/><Relationship Id="rId5" Type="http://schemas.openxmlformats.org/officeDocument/2006/relationships/image" Target="../media/image135.jpeg"/><Relationship Id="rId4" Type="http://schemas.openxmlformats.org/officeDocument/2006/relationships/image" Target="../media/image134.jpe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90.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140.jpeg"/><Relationship Id="rId1" Type="http://schemas.openxmlformats.org/officeDocument/2006/relationships/slideLayout" Target="../slideLayouts/slideLayout8.xml"/><Relationship Id="rId5" Type="http://schemas.openxmlformats.org/officeDocument/2006/relationships/image" Target="../media/image143.jpeg"/><Relationship Id="rId4" Type="http://schemas.openxmlformats.org/officeDocument/2006/relationships/image" Target="../media/image142.jpeg"/></Relationships>
</file>

<file path=ppt/slides/_rels/slide92.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144.jpeg"/><Relationship Id="rId1" Type="http://schemas.openxmlformats.org/officeDocument/2006/relationships/slideLayout" Target="../slideLayouts/slideLayout8.xml"/><Relationship Id="rId5" Type="http://schemas.openxmlformats.org/officeDocument/2006/relationships/image" Target="../media/image147.jpeg"/><Relationship Id="rId4" Type="http://schemas.openxmlformats.org/officeDocument/2006/relationships/image" Target="../media/image146.jpe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148.jpeg"/><Relationship Id="rId1" Type="http://schemas.openxmlformats.org/officeDocument/2006/relationships/slideLayout" Target="../slideLayouts/slideLayout8.xml"/><Relationship Id="rId4" Type="http://schemas.openxmlformats.org/officeDocument/2006/relationships/image" Target="../media/image150.jpeg"/></Relationships>
</file>

<file path=ppt/slides/_rels/slide95.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image" Target="../media/image151.jpeg"/><Relationship Id="rId1" Type="http://schemas.openxmlformats.org/officeDocument/2006/relationships/slideLayout" Target="../slideLayouts/slideLayout8.xml"/><Relationship Id="rId5" Type="http://schemas.openxmlformats.org/officeDocument/2006/relationships/image" Target="../media/image154.jpeg"/><Relationship Id="rId4" Type="http://schemas.openxmlformats.org/officeDocument/2006/relationships/image" Target="../media/image153.jpe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155.jpeg"/><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99.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jpeg"/><Relationship Id="rId1" Type="http://schemas.openxmlformats.org/officeDocument/2006/relationships/slideLayout" Target="../slideLayouts/slideLayout2.xml"/><Relationship Id="rId5" Type="http://schemas.openxmlformats.org/officeDocument/2006/relationships/image" Target="../media/image160.png"/><Relationship Id="rId4" Type="http://schemas.openxmlformats.org/officeDocument/2006/relationships/image" Target="../media/image15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0145" name="Rectangle 2" hidden="1"/>
          <p:cNvSpPr>
            <a:spLocks noGrp="1" noChangeArrowheads="1"/>
          </p:cNvSpPr>
          <p:nvPr>
            <p:ph type="title" idx="4294967295"/>
          </p:nvPr>
        </p:nvSpPr>
        <p:spPr>
          <a:xfrm>
            <a:off x="441578" y="241581"/>
            <a:ext cx="9032256" cy="559368"/>
          </a:xfrm>
        </p:spPr>
        <p:txBody>
          <a:bodyPr lIns="118095" tIns="59047" rIns="118095" bIns="59047" anchor="ctr"/>
          <a:lstStyle/>
          <a:p>
            <a:r>
              <a:rPr lang="en-US" altLang="zh-CN" dirty="0" smtClean="0">
                <a:ea typeface="宋体" panose="02010600030101010101" pitchFamily="2" charset="-122"/>
              </a:rPr>
              <a:t>9</a:t>
            </a:r>
            <a:endParaRPr lang="zh-CN" altLang="zh-CN" dirty="0" smtClean="0">
              <a:ea typeface="宋体" panose="02010600030101010101" pitchFamily="2" charset="-122"/>
            </a:endParaRPr>
          </a:p>
        </p:txBody>
      </p:sp>
      <p:pic>
        <p:nvPicPr>
          <p:cNvPr id="1030146" name="Rectangle 3"/>
          <p:cNvPicPr>
            <a:picLocks noChangeAspect="1" noChangeArrowheads="1"/>
          </p:cNvPicPr>
          <p:nvPr/>
        </p:nvPicPr>
        <p:blipFill>
          <a:blip r:embed="rId2" cstate="print"/>
          <a:srcRect/>
          <a:stretch>
            <a:fillRect/>
          </a:stretch>
        </p:blipFill>
        <p:spPr bwMode="auto">
          <a:xfrm>
            <a:off x="0" y="-50386"/>
            <a:ext cx="12203580" cy="7071900"/>
          </a:xfrm>
          <a:prstGeom prst="rect">
            <a:avLst/>
          </a:prstGeom>
          <a:noFill/>
          <a:ln w="9525">
            <a:noFill/>
            <a:miter lim="800000"/>
            <a:headEnd/>
            <a:tailEnd/>
          </a:ln>
        </p:spPr>
      </p:pic>
      <p:sp>
        <p:nvSpPr>
          <p:cNvPr id="1030147" name="Text Box 4"/>
          <p:cNvSpPr txBox="1">
            <a:spLocks noChangeArrowheads="1"/>
          </p:cNvSpPr>
          <p:nvPr/>
        </p:nvSpPr>
        <p:spPr bwMode="auto">
          <a:xfrm>
            <a:off x="1" y="-27630"/>
            <a:ext cx="12167663" cy="7049144"/>
          </a:xfrm>
          <a:prstGeom prst="rect">
            <a:avLst/>
          </a:prstGeom>
          <a:noFill/>
          <a:ln w="9525">
            <a:noFill/>
            <a:miter lim="800000"/>
          </a:ln>
        </p:spPr>
        <p:txBody>
          <a:bodyPr lIns="118095" tIns="59047" rIns="118095" bIns="59047"/>
          <a:lstStyle/>
          <a:p>
            <a:endParaRPr lang="zh-CN" altLang="en-US" dirty="0">
              <a:latin typeface="华文中宋" panose="02010600040101010101" pitchFamily="2" charset="-122"/>
              <a:ea typeface="华文中宋" panose="02010600040101010101" pitchFamily="2" charset="-122"/>
            </a:endParaRPr>
          </a:p>
        </p:txBody>
      </p:sp>
      <p:sp>
        <p:nvSpPr>
          <p:cNvPr id="1030148" name="Text Box 7"/>
          <p:cNvSpPr txBox="1">
            <a:spLocks noChangeArrowheads="1"/>
          </p:cNvSpPr>
          <p:nvPr/>
        </p:nvSpPr>
        <p:spPr bwMode="auto">
          <a:xfrm>
            <a:off x="430587" y="2109985"/>
            <a:ext cx="8031212" cy="82713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4600" b="1" dirty="0" smtClean="0">
                <a:solidFill>
                  <a:schemeClr val="bg1"/>
                </a:solidFill>
                <a:latin typeface="微软雅黑" panose="020B0503020204020204" pitchFamily="34" charset="-122"/>
                <a:ea typeface="微软雅黑" panose="020B0503020204020204" pitchFamily="34" charset="-122"/>
              </a:rPr>
              <a:t>精装精细化管理指导手册</a:t>
            </a:r>
          </a:p>
        </p:txBody>
      </p:sp>
      <p:sp>
        <p:nvSpPr>
          <p:cNvPr id="7" name="Text Box 7"/>
          <p:cNvSpPr txBox="1">
            <a:spLocks noChangeArrowheads="1"/>
          </p:cNvSpPr>
          <p:nvPr/>
        </p:nvSpPr>
        <p:spPr bwMode="auto">
          <a:xfrm>
            <a:off x="4774565" y="4231005"/>
            <a:ext cx="3687445" cy="393700"/>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800" b="1" dirty="0" smtClean="0">
                <a:solidFill>
                  <a:schemeClr val="bg1"/>
                </a:solidFill>
                <a:latin typeface="微软雅黑" panose="020B0503020204020204" pitchFamily="34" charset="-122"/>
                <a:ea typeface="微软雅黑" panose="020B0503020204020204" pitchFamily="34" charset="-122"/>
              </a:rPr>
              <a:t>工程管理部</a:t>
            </a:r>
            <a:r>
              <a:rPr lang="en-US" altLang="zh-CN" sz="1800" b="1" dirty="0" smtClean="0">
                <a:solidFill>
                  <a:schemeClr val="bg1"/>
                </a:solidFill>
                <a:latin typeface="微软雅黑" panose="020B0503020204020204" pitchFamily="34" charset="-122"/>
                <a:ea typeface="微软雅黑" panose="020B0503020204020204" pitchFamily="34" charset="-122"/>
              </a:rPr>
              <a:t>-</a:t>
            </a:r>
            <a:r>
              <a:rPr lang="zh-CN" altLang="en-US" sz="1800" b="1" dirty="0" smtClean="0">
                <a:solidFill>
                  <a:schemeClr val="bg1"/>
                </a:solidFill>
                <a:latin typeface="微软雅黑" panose="020B0503020204020204" pitchFamily="34" charset="-122"/>
                <a:ea typeface="微软雅黑" panose="020B0503020204020204" pitchFamily="34" charset="-122"/>
              </a:rPr>
              <a:t>精装项目精细化管理</a:t>
            </a:r>
            <a:endParaRPr lang="en-US" altLang="zh-CN" sz="1800" b="1" dirty="0" smtClean="0">
              <a:solidFill>
                <a:schemeClr val="bg1"/>
              </a:solidFill>
              <a:latin typeface="微软雅黑" panose="020B0503020204020204" pitchFamily="34" charset="-122"/>
              <a:ea typeface="微软雅黑" panose="020B0503020204020204" pitchFamily="34" charset="-122"/>
            </a:endParaRPr>
          </a:p>
        </p:txBody>
      </p:sp>
      <p:sp>
        <p:nvSpPr>
          <p:cNvPr id="8"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16734" y="2785989"/>
            <a:ext cx="5341665" cy="282969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228130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2</a:t>
            </a:r>
            <a:r>
              <a:rPr lang="zh-CN" altLang="en-US" sz="1800" b="1" dirty="0" smtClean="0">
                <a:solidFill>
                  <a:srgbClr val="000000"/>
                </a:solidFill>
                <a:cs typeface="+mn-ea"/>
              </a:rPr>
              <a:t>、机电规划</a:t>
            </a:r>
            <a:endParaRPr lang="en-US" altLang="zh-CN" sz="1800" b="1" dirty="0">
              <a:solidFill>
                <a:srgbClr val="000000"/>
              </a:solidFill>
              <a:cs typeface="+mn-ea"/>
            </a:endParaRPr>
          </a:p>
        </p:txBody>
      </p:sp>
      <p:sp>
        <p:nvSpPr>
          <p:cNvPr id="6" name="文本框 5"/>
          <p:cNvSpPr txBox="1"/>
          <p:nvPr/>
        </p:nvSpPr>
        <p:spPr>
          <a:xfrm>
            <a:off x="684530" y="2788920"/>
            <a:ext cx="10765155" cy="304609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latin typeface="+mn-ea"/>
                <a:cs typeface="+mn-ea"/>
              </a:rPr>
              <a:t>工作内容：</a:t>
            </a:r>
            <a:endParaRPr lang="en-US" altLang="zh-CN" sz="1600" b="1" dirty="0" smtClean="0">
              <a:solidFill>
                <a:srgbClr val="000000"/>
              </a:solidFill>
              <a:latin typeface="+mn-ea"/>
              <a:cs typeface="+mn-ea"/>
            </a:endParaRPr>
          </a:p>
          <a:p>
            <a:pPr>
              <a:lnSpc>
                <a:spcPct val="150000"/>
              </a:lnSpc>
            </a:pPr>
            <a:r>
              <a:rPr lang="zh-CN" altLang="en-US" sz="1600" dirty="0" smtClean="0">
                <a:solidFill>
                  <a:srgbClr val="000000"/>
                </a:solidFill>
                <a:latin typeface="+mn-ea"/>
                <a:cs typeface="+mn-ea"/>
              </a:rPr>
              <a:t>审核机电点位扩初图纸：</a:t>
            </a:r>
            <a:endParaRPr lang="en-US" altLang="zh-CN" sz="1600" dirty="0" smtClean="0">
              <a:solidFill>
                <a:srgbClr val="000000"/>
              </a:solidFill>
              <a:latin typeface="+mn-ea"/>
              <a:cs typeface="+mn-ea"/>
            </a:endParaRPr>
          </a:p>
          <a:p>
            <a:pPr>
              <a:lnSpc>
                <a:spcPct val="150000"/>
              </a:lnSpc>
            </a:pPr>
            <a:r>
              <a:rPr lang="en-US" altLang="zh-CN" sz="1600" dirty="0" smtClean="0">
                <a:solidFill>
                  <a:srgbClr val="000000"/>
                </a:solidFill>
                <a:latin typeface="+mn-ea"/>
                <a:cs typeface="+mn-ea"/>
              </a:rPr>
              <a:t>1</a:t>
            </a:r>
            <a:r>
              <a:rPr lang="zh-CN" altLang="en-US" sz="1600" dirty="0" smtClean="0">
                <a:solidFill>
                  <a:srgbClr val="000000"/>
                </a:solidFill>
                <a:latin typeface="+mn-ea"/>
                <a:cs typeface="+mn-ea"/>
              </a:rPr>
              <a:t>、审核点位预留在使用功能规划布局上是否合理。</a:t>
            </a:r>
            <a:endParaRPr lang="en-US" altLang="zh-CN" sz="1600" dirty="0" smtClean="0">
              <a:solidFill>
                <a:srgbClr val="000000"/>
              </a:solidFill>
              <a:latin typeface="+mn-ea"/>
              <a:cs typeface="+mn-ea"/>
            </a:endParaRPr>
          </a:p>
          <a:p>
            <a:pPr>
              <a:lnSpc>
                <a:spcPct val="150000"/>
              </a:lnSpc>
            </a:pPr>
            <a:r>
              <a:rPr lang="en-US" altLang="zh-CN" sz="1600" dirty="0" smtClean="0">
                <a:solidFill>
                  <a:srgbClr val="000000"/>
                </a:solidFill>
                <a:latin typeface="+mn-ea"/>
                <a:cs typeface="+mn-ea"/>
              </a:rPr>
              <a:t>2</a:t>
            </a:r>
            <a:r>
              <a:rPr lang="zh-CN" altLang="en-US" sz="1600" dirty="0" smtClean="0">
                <a:solidFill>
                  <a:srgbClr val="000000"/>
                </a:solidFill>
                <a:latin typeface="+mn-ea"/>
                <a:cs typeface="+mn-ea"/>
              </a:rPr>
              <a:t>、审核机电管线综合规划图是否合理</a:t>
            </a:r>
            <a:r>
              <a:rPr lang="zh-CN" altLang="en-US" sz="1600" dirty="0" smtClean="0">
                <a:solidFill>
                  <a:srgbClr val="000000"/>
                </a:solidFill>
                <a:latin typeface="+mn-ea"/>
                <a:cs typeface="+mn-ea"/>
                <a:sym typeface="+mn-ea"/>
              </a:rPr>
              <a:t>。</a:t>
            </a:r>
            <a:endParaRPr lang="en-US" altLang="zh-CN" sz="1600" dirty="0" smtClean="0">
              <a:solidFill>
                <a:srgbClr val="000000"/>
              </a:solidFill>
              <a:latin typeface="+mn-ea"/>
              <a:cs typeface="+mn-ea"/>
            </a:endParaRPr>
          </a:p>
          <a:p>
            <a:pPr>
              <a:lnSpc>
                <a:spcPct val="150000"/>
              </a:lnSpc>
            </a:pPr>
            <a:r>
              <a:rPr lang="zh-CN" altLang="en-US" sz="1600" b="1" dirty="0" smtClean="0">
                <a:solidFill>
                  <a:srgbClr val="000000"/>
                </a:solidFill>
                <a:latin typeface="+mn-ea"/>
                <a:cs typeface="+mn-ea"/>
              </a:rPr>
              <a:t>工作目的：</a:t>
            </a:r>
            <a:endParaRPr lang="en-US" altLang="zh-CN" sz="1600" b="1" dirty="0">
              <a:solidFill>
                <a:srgbClr val="000000"/>
              </a:solidFill>
              <a:latin typeface="+mn-ea"/>
              <a:cs typeface="+mn-ea"/>
            </a:endParaRPr>
          </a:p>
          <a:p>
            <a:pPr>
              <a:lnSpc>
                <a:spcPct val="150000"/>
              </a:lnSpc>
            </a:pPr>
            <a:r>
              <a:rPr lang="zh-CN" altLang="en-US" sz="1600" dirty="0" smtClean="0">
                <a:solidFill>
                  <a:srgbClr val="000000"/>
                </a:solidFill>
                <a:latin typeface="+mn-ea"/>
                <a:cs typeface="+mn-ea"/>
              </a:rPr>
              <a:t>       在产品规划初期将预留预埋点位以及土建结构施工过程中的相关预留预埋管线进行合理性规划，既要符合规范要求，亦要结合精装使用功能的合理和美观，减少精装过程中进行变更调整，避免无效成本增加。</a:t>
            </a:r>
            <a:endParaRPr lang="en-US" altLang="zh-CN" sz="1600" dirty="0" smtClean="0">
              <a:solidFill>
                <a:srgbClr val="000000"/>
              </a:solidFill>
              <a:latin typeface="+mn-ea"/>
              <a:cs typeface="+mn-ea"/>
            </a:endParaRPr>
          </a:p>
          <a:p>
            <a:pPr>
              <a:lnSpc>
                <a:spcPct val="150000"/>
              </a:lnSpc>
            </a:pPr>
            <a:endParaRPr lang="en-US" altLang="zh-CN" sz="16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530" y="1708785"/>
            <a:ext cx="4511040" cy="452310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cs typeface="+mn-ea"/>
                <a:sym typeface="+mn-ea"/>
              </a:rPr>
              <a:t>执行强化管理，</a:t>
            </a:r>
            <a:r>
              <a:rPr lang="zh-CN" altLang="en-US" sz="1600" b="1" dirty="0" smtClean="0">
                <a:solidFill>
                  <a:srgbClr val="000000"/>
                </a:solidFill>
                <a:cs typeface="+mn-ea"/>
              </a:rPr>
              <a:t>工完场清，作业面洁净原则；</a:t>
            </a:r>
          </a:p>
          <a:p>
            <a:pPr>
              <a:lnSpc>
                <a:spcPct val="150000"/>
              </a:lnSpc>
            </a:pPr>
            <a:r>
              <a:rPr lang="en-US" altLang="zh-CN" sz="1600" dirty="0" smtClean="0">
                <a:solidFill>
                  <a:srgbClr val="000000"/>
                </a:solidFill>
                <a:cs typeface="+mn-ea"/>
              </a:rPr>
              <a:t>1</a:t>
            </a:r>
            <a:r>
              <a:rPr lang="zh-CN" altLang="en-US" sz="1600" dirty="0" smtClean="0">
                <a:solidFill>
                  <a:srgbClr val="000000"/>
                </a:solidFill>
                <a:cs typeface="+mn-ea"/>
              </a:rPr>
              <a:t>、文明标识五牌一图：安全提示牌、安全规范牌、消防规范牌、文明施工牌，安全管理牌以及总平面图。</a:t>
            </a:r>
          </a:p>
          <a:p>
            <a:pPr>
              <a:lnSpc>
                <a:spcPct val="150000"/>
              </a:lnSpc>
            </a:pPr>
            <a:r>
              <a:rPr lang="en-US" altLang="zh-CN" sz="1600" dirty="0">
                <a:solidFill>
                  <a:srgbClr val="000000"/>
                </a:solidFill>
                <a:cs typeface="+mn-ea"/>
              </a:rPr>
              <a:t>2</a:t>
            </a:r>
            <a:r>
              <a:rPr lang="zh-CN" altLang="en-US" sz="1600" dirty="0">
                <a:solidFill>
                  <a:srgbClr val="000000"/>
                </a:solidFill>
                <a:cs typeface="+mn-ea"/>
              </a:rPr>
              <a:t>、临水、临电规范化。</a:t>
            </a:r>
          </a:p>
          <a:p>
            <a:pPr>
              <a:lnSpc>
                <a:spcPct val="150000"/>
              </a:lnSpc>
            </a:pPr>
            <a:r>
              <a:rPr lang="en-US" altLang="zh-CN" sz="1600" dirty="0">
                <a:solidFill>
                  <a:srgbClr val="000000"/>
                </a:solidFill>
                <a:cs typeface="+mn-ea"/>
              </a:rPr>
              <a:t>3</a:t>
            </a:r>
            <a:r>
              <a:rPr lang="zh-CN" altLang="en-US" sz="1600" dirty="0">
                <a:solidFill>
                  <a:srgbClr val="000000"/>
                </a:solidFill>
                <a:cs typeface="+mn-ea"/>
              </a:rPr>
              <a:t>、材料码放规范化。</a:t>
            </a:r>
          </a:p>
          <a:p>
            <a:pPr>
              <a:lnSpc>
                <a:spcPct val="150000"/>
              </a:lnSpc>
            </a:pPr>
            <a:r>
              <a:rPr lang="en-US" altLang="zh-CN" sz="1600" dirty="0">
                <a:solidFill>
                  <a:srgbClr val="000000"/>
                </a:solidFill>
                <a:cs typeface="+mn-ea"/>
              </a:rPr>
              <a:t>4</a:t>
            </a:r>
            <a:r>
              <a:rPr lang="zh-CN" altLang="en-US" sz="1600" dirty="0">
                <a:solidFill>
                  <a:srgbClr val="000000"/>
                </a:solidFill>
                <a:cs typeface="+mn-ea"/>
              </a:rPr>
              <a:t>、库房管理规范。</a:t>
            </a:r>
          </a:p>
          <a:p>
            <a:pPr>
              <a:lnSpc>
                <a:spcPct val="150000"/>
              </a:lnSpc>
            </a:pPr>
            <a:r>
              <a:rPr lang="en-US" altLang="zh-CN" sz="1600" dirty="0">
                <a:solidFill>
                  <a:srgbClr val="000000"/>
                </a:solidFill>
                <a:cs typeface="+mn-ea"/>
              </a:rPr>
              <a:t>5</a:t>
            </a:r>
            <a:r>
              <a:rPr lang="zh-CN" altLang="en-US" sz="1600" dirty="0">
                <a:solidFill>
                  <a:srgbClr val="000000"/>
                </a:solidFill>
                <a:cs typeface="+mn-ea"/>
              </a:rPr>
              <a:t>、垃圾集中处理，定期外运。</a:t>
            </a:r>
            <a:endParaRPr lang="en-US" altLang="zh-CN" sz="1600" dirty="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r>
              <a:rPr lang="zh-CN" altLang="en-US" sz="1600" b="1" dirty="0" smtClean="0">
                <a:solidFill>
                  <a:srgbClr val="000000"/>
                </a:solidFill>
                <a:cs typeface="+mn-ea"/>
              </a:rPr>
              <a:t>工作目的：安全无小事，杜绝一切隐患。</a:t>
            </a:r>
            <a:endParaRPr lang="en-US" altLang="zh-CN" sz="1600" b="1" dirty="0">
              <a:solidFill>
                <a:srgbClr val="000000"/>
              </a:solidFill>
              <a:cs typeface="+mn-ea"/>
            </a:endParaRPr>
          </a:p>
        </p:txBody>
      </p:sp>
      <p:pic>
        <p:nvPicPr>
          <p:cNvPr id="8" name="Picture 2"/>
          <p:cNvPicPr>
            <a:picLocks noChangeAspect="1" noChangeArrowheads="1"/>
          </p:cNvPicPr>
          <p:nvPr/>
        </p:nvPicPr>
        <p:blipFill>
          <a:blip r:embed="rId2"/>
          <a:stretch>
            <a:fillRect/>
          </a:stretch>
        </p:blipFill>
        <p:spPr bwMode="auto">
          <a:xfrm>
            <a:off x="5563621" y="1062966"/>
            <a:ext cx="3164934" cy="2088232"/>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3" name="图片 2"/>
          <p:cNvPicPr>
            <a:picLocks noChangeAspect="1"/>
          </p:cNvPicPr>
          <p:nvPr/>
        </p:nvPicPr>
        <p:blipFill>
          <a:blip r:embed="rId3"/>
          <a:stretch>
            <a:fillRect/>
          </a:stretch>
        </p:blipFill>
        <p:spPr bwMode="auto">
          <a:xfrm>
            <a:off x="9024545" y="1083921"/>
            <a:ext cx="2062765" cy="208823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0"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2  </a:t>
            </a:r>
            <a:r>
              <a:rPr lang="zh-CN" altLang="en-US" sz="1800" b="1" dirty="0">
                <a:solidFill>
                  <a:srgbClr val="000000"/>
                </a:solidFill>
                <a:cs typeface="+mn-ea"/>
              </a:rPr>
              <a:t>文明施工</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pic>
        <p:nvPicPr>
          <p:cNvPr id="94209" name="Picture 2" descr="IMG_20130603_094246"/>
          <p:cNvPicPr>
            <a:picLocks noChangeAspect="1"/>
          </p:cNvPicPr>
          <p:nvPr/>
        </p:nvPicPr>
        <p:blipFill>
          <a:blip r:embed="rId4"/>
          <a:stretch>
            <a:fillRect/>
          </a:stretch>
        </p:blipFill>
        <p:spPr bwMode="auto">
          <a:xfrm>
            <a:off x="5563870" y="3364865"/>
            <a:ext cx="2359660" cy="147066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94210" name="Picture 3" descr="I2)L%~8BYJ5703)~W4@`KAF"/>
          <p:cNvPicPr>
            <a:picLocks noChangeAspect="1"/>
          </p:cNvPicPr>
          <p:nvPr/>
        </p:nvPicPr>
        <p:blipFill>
          <a:blip r:embed="rId5"/>
          <a:stretch>
            <a:fillRect/>
          </a:stretch>
        </p:blipFill>
        <p:spPr bwMode="auto">
          <a:xfrm>
            <a:off x="5563870" y="5048885"/>
            <a:ext cx="2336800" cy="147002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96259" name="Picture 4" descr="图片2副本"/>
          <p:cNvPicPr>
            <a:picLocks noChangeAspect="1"/>
          </p:cNvPicPr>
          <p:nvPr/>
        </p:nvPicPr>
        <p:blipFill>
          <a:blip r:embed="rId6"/>
          <a:srcRect/>
          <a:stretch>
            <a:fillRect/>
          </a:stretch>
        </p:blipFill>
        <p:spPr bwMode="auto">
          <a:xfrm>
            <a:off x="8162925" y="4017010"/>
            <a:ext cx="2924175" cy="2501900"/>
          </a:xfrm>
          <a:prstGeom prst="rect">
            <a:avLst/>
          </a:prstGeom>
          <a:noFill/>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p:cNvGraphicFramePr>
            <a:graphicFrameLocks noChangeAspect="1"/>
          </p:cNvGraphicFramePr>
          <p:nvPr/>
        </p:nvGraphicFramePr>
        <p:xfrm>
          <a:off x="789305" y="1435735"/>
          <a:ext cx="10593070" cy="4853305"/>
        </p:xfrm>
        <a:graphic>
          <a:graphicData uri="http://schemas.openxmlformats.org/presentationml/2006/ole">
            <mc:AlternateContent xmlns:mc="http://schemas.openxmlformats.org/markup-compatibility/2006">
              <mc:Choice xmlns:v="urn:schemas-microsoft-com:vml" Requires="v">
                <p:oleObj spid="_x0000_s67681" name="工作表" r:id="rId3" imgW="7137400" imgH="3200400" progId="Excel.Sheet.12">
                  <p:embed/>
                </p:oleObj>
              </mc:Choice>
              <mc:Fallback>
                <p:oleObj name="工作表" r:id="rId3" imgW="7137400" imgH="3200400" progId="Excel.Sheet.12">
                  <p:embed/>
                  <p:pic>
                    <p:nvPicPr>
                      <p:cNvPr id="0" name="图片 67651"/>
                      <p:cNvPicPr/>
                      <p:nvPr/>
                    </p:nvPicPr>
                    <p:blipFill>
                      <a:blip r:embed="rId4"/>
                      <a:stretch>
                        <a:fillRect/>
                      </a:stretch>
                    </p:blipFill>
                    <p:spPr>
                      <a:xfrm>
                        <a:off x="789305" y="1435735"/>
                        <a:ext cx="10593070" cy="4853305"/>
                      </a:xfrm>
                      <a:prstGeom prst="rect">
                        <a:avLst/>
                      </a:prstGeom>
                    </p:spPr>
                  </p:pic>
                </p:oleObj>
              </mc:Fallback>
            </mc:AlternateContent>
          </a:graphicData>
        </a:graphic>
      </p:graphicFrame>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2.1  </a:t>
            </a:r>
            <a:r>
              <a:rPr lang="zh-CN" altLang="en-US" sz="1800" b="1" dirty="0">
                <a:solidFill>
                  <a:srgbClr val="000000"/>
                </a:solidFill>
                <a:cs typeface="+mn-ea"/>
              </a:rPr>
              <a:t>安全文明检查单</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Tree>
  </p:cSld>
  <p:clrMapOvr>
    <a:masterClrMapping/>
  </p:clrMapOvr>
  <p:transition>
    <p:zoom dir="in"/>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6" name="文本框 5"/>
          <p:cNvSpPr txBox="1"/>
          <p:nvPr/>
        </p:nvSpPr>
        <p:spPr>
          <a:xfrm>
            <a:off x="684530" y="2426335"/>
            <a:ext cx="6744970" cy="378460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cs typeface="+mn-ea"/>
              </a:rPr>
              <a:t>精装施工过程中，明确各分包作业面及作业内容，严格要求各分包单位及时做好完成面的成品保护措施，避免施工过程中造成剐蹭损伤。</a:t>
            </a:r>
            <a:endParaRPr lang="en-US" altLang="zh-CN" sz="1600" b="1" dirty="0" smtClean="0">
              <a:solidFill>
                <a:srgbClr val="000000"/>
              </a:solidFill>
              <a:cs typeface="+mn-ea"/>
            </a:endParaRPr>
          </a:p>
          <a:p>
            <a:pPr>
              <a:lnSpc>
                <a:spcPct val="150000"/>
              </a:lnSpc>
            </a:pPr>
            <a:r>
              <a:rPr lang="zh-CN" altLang="zh-CN" sz="1600" dirty="0"/>
              <a:t>公共区域已完工作面，墙面阳角、电梯轿厢内外、呼梯按钮等必须做全面成品保护措施。</a:t>
            </a:r>
          </a:p>
          <a:p>
            <a:pPr>
              <a:lnSpc>
                <a:spcPct val="150000"/>
              </a:lnSpc>
            </a:pPr>
            <a:r>
              <a:rPr lang="zh-CN" altLang="zh-CN" sz="1600" dirty="0"/>
              <a:t>精装修工程湿作业（如：墙地砖、石材、门槛石、窗台石等）需在局部完工后</a:t>
            </a:r>
            <a:r>
              <a:rPr lang="en-US" altLang="zh-CN" sz="1600" dirty="0"/>
              <a:t>48</a:t>
            </a:r>
            <a:r>
              <a:rPr lang="zh-CN" altLang="zh-CN" sz="1600" dirty="0"/>
              <a:t>小时内完成成品</a:t>
            </a:r>
            <a:r>
              <a:rPr lang="zh-CN" altLang="zh-CN" sz="1600" dirty="0" smtClean="0"/>
              <a:t>保护</a:t>
            </a:r>
            <a:r>
              <a:rPr lang="zh-CN" altLang="en-US" sz="1600" dirty="0" smtClean="0"/>
              <a:t>。</a:t>
            </a:r>
            <a:endParaRPr lang="en-US" altLang="zh-CN" sz="1600" dirty="0" smtClean="0"/>
          </a:p>
          <a:p>
            <a:pPr>
              <a:lnSpc>
                <a:spcPct val="150000"/>
              </a:lnSpc>
            </a:pPr>
            <a:r>
              <a:rPr lang="zh-CN" altLang="zh-CN" sz="1600" dirty="0" smtClean="0"/>
              <a:t>安装工程</a:t>
            </a:r>
            <a:r>
              <a:rPr lang="zh-CN" altLang="zh-CN" sz="1600" dirty="0"/>
              <a:t>（如：五金、洁具、龙头、木饰面、木地板、收纳、橱柜等）需在局部安装完成后</a:t>
            </a:r>
            <a:r>
              <a:rPr lang="en-US" altLang="zh-CN" sz="1600" dirty="0"/>
              <a:t>24</a:t>
            </a:r>
            <a:r>
              <a:rPr lang="zh-CN" altLang="zh-CN" sz="1600" dirty="0"/>
              <a:t>小时内完成成品保护</a:t>
            </a:r>
            <a:r>
              <a:rPr lang="zh-CN" altLang="zh-CN" sz="1600" dirty="0" smtClean="0"/>
              <a:t>。</a:t>
            </a: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Tree>
  </p:cSld>
  <p:clrMapOvr>
    <a:masterClrMapping/>
  </p:clrMapOvr>
  <p:transition>
    <p:zoom dir="in"/>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530" y="1206500"/>
            <a:ext cx="10988675" cy="513905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lvl="0"/>
            <a:endParaRPr lang="en-US" altLang="zh-CN" sz="1600" b="1" dirty="0" smtClean="0">
              <a:solidFill>
                <a:srgbClr val="000000"/>
              </a:solidFill>
              <a:latin typeface="+mn-ea"/>
              <a:cs typeface="+mn-ea"/>
            </a:endParaRPr>
          </a:p>
          <a:p>
            <a:pPr lvl="0"/>
            <a:r>
              <a:rPr lang="zh-CN" altLang="zh-CN" sz="1600" dirty="0" smtClean="0">
                <a:latin typeface="+mn-ea"/>
                <a:cs typeface="+mn-ea"/>
              </a:rPr>
              <a:t>地面</a:t>
            </a:r>
            <a:r>
              <a:rPr lang="zh-CN" altLang="zh-CN" sz="1600" dirty="0">
                <a:latin typeface="+mn-ea"/>
                <a:cs typeface="+mn-ea"/>
              </a:rPr>
              <a:t>： 满铺地毯保护；</a:t>
            </a:r>
          </a:p>
          <a:p>
            <a:pPr lvl="0"/>
            <a:r>
              <a:rPr lang="zh-CN" altLang="zh-CN" sz="1600" dirty="0">
                <a:latin typeface="+mn-ea"/>
                <a:cs typeface="+mn-ea"/>
              </a:rPr>
              <a:t>墙面：阳角采用成品护角条或</a:t>
            </a:r>
            <a:r>
              <a:rPr lang="en-US" altLang="zh-CN" sz="1600" dirty="0">
                <a:latin typeface="+mn-ea"/>
                <a:cs typeface="+mn-ea"/>
              </a:rPr>
              <a:t>PVC</a:t>
            </a:r>
            <a:r>
              <a:rPr lang="zh-CN" altLang="zh-CN" sz="1600" dirty="0">
                <a:latin typeface="+mn-ea"/>
                <a:cs typeface="+mn-ea"/>
              </a:rPr>
              <a:t>线管，将阳角从地面至</a:t>
            </a:r>
            <a:r>
              <a:rPr lang="en-US" altLang="zh-CN" sz="1600" dirty="0">
                <a:latin typeface="+mn-ea"/>
                <a:cs typeface="+mn-ea"/>
              </a:rPr>
              <a:t>1.22</a:t>
            </a:r>
            <a:r>
              <a:rPr lang="zh-CN" altLang="zh-CN" sz="1600" dirty="0">
                <a:latin typeface="+mn-ea"/>
                <a:cs typeface="+mn-ea"/>
              </a:rPr>
              <a:t>ｍ高处保护；</a:t>
            </a:r>
          </a:p>
          <a:p>
            <a:pPr lvl="0"/>
            <a:r>
              <a:rPr lang="zh-CN" altLang="zh-CN" sz="1600" dirty="0">
                <a:latin typeface="+mn-ea"/>
                <a:cs typeface="+mn-ea"/>
              </a:rPr>
              <a:t>电梯门套：采用</a:t>
            </a:r>
            <a:r>
              <a:rPr lang="en-US" altLang="zh-CN" sz="1600" dirty="0">
                <a:latin typeface="+mn-ea"/>
                <a:cs typeface="+mn-ea"/>
              </a:rPr>
              <a:t>12</a:t>
            </a:r>
            <a:r>
              <a:rPr lang="zh-CN" altLang="zh-CN" sz="1600" dirty="0">
                <a:latin typeface="+mn-ea"/>
                <a:cs typeface="+mn-ea"/>
              </a:rPr>
              <a:t>厘夹板钉成</a:t>
            </a:r>
            <a:r>
              <a:rPr lang="en-US" altLang="zh-CN" sz="1600" dirty="0">
                <a:latin typeface="+mn-ea"/>
                <a:cs typeface="+mn-ea"/>
              </a:rPr>
              <a:t>U</a:t>
            </a:r>
            <a:r>
              <a:rPr lang="zh-CN" altLang="zh-CN" sz="1600" dirty="0">
                <a:latin typeface="+mn-ea"/>
                <a:cs typeface="+mn-ea"/>
              </a:rPr>
              <a:t>形槽将电梯门套三边满包保护；</a:t>
            </a:r>
          </a:p>
          <a:p>
            <a:r>
              <a:rPr lang="zh-CN" altLang="zh-CN" sz="1600" dirty="0">
                <a:latin typeface="+mn-ea"/>
                <a:cs typeface="+mn-ea"/>
              </a:rPr>
              <a:t>若存在加建，地面基层满铺彩条布，搭接部位胶带固定，面层铺设</a:t>
            </a:r>
            <a:r>
              <a:rPr lang="en-US" altLang="zh-CN" sz="1600" dirty="0">
                <a:latin typeface="+mn-ea"/>
                <a:cs typeface="+mn-ea"/>
              </a:rPr>
              <a:t>12</a:t>
            </a:r>
            <a:r>
              <a:rPr lang="zh-CN" altLang="zh-CN" sz="1600" dirty="0">
                <a:latin typeface="+mn-ea"/>
                <a:cs typeface="+mn-ea"/>
              </a:rPr>
              <a:t>厘夹板，彩条布应避免长时间泡水，否则易污染地面且极难清理（特别是石材或抛光砖地面）；墙面阳角采用</a:t>
            </a:r>
            <a:r>
              <a:rPr lang="en-US" altLang="zh-CN" sz="1600" dirty="0">
                <a:latin typeface="+mn-ea"/>
                <a:cs typeface="+mn-ea"/>
              </a:rPr>
              <a:t>12</a:t>
            </a:r>
            <a:r>
              <a:rPr lang="zh-CN" altLang="zh-CN" sz="1600" dirty="0">
                <a:latin typeface="+mn-ea"/>
                <a:cs typeface="+mn-ea"/>
              </a:rPr>
              <a:t>厘夹板钉成</a:t>
            </a:r>
            <a:r>
              <a:rPr lang="en-US" altLang="zh-CN" sz="1600" dirty="0">
                <a:latin typeface="+mn-ea"/>
                <a:cs typeface="+mn-ea"/>
              </a:rPr>
              <a:t>122</a:t>
            </a:r>
            <a:r>
              <a:rPr lang="zh-CN" altLang="zh-CN" sz="1600" dirty="0">
                <a:latin typeface="+mn-ea"/>
                <a:cs typeface="+mn-ea"/>
              </a:rPr>
              <a:t>×</a:t>
            </a:r>
            <a:r>
              <a:rPr lang="en-US" altLang="zh-CN" sz="1600" dirty="0">
                <a:latin typeface="+mn-ea"/>
                <a:cs typeface="+mn-ea"/>
              </a:rPr>
              <a:t>5</a:t>
            </a:r>
            <a:r>
              <a:rPr lang="zh-CN" altLang="zh-CN" sz="1600" dirty="0">
                <a:latin typeface="+mn-ea"/>
                <a:cs typeface="+mn-ea"/>
              </a:rPr>
              <a:t>×</a:t>
            </a:r>
            <a:r>
              <a:rPr lang="en-US" altLang="zh-CN" sz="1600" dirty="0">
                <a:latin typeface="+mn-ea"/>
                <a:cs typeface="+mn-ea"/>
              </a:rPr>
              <a:t>5cm</a:t>
            </a:r>
            <a:r>
              <a:rPr lang="zh-CN" altLang="zh-CN" sz="1600" dirty="0">
                <a:latin typeface="+mn-ea"/>
                <a:cs typeface="+mn-ea"/>
              </a:rPr>
              <a:t>护角条或成品护角条，将阳角从地面至</a:t>
            </a:r>
            <a:r>
              <a:rPr lang="en-US" altLang="zh-CN" sz="1600" dirty="0">
                <a:latin typeface="+mn-ea"/>
                <a:cs typeface="+mn-ea"/>
              </a:rPr>
              <a:t>1.22</a:t>
            </a:r>
            <a:r>
              <a:rPr lang="zh-CN" altLang="zh-CN" sz="1600" dirty="0">
                <a:latin typeface="+mn-ea"/>
                <a:cs typeface="+mn-ea"/>
              </a:rPr>
              <a:t>ｍ高处保护，过道门套采用</a:t>
            </a:r>
            <a:r>
              <a:rPr lang="en-US" altLang="zh-CN" sz="1600" dirty="0">
                <a:latin typeface="+mn-ea"/>
                <a:cs typeface="+mn-ea"/>
              </a:rPr>
              <a:t>12</a:t>
            </a:r>
            <a:r>
              <a:rPr lang="zh-CN" altLang="zh-CN" sz="1600" dirty="0">
                <a:latin typeface="+mn-ea"/>
                <a:cs typeface="+mn-ea"/>
              </a:rPr>
              <a:t>厘夹板钉成</a:t>
            </a:r>
            <a:r>
              <a:rPr lang="en-US" altLang="zh-CN" sz="1600" dirty="0">
                <a:latin typeface="+mn-ea"/>
                <a:cs typeface="+mn-ea"/>
              </a:rPr>
              <a:t>1.22m</a:t>
            </a:r>
            <a:r>
              <a:rPr lang="zh-CN" altLang="zh-CN" sz="1600" dirty="0">
                <a:latin typeface="+mn-ea"/>
                <a:cs typeface="+mn-ea"/>
              </a:rPr>
              <a:t>高</a:t>
            </a:r>
            <a:r>
              <a:rPr lang="en-US" altLang="zh-CN" sz="1600" dirty="0">
                <a:latin typeface="+mn-ea"/>
                <a:cs typeface="+mn-ea"/>
              </a:rPr>
              <a:t>U</a:t>
            </a:r>
            <a:r>
              <a:rPr lang="zh-CN" altLang="zh-CN" sz="1600" dirty="0">
                <a:latin typeface="+mn-ea"/>
                <a:cs typeface="+mn-ea"/>
              </a:rPr>
              <a:t>形槽保护。</a:t>
            </a:r>
            <a:endParaRPr lang="en-US" altLang="zh-CN" sz="1600" b="1" dirty="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r>
              <a:rPr lang="zh-CN" altLang="en-US" sz="1600" b="1" dirty="0" smtClean="0">
                <a:solidFill>
                  <a:srgbClr val="000000"/>
                </a:solidFill>
                <a:latin typeface="+mn-ea"/>
                <a:cs typeface="+mn-ea"/>
              </a:rPr>
              <a:t>工作目的：强化成品保护措施，减少磕碰划损</a:t>
            </a:r>
            <a:endParaRPr lang="en-US" altLang="zh-CN" sz="1600" b="1" dirty="0">
              <a:solidFill>
                <a:srgbClr val="000000"/>
              </a:solidFill>
              <a:latin typeface="+mn-ea"/>
              <a:cs typeface="+mn-ea"/>
            </a:endParaRPr>
          </a:p>
        </p:txBody>
      </p:sp>
      <p:pic>
        <p:nvPicPr>
          <p:cNvPr id="48130" name="图片 1"/>
          <p:cNvPicPr>
            <a:picLocks noChangeAspect="1" noChangeArrowheads="1"/>
          </p:cNvPicPr>
          <p:nvPr/>
        </p:nvPicPr>
        <p:blipFill>
          <a:blip r:embed="rId2"/>
          <a:stretch>
            <a:fillRect/>
          </a:stretch>
        </p:blipFill>
        <p:spPr bwMode="auto">
          <a:xfrm>
            <a:off x="1625539" y="3382448"/>
            <a:ext cx="2998887" cy="2215781"/>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49154" name="图片 1"/>
          <p:cNvPicPr>
            <a:picLocks noChangeAspect="1" noChangeArrowheads="1"/>
          </p:cNvPicPr>
          <p:nvPr/>
        </p:nvPicPr>
        <p:blipFill>
          <a:blip r:embed="rId3"/>
          <a:stretch>
            <a:fillRect/>
          </a:stretch>
        </p:blipFill>
        <p:spPr bwMode="auto">
          <a:xfrm>
            <a:off x="4937148" y="3382449"/>
            <a:ext cx="2743173" cy="221578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49155" name="图片 46"/>
          <p:cNvPicPr>
            <a:picLocks noChangeAspect="1" noChangeArrowheads="1"/>
          </p:cNvPicPr>
          <p:nvPr/>
        </p:nvPicPr>
        <p:blipFill>
          <a:blip r:embed="rId4"/>
          <a:stretch>
            <a:fillRect/>
          </a:stretch>
        </p:blipFill>
        <p:spPr bwMode="auto">
          <a:xfrm>
            <a:off x="8013072" y="3382447"/>
            <a:ext cx="2606801" cy="2215781"/>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公共区域 </a:t>
            </a:r>
            <a:endParaRPr lang="zh-CN" altLang="en-US" sz="1800" b="1" dirty="0" smtClean="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530" y="1206500"/>
            <a:ext cx="10893425" cy="5384800"/>
          </a:xfrm>
          <a:prstGeom prst="rect">
            <a:avLst/>
          </a:prstGeom>
          <a:solidFill>
            <a:schemeClr val="bg1"/>
          </a:solidFill>
        </p:spPr>
        <p:txBody>
          <a:bodyPr wrap="square" rtlCol="0">
            <a:spAutoFit/>
          </a:bodyPr>
          <a:lstStyle/>
          <a:p>
            <a:pPr lvl="0"/>
            <a:endParaRPr lang="en-US" altLang="zh-CN" sz="1600" b="1" dirty="0" smtClean="0">
              <a:solidFill>
                <a:srgbClr val="000000"/>
              </a:solidFill>
              <a:latin typeface="+mn-ea"/>
              <a:cs typeface="+mn-ea"/>
            </a:endParaRPr>
          </a:p>
          <a:p>
            <a:pPr lvl="0"/>
            <a:r>
              <a:rPr lang="zh-CN" altLang="zh-CN" sz="1600" dirty="0">
                <a:latin typeface="+mn-ea"/>
                <a:cs typeface="+mn-ea"/>
              </a:rPr>
              <a:t>轿厢：墙面、地面满铺厚度不小于</a:t>
            </a:r>
            <a:r>
              <a:rPr lang="en-US" altLang="zh-CN" sz="1600" dirty="0">
                <a:latin typeface="+mn-ea"/>
                <a:cs typeface="+mn-ea"/>
              </a:rPr>
              <a:t>12mm</a:t>
            </a:r>
            <a:r>
              <a:rPr lang="zh-CN" altLang="zh-CN" sz="1600" dirty="0">
                <a:latin typeface="+mn-ea"/>
                <a:cs typeface="+mn-ea"/>
              </a:rPr>
              <a:t>夹板或密度板，电梯轿厢内外不锈钢门框侧面均需夹板包裹保护；</a:t>
            </a:r>
          </a:p>
          <a:p>
            <a:pPr lvl="0"/>
            <a:r>
              <a:rPr lang="zh-CN" altLang="zh-CN" sz="1600" dirty="0">
                <a:latin typeface="+mn-ea"/>
                <a:cs typeface="+mn-ea"/>
              </a:rPr>
              <a:t>地坎</a:t>
            </a:r>
            <a:r>
              <a:rPr lang="zh-CN" altLang="zh-CN" sz="1600" dirty="0" smtClean="0">
                <a:latin typeface="+mn-ea"/>
                <a:cs typeface="+mn-ea"/>
              </a:rPr>
              <a:t>：将</a:t>
            </a:r>
            <a:r>
              <a:rPr lang="en-US" altLang="zh-CN" sz="1600" dirty="0">
                <a:latin typeface="+mn-ea"/>
                <a:cs typeface="+mn-ea"/>
              </a:rPr>
              <a:t>15</a:t>
            </a:r>
            <a:r>
              <a:rPr lang="zh-CN" altLang="zh-CN" sz="1600" dirty="0">
                <a:latin typeface="+mn-ea"/>
                <a:cs typeface="+mn-ea"/>
              </a:rPr>
              <a:t>厘夹板用合页固定在电梯轿厢地面形成活动板，斗车、平板车进入电梯时打开翻板，避免电梯地坎破坏；</a:t>
            </a:r>
          </a:p>
          <a:p>
            <a:r>
              <a:rPr lang="zh-CN" altLang="zh-CN" sz="1600" dirty="0" smtClean="0">
                <a:latin typeface="+mn-ea"/>
                <a:cs typeface="+mn-ea"/>
              </a:rPr>
              <a:t>按钮</a:t>
            </a:r>
            <a:r>
              <a:rPr lang="zh-CN" altLang="zh-CN" sz="1600" dirty="0">
                <a:latin typeface="+mn-ea"/>
                <a:cs typeface="+mn-ea"/>
              </a:rPr>
              <a:t>：楼层召唤</a:t>
            </a:r>
            <a:r>
              <a:rPr lang="zh-CN" altLang="zh-CN" sz="1600" dirty="0" smtClean="0">
                <a:latin typeface="+mn-ea"/>
                <a:cs typeface="+mn-ea"/>
              </a:rPr>
              <a:t>按钮</a:t>
            </a:r>
            <a:r>
              <a:rPr lang="zh-CN" altLang="en-US" sz="1600" dirty="0" smtClean="0">
                <a:latin typeface="+mn-ea"/>
                <a:cs typeface="+mn-ea"/>
              </a:rPr>
              <a:t>及内部按钮</a:t>
            </a:r>
            <a:r>
              <a:rPr lang="zh-CN" altLang="zh-CN" sz="1600" dirty="0" smtClean="0">
                <a:latin typeface="+mn-ea"/>
                <a:cs typeface="+mn-ea"/>
              </a:rPr>
              <a:t>表面</a:t>
            </a:r>
            <a:r>
              <a:rPr lang="zh-CN" altLang="zh-CN" sz="1600" dirty="0">
                <a:latin typeface="+mn-ea"/>
                <a:cs typeface="+mn-ea"/>
              </a:rPr>
              <a:t>贴</a:t>
            </a:r>
            <a:r>
              <a:rPr lang="en-US" altLang="zh-CN" sz="1600" dirty="0">
                <a:latin typeface="+mn-ea"/>
                <a:cs typeface="+mn-ea"/>
              </a:rPr>
              <a:t>PE</a:t>
            </a:r>
            <a:r>
              <a:rPr lang="zh-CN" altLang="zh-CN" sz="1600" dirty="0">
                <a:latin typeface="+mn-ea"/>
                <a:cs typeface="+mn-ea"/>
              </a:rPr>
              <a:t>膜，再用</a:t>
            </a:r>
            <a:r>
              <a:rPr lang="en-US" altLang="zh-CN" sz="1600" dirty="0">
                <a:latin typeface="+mn-ea"/>
                <a:cs typeface="+mn-ea"/>
              </a:rPr>
              <a:t>15</a:t>
            </a:r>
            <a:r>
              <a:rPr lang="zh-CN" altLang="zh-CN" sz="1600" dirty="0">
                <a:latin typeface="+mn-ea"/>
                <a:cs typeface="+mn-ea"/>
              </a:rPr>
              <a:t>厘板制作成保护盒、采用双面</a:t>
            </a:r>
            <a:r>
              <a:rPr lang="zh-CN" altLang="zh-CN" sz="1600" dirty="0" smtClean="0">
                <a:latin typeface="+mn-ea"/>
                <a:cs typeface="+mn-ea"/>
              </a:rPr>
              <a:t>胶</a:t>
            </a:r>
            <a:r>
              <a:rPr lang="zh-CN" altLang="en-US" sz="1600" dirty="0" smtClean="0">
                <a:latin typeface="+mn-ea"/>
                <a:cs typeface="+mn-ea"/>
              </a:rPr>
              <a:t>或自攻钉</a:t>
            </a:r>
            <a:r>
              <a:rPr lang="zh-CN" altLang="zh-CN" sz="1600" dirty="0" smtClean="0">
                <a:latin typeface="+mn-ea"/>
                <a:cs typeface="+mn-ea"/>
              </a:rPr>
              <a:t>固定</a:t>
            </a:r>
            <a:r>
              <a:rPr lang="zh-CN" altLang="zh-CN" sz="1600" dirty="0">
                <a:latin typeface="+mn-ea"/>
                <a:cs typeface="+mn-ea"/>
              </a:rPr>
              <a:t>到墙面</a:t>
            </a:r>
            <a:r>
              <a:rPr lang="zh-CN" altLang="zh-CN" sz="1600" dirty="0" smtClean="0">
                <a:latin typeface="+mn-ea"/>
                <a:cs typeface="+mn-ea"/>
              </a:rPr>
              <a:t>或</a:t>
            </a:r>
            <a:r>
              <a:rPr lang="zh-CN" altLang="en-US" sz="1600" dirty="0" smtClean="0">
                <a:latin typeface="+mn-ea"/>
                <a:cs typeface="+mn-ea"/>
              </a:rPr>
              <a:t>保护板</a:t>
            </a:r>
            <a:r>
              <a:rPr lang="zh-CN" altLang="zh-CN" sz="1600" dirty="0" smtClean="0">
                <a:latin typeface="+mn-ea"/>
                <a:cs typeface="+mn-ea"/>
              </a:rPr>
              <a:t>面</a:t>
            </a:r>
            <a:r>
              <a:rPr lang="zh-CN" altLang="zh-CN" sz="1600" dirty="0">
                <a:latin typeface="+mn-ea"/>
                <a:cs typeface="+mn-ea"/>
              </a:rPr>
              <a:t>板</a:t>
            </a:r>
            <a:r>
              <a:rPr lang="zh-CN" altLang="zh-CN" sz="1600" dirty="0" smtClean="0">
                <a:latin typeface="+mn-ea"/>
                <a:cs typeface="+mn-ea"/>
              </a:rPr>
              <a:t>上</a:t>
            </a:r>
            <a:r>
              <a:rPr lang="zh-CN" altLang="en-US" sz="1600" dirty="0">
                <a:latin typeface="+mn-ea"/>
                <a:cs typeface="+mn-ea"/>
              </a:rPr>
              <a:t>。</a:t>
            </a:r>
            <a:endParaRPr lang="en-US" altLang="zh-CN" sz="1600" b="1" dirty="0" smtClean="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smtClean="0">
              <a:solidFill>
                <a:srgbClr val="000000"/>
              </a:solidFill>
              <a:latin typeface="+mn-ea"/>
              <a:cs typeface="+mn-ea"/>
            </a:endParaRPr>
          </a:p>
          <a:p>
            <a:pPr>
              <a:lnSpc>
                <a:spcPct val="150000"/>
              </a:lnSpc>
            </a:pPr>
            <a:endParaRPr lang="en-US" altLang="zh-CN" sz="1600" b="1" dirty="0">
              <a:solidFill>
                <a:srgbClr val="000000"/>
              </a:solidFill>
              <a:latin typeface="+mn-ea"/>
              <a:cs typeface="+mn-ea"/>
            </a:endParaRPr>
          </a:p>
          <a:p>
            <a:pPr>
              <a:lnSpc>
                <a:spcPct val="150000"/>
              </a:lnSpc>
            </a:pPr>
            <a:r>
              <a:rPr lang="zh-CN" altLang="en-US" sz="1600" b="1" dirty="0" smtClean="0">
                <a:solidFill>
                  <a:srgbClr val="000000"/>
                </a:solidFill>
                <a:latin typeface="+mn-ea"/>
                <a:cs typeface="+mn-ea"/>
              </a:rPr>
              <a:t>工作目的：强化成品保护措施，减少磕碰划损</a:t>
            </a:r>
            <a:endParaRPr lang="en-US" altLang="zh-CN" sz="1600" b="1" dirty="0">
              <a:solidFill>
                <a:srgbClr val="000000"/>
              </a:solidFill>
              <a:latin typeface="+mn-ea"/>
              <a:cs typeface="+mn-ea"/>
            </a:endParaRPr>
          </a:p>
        </p:txBody>
      </p:sp>
      <p:pic>
        <p:nvPicPr>
          <p:cNvPr id="48132" name="图片 4"/>
          <p:cNvPicPr>
            <a:picLocks noChangeAspect="1" noChangeArrowheads="1"/>
          </p:cNvPicPr>
          <p:nvPr/>
        </p:nvPicPr>
        <p:blipFill>
          <a:blip r:embed="rId2"/>
          <a:stretch>
            <a:fillRect/>
          </a:stretch>
        </p:blipFill>
        <p:spPr bwMode="auto">
          <a:xfrm>
            <a:off x="719651" y="2718162"/>
            <a:ext cx="4229505" cy="321267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11" name="Picture 2"/>
          <p:cNvPicPr>
            <a:picLocks noChangeAspect="1" noChangeArrowheads="1"/>
          </p:cNvPicPr>
          <p:nvPr/>
        </p:nvPicPr>
        <p:blipFill>
          <a:blip r:embed="rId3"/>
          <a:stretch>
            <a:fillRect/>
          </a:stretch>
        </p:blipFill>
        <p:spPr bwMode="auto">
          <a:xfrm>
            <a:off x="5265420" y="2718435"/>
            <a:ext cx="6134735" cy="321246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电梯 </a:t>
            </a:r>
            <a:endParaRPr lang="zh-CN" altLang="en-US" sz="1800" b="1" dirty="0" smtClean="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287" y="1206500"/>
            <a:ext cx="11305256" cy="5015865"/>
          </a:xfrm>
          <a:prstGeom prst="rect">
            <a:avLst/>
          </a:prstGeom>
          <a:solidFill>
            <a:schemeClr val="bg1"/>
          </a:solidFill>
        </p:spPr>
        <p:txBody>
          <a:bodyPr wrap="square" rtlCol="0">
            <a:spAutoFit/>
          </a:bodyPr>
          <a:lstStyle/>
          <a:p>
            <a:pPr lvl="0"/>
            <a:endParaRPr lang="en-US" altLang="zh-CN" sz="1600" b="1" dirty="0" smtClean="0">
              <a:solidFill>
                <a:srgbClr val="000000"/>
              </a:solidFill>
              <a:cs typeface="+mn-ea"/>
            </a:endParaRPr>
          </a:p>
          <a:p>
            <a:pPr lvl="0"/>
            <a:r>
              <a:rPr lang="zh-CN" altLang="zh-CN" sz="1600" dirty="0"/>
              <a:t>阳台栏杆安装后，保留原厂贴的保护膜，并在栏杆扶手表面包裹防潮膜，直至移交精装修单位；</a:t>
            </a:r>
          </a:p>
          <a:p>
            <a:r>
              <a:rPr lang="zh-CN" altLang="zh-CN" sz="1600" dirty="0"/>
              <a:t>若栏杆存在固定玻璃，固定玻璃表面需贴膜保护，再对栏杆进行整体包裹保护。</a:t>
            </a:r>
            <a:endParaRPr lang="en-US" altLang="zh-CN" sz="1600" b="1" dirty="0" smtClean="0">
              <a:solidFill>
                <a:srgbClr val="000000"/>
              </a:solidFill>
              <a:cs typeface="+mn-ea"/>
            </a:endParaRPr>
          </a:p>
          <a:p>
            <a:pPr lvl="0"/>
            <a:endParaRPr lang="en-US" altLang="zh-CN" sz="1600" b="1" dirty="0" smtClean="0"/>
          </a:p>
          <a:p>
            <a:pPr lvl="0"/>
            <a:r>
              <a:rPr lang="zh-CN" altLang="en-US" sz="1600" b="1" dirty="0" smtClean="0"/>
              <a:t>楼梯间踏步、扶手：</a:t>
            </a:r>
            <a:endParaRPr lang="en-US" altLang="zh-CN" sz="1600" b="1" dirty="0" smtClean="0"/>
          </a:p>
          <a:p>
            <a:pPr lvl="0"/>
            <a:r>
              <a:rPr lang="zh-CN" altLang="zh-CN" sz="1600" dirty="0" smtClean="0"/>
              <a:t>踏步</a:t>
            </a:r>
            <a:r>
              <a:rPr lang="zh-CN" altLang="zh-CN" sz="1600" dirty="0"/>
              <a:t>：若楼梯间地面已铺贴地砖，满铺地毯保护；</a:t>
            </a:r>
          </a:p>
          <a:p>
            <a:pPr lvl="0"/>
            <a:r>
              <a:rPr lang="zh-CN" altLang="zh-CN" sz="1600" dirty="0"/>
              <a:t>扶手：楼梯间扶手表面满包防潮膜、透明胶带固定保护；</a:t>
            </a:r>
          </a:p>
          <a:p>
            <a:r>
              <a:rPr lang="zh-CN" altLang="zh-CN" sz="1600" dirty="0"/>
              <a:t>若精装修工程中存在踏步及扶手施工，按该标准进行成品保护。</a:t>
            </a: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pic>
        <p:nvPicPr>
          <p:cNvPr id="51202" name="图片 4"/>
          <p:cNvPicPr>
            <a:picLocks noChangeAspect="1" noChangeArrowheads="1"/>
          </p:cNvPicPr>
          <p:nvPr/>
        </p:nvPicPr>
        <p:blipFill>
          <a:blip r:embed="rId2"/>
          <a:stretch>
            <a:fillRect/>
          </a:stretch>
        </p:blipFill>
        <p:spPr bwMode="auto">
          <a:xfrm>
            <a:off x="1019027" y="3437024"/>
            <a:ext cx="2984224" cy="194594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51203" name="图片 13"/>
          <p:cNvPicPr>
            <a:picLocks noChangeAspect="1" noChangeArrowheads="1"/>
          </p:cNvPicPr>
          <p:nvPr/>
        </p:nvPicPr>
        <p:blipFill>
          <a:blip r:embed="rId3"/>
          <a:stretch>
            <a:fillRect/>
          </a:stretch>
        </p:blipFill>
        <p:spPr bwMode="auto">
          <a:xfrm>
            <a:off x="4260626" y="3437024"/>
            <a:ext cx="3243234" cy="194594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51204" name="图片 10"/>
          <p:cNvPicPr>
            <a:picLocks noChangeAspect="1" noChangeArrowheads="1"/>
          </p:cNvPicPr>
          <p:nvPr/>
        </p:nvPicPr>
        <p:blipFill>
          <a:blip r:embed="rId4"/>
          <a:stretch>
            <a:fillRect/>
          </a:stretch>
        </p:blipFill>
        <p:spPr bwMode="auto">
          <a:xfrm>
            <a:off x="7787779" y="2862684"/>
            <a:ext cx="3337668" cy="252028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栏杆扶手 </a:t>
            </a:r>
            <a:endParaRPr lang="zh-CN" altLang="en-US" sz="1800" b="1" dirty="0" smtClean="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287" y="1206500"/>
            <a:ext cx="10801200" cy="526224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lvl="0"/>
            <a:endParaRPr lang="en-US" altLang="zh-CN" sz="1600" b="1" dirty="0" smtClean="0">
              <a:solidFill>
                <a:srgbClr val="000000"/>
              </a:solidFill>
              <a:cs typeface="+mn-ea"/>
            </a:endParaRPr>
          </a:p>
          <a:p>
            <a:pPr lvl="0"/>
            <a:r>
              <a:rPr lang="zh-CN" altLang="zh-CN" sz="1600" dirty="0"/>
              <a:t>安装过程中注意保留原柜体及门板表面保护膜，安装完成</a:t>
            </a:r>
            <a:r>
              <a:rPr lang="en-US" altLang="zh-CN" sz="1600" dirty="0"/>
              <a:t>24</a:t>
            </a:r>
            <a:r>
              <a:rPr lang="zh-CN" altLang="zh-CN" sz="1600" dirty="0"/>
              <a:t>小时内，由安装单位负责将柜体面污染清除后及时用防潮膜或包装纸满铺保护</a:t>
            </a:r>
            <a:r>
              <a:rPr lang="zh-CN" altLang="zh-CN" sz="1600" dirty="0" smtClean="0"/>
              <a:t>。</a:t>
            </a:r>
            <a:r>
              <a:rPr lang="zh-CN" altLang="en-US" sz="1600" dirty="0" smtClean="0"/>
              <a:t>柜体及台面</a:t>
            </a:r>
            <a:r>
              <a:rPr lang="zh-CN" altLang="zh-CN" sz="1600" dirty="0" smtClean="0"/>
              <a:t>阳角</a:t>
            </a:r>
            <a:r>
              <a:rPr lang="zh-CN" altLang="en-US" sz="1600" dirty="0" smtClean="0"/>
              <a:t>处</a:t>
            </a:r>
            <a:r>
              <a:rPr lang="zh-CN" altLang="zh-CN" sz="1600" dirty="0" smtClean="0"/>
              <a:t>需</a:t>
            </a:r>
            <a:r>
              <a:rPr lang="zh-CN" altLang="zh-CN" sz="1600" dirty="0"/>
              <a:t>额外采用护角条</a:t>
            </a:r>
            <a:r>
              <a:rPr lang="zh-CN" altLang="zh-CN" sz="1600" dirty="0" smtClean="0"/>
              <a:t>保护，</a:t>
            </a:r>
            <a:r>
              <a:rPr lang="zh-CN" altLang="zh-CN" sz="1600" dirty="0"/>
              <a:t>透明胶带固定到保护膜表面；</a:t>
            </a: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pic>
        <p:nvPicPr>
          <p:cNvPr id="8" name="Picture 2"/>
          <p:cNvPicPr>
            <a:picLocks noChangeAspect="1" noChangeArrowheads="1"/>
          </p:cNvPicPr>
          <p:nvPr/>
        </p:nvPicPr>
        <p:blipFill>
          <a:blip r:embed="rId2"/>
          <a:stretch>
            <a:fillRect/>
          </a:stretch>
        </p:blipFill>
        <p:spPr bwMode="auto">
          <a:xfrm>
            <a:off x="1403350" y="2371725"/>
            <a:ext cx="4824730" cy="337756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52226" name="图片 1"/>
          <p:cNvPicPr>
            <a:picLocks noChangeAspect="1" noChangeArrowheads="1"/>
          </p:cNvPicPr>
          <p:nvPr/>
        </p:nvPicPr>
        <p:blipFill>
          <a:blip r:embed="rId3"/>
          <a:stretch>
            <a:fillRect/>
          </a:stretch>
        </p:blipFill>
        <p:spPr bwMode="auto">
          <a:xfrm>
            <a:off x="6522720" y="2371725"/>
            <a:ext cx="3881120" cy="337185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木制品 </a:t>
            </a:r>
            <a:endParaRPr lang="zh-CN" altLang="en-US" sz="1800" b="1" dirty="0" smtClean="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287" y="1206500"/>
            <a:ext cx="11305256" cy="5139055"/>
          </a:xfrm>
          <a:prstGeom prst="rect">
            <a:avLst/>
          </a:prstGeom>
          <a:solidFill>
            <a:schemeClr val="bg1"/>
          </a:solidFill>
        </p:spPr>
        <p:txBody>
          <a:bodyPr wrap="square" rtlCol="0">
            <a:spAutoFit/>
          </a:bodyPr>
          <a:lstStyle/>
          <a:p>
            <a:pPr lvl="0"/>
            <a:endParaRPr lang="en-US" altLang="zh-CN" sz="1600" b="1" dirty="0" smtClean="0">
              <a:solidFill>
                <a:srgbClr val="000000"/>
              </a:solidFill>
              <a:cs typeface="+mn-ea"/>
            </a:endParaRPr>
          </a:p>
          <a:p>
            <a:pPr lvl="0"/>
            <a:r>
              <a:rPr lang="zh-CN" altLang="zh-CN" sz="1600" dirty="0"/>
              <a:t>电器安装后，保留电器表面的原厂贴膜，安装后使用原包装塑料袋将电器包裹，燃气灶另使用原有包装盒覆盖，塑料袋及包装盒使用胶带固定；</a:t>
            </a:r>
          </a:p>
          <a:p>
            <a:r>
              <a:rPr lang="zh-CN" altLang="zh-CN" sz="1600" dirty="0" smtClean="0"/>
              <a:t>空调</a:t>
            </a:r>
            <a:r>
              <a:rPr lang="zh-CN" altLang="zh-CN" sz="1600" dirty="0"/>
              <a:t>室内机安装完成后需用原包装膜包裹保护，避免油漆污染。</a:t>
            </a: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pic>
        <p:nvPicPr>
          <p:cNvPr id="53250" name="图片 7"/>
          <p:cNvPicPr>
            <a:picLocks noChangeAspect="1" noChangeArrowheads="1"/>
          </p:cNvPicPr>
          <p:nvPr/>
        </p:nvPicPr>
        <p:blipFill>
          <a:blip r:embed="rId2"/>
          <a:stretch>
            <a:fillRect/>
          </a:stretch>
        </p:blipFill>
        <p:spPr bwMode="auto">
          <a:xfrm>
            <a:off x="1619885" y="2638218"/>
            <a:ext cx="4001800" cy="288825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53249" name="图片 28"/>
          <p:cNvPicPr>
            <a:picLocks noChangeAspect="1" noChangeArrowheads="1"/>
          </p:cNvPicPr>
          <p:nvPr/>
        </p:nvPicPr>
        <p:blipFill>
          <a:blip r:embed="rId3"/>
          <a:stretch>
            <a:fillRect/>
          </a:stretch>
        </p:blipFill>
        <p:spPr bwMode="auto">
          <a:xfrm>
            <a:off x="5868357" y="2638218"/>
            <a:ext cx="4341242" cy="288825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4" name="Rectangle 4"/>
          <p:cNvSpPr>
            <a:spLocks noChangeArrowheads="1"/>
          </p:cNvSpPr>
          <p:nvPr/>
        </p:nvSpPr>
        <p:spPr bwMode="auto">
          <a:xfrm>
            <a:off x="0" y="203835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9"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电器 </a:t>
            </a:r>
            <a:endParaRPr lang="zh-CN" altLang="en-US" sz="1800" b="1" dirty="0" smtClean="0">
              <a:solidFill>
                <a:srgbClr val="000000"/>
              </a:solidFill>
              <a:cs typeface="+mn-ea"/>
              <a:sym typeface="+mn-ea"/>
            </a:endParaRPr>
          </a:p>
        </p:txBody>
      </p:sp>
      <p:sp>
        <p:nvSpPr>
          <p:cNvPr id="7"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287" y="1206500"/>
            <a:ext cx="11305256" cy="5262245"/>
          </a:xfrm>
          <a:prstGeom prst="rect">
            <a:avLst/>
          </a:prstGeom>
          <a:solidFill>
            <a:schemeClr val="bg1"/>
          </a:solidFill>
        </p:spPr>
        <p:txBody>
          <a:bodyPr wrap="square" rtlCol="0">
            <a:spAutoFit/>
          </a:bodyPr>
          <a:lstStyle/>
          <a:p>
            <a:pPr lvl="0"/>
            <a:endParaRPr lang="en-US" altLang="zh-CN" sz="1600" b="1" dirty="0" smtClean="0">
              <a:solidFill>
                <a:srgbClr val="000000"/>
              </a:solidFill>
              <a:cs typeface="+mn-ea"/>
            </a:endParaRPr>
          </a:p>
          <a:p>
            <a:pPr lvl="0"/>
            <a:r>
              <a:rPr lang="zh-CN" altLang="en-US" sz="1600" dirty="0" smtClean="0"/>
              <a:t>铺装</a:t>
            </a:r>
            <a:r>
              <a:rPr lang="zh-CN" altLang="zh-CN" sz="1600" dirty="0" smtClean="0"/>
              <a:t>完成</a:t>
            </a:r>
            <a:r>
              <a:rPr lang="en-US" altLang="zh-CN" sz="1600" dirty="0"/>
              <a:t>24</a:t>
            </a:r>
            <a:r>
              <a:rPr lang="zh-CN" altLang="zh-CN" sz="1600" dirty="0"/>
              <a:t>小时内</a:t>
            </a:r>
            <a:r>
              <a:rPr lang="zh-CN" altLang="zh-CN" sz="1600" dirty="0" smtClean="0"/>
              <a:t>，</a:t>
            </a:r>
            <a:r>
              <a:rPr lang="zh-CN" altLang="en-US" sz="1600" dirty="0"/>
              <a:t>责任</a:t>
            </a:r>
            <a:r>
              <a:rPr lang="zh-CN" altLang="zh-CN" sz="1600" dirty="0" smtClean="0"/>
              <a:t>单位</a:t>
            </a:r>
            <a:r>
              <a:rPr lang="zh-CN" altLang="zh-CN" sz="1600" dirty="0"/>
              <a:t>需</a:t>
            </a:r>
            <a:r>
              <a:rPr lang="zh-CN" altLang="zh-CN" sz="1600" dirty="0" smtClean="0"/>
              <a:t>对</a:t>
            </a:r>
            <a:r>
              <a:rPr lang="zh-CN" altLang="en-US" sz="1600" dirty="0" smtClean="0"/>
              <a:t>已完成地面</a:t>
            </a:r>
            <a:r>
              <a:rPr lang="zh-CN" altLang="zh-CN" sz="1600" dirty="0" smtClean="0"/>
              <a:t>进行</a:t>
            </a:r>
            <a:r>
              <a:rPr lang="zh-CN" altLang="zh-CN" sz="1600" dirty="0"/>
              <a:t>成品保护，具体保护做法如下、参考下图：</a:t>
            </a:r>
          </a:p>
          <a:p>
            <a:pPr lvl="0"/>
            <a:r>
              <a:rPr lang="zh-CN" altLang="zh-CN" sz="1600" dirty="0"/>
              <a:t>基层满铺木地板防潮垫或防潮膜、搭接部位透明胶带固定；</a:t>
            </a:r>
          </a:p>
          <a:p>
            <a:pPr lvl="0"/>
            <a:r>
              <a:rPr lang="zh-CN" altLang="zh-CN" sz="1600" dirty="0"/>
              <a:t>表面满铺</a:t>
            </a:r>
            <a:r>
              <a:rPr lang="en-US" altLang="zh-CN" sz="1600" dirty="0"/>
              <a:t>3mm</a:t>
            </a:r>
            <a:r>
              <a:rPr lang="zh-CN" altLang="zh-CN" sz="1600" dirty="0"/>
              <a:t>厚密度板或三层瓦楞纸板满铺保护，搭接部位透明胶带固定，门槛石周边的木地板需着重全封闭覆盖保护；</a:t>
            </a:r>
          </a:p>
          <a:p>
            <a:pPr lvl="0"/>
            <a:r>
              <a:rPr lang="zh-CN" altLang="zh-CN" sz="1600" dirty="0" smtClean="0"/>
              <a:t>进入已</a:t>
            </a:r>
            <a:r>
              <a:rPr lang="zh-CN" altLang="en-US" sz="1600" dirty="0" smtClean="0"/>
              <a:t>完成面</a:t>
            </a:r>
            <a:r>
              <a:rPr lang="zh-CN" altLang="zh-CN" sz="1600" dirty="0" smtClean="0"/>
              <a:t>区域</a:t>
            </a:r>
            <a:r>
              <a:rPr lang="zh-CN" altLang="zh-CN" sz="1600" dirty="0"/>
              <a:t>施工，梯子、凳子等脚座需采用柔性材料包裹，禁止在地面拖拉移动；</a:t>
            </a:r>
          </a:p>
          <a:p>
            <a:r>
              <a:rPr lang="zh-CN" altLang="en-US" sz="1600" dirty="0" smtClean="0"/>
              <a:t>地铺完成</a:t>
            </a:r>
            <a:r>
              <a:rPr lang="zh-CN" altLang="zh-CN" sz="1600" dirty="0" smtClean="0"/>
              <a:t>后</a:t>
            </a:r>
            <a:r>
              <a:rPr lang="zh-CN" altLang="zh-CN" sz="1600" dirty="0"/>
              <a:t>，禁止斗车、平板车等材料运输工具进入室内，避免破坏地面。</a:t>
            </a:r>
            <a:endParaRPr lang="en-US" altLang="zh-CN" sz="1600" dirty="0">
              <a:solidFill>
                <a:srgbClr val="000000"/>
              </a:solidFill>
              <a:latin typeface="+mn-ea"/>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sp>
        <p:nvSpPr>
          <p:cNvPr id="3" name="Rectangle 3"/>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4" name="Rectangle 4"/>
          <p:cNvSpPr>
            <a:spLocks noChangeArrowheads="1"/>
          </p:cNvSpPr>
          <p:nvPr/>
        </p:nvSpPr>
        <p:spPr bwMode="auto">
          <a:xfrm>
            <a:off x="0" y="203835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9" name="Picture 1" descr="D:\用户目录\我的文档\Tencent Files\1766021569\Image\C2C\43FAA7B2A93A47C7FAE4F6BD4A16EBB6.jpg"/>
          <p:cNvPicPr>
            <a:picLocks noChangeAspect="1" noChangeArrowheads="1"/>
          </p:cNvPicPr>
          <p:nvPr/>
        </p:nvPicPr>
        <p:blipFill>
          <a:blip r:embed="rId2"/>
          <a:stretch>
            <a:fillRect/>
          </a:stretch>
        </p:blipFill>
        <p:spPr bwMode="auto">
          <a:xfrm>
            <a:off x="6805184" y="3151386"/>
            <a:ext cx="1727721" cy="2722423"/>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2467" name="图片 1"/>
          <p:cNvPicPr>
            <a:picLocks noChangeAspect="1" noChangeArrowheads="1"/>
          </p:cNvPicPr>
          <p:nvPr/>
        </p:nvPicPr>
        <p:blipFill>
          <a:blip r:embed="rId3"/>
          <a:stretch>
            <a:fillRect/>
          </a:stretch>
        </p:blipFill>
        <p:spPr bwMode="auto">
          <a:xfrm>
            <a:off x="540777" y="3151386"/>
            <a:ext cx="2883448" cy="215957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2466" name="图片 19"/>
          <p:cNvPicPr>
            <a:picLocks noChangeAspect="1" noChangeArrowheads="1"/>
          </p:cNvPicPr>
          <p:nvPr/>
        </p:nvPicPr>
        <p:blipFill>
          <a:blip r:embed="rId4"/>
          <a:stretch>
            <a:fillRect/>
          </a:stretch>
        </p:blipFill>
        <p:spPr bwMode="auto">
          <a:xfrm>
            <a:off x="3685584" y="3151386"/>
            <a:ext cx="2871769" cy="215957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2465" name="图片 33"/>
          <p:cNvPicPr>
            <a:picLocks noChangeAspect="1" noChangeArrowheads="1"/>
          </p:cNvPicPr>
          <p:nvPr/>
        </p:nvPicPr>
        <p:blipFill>
          <a:blip r:embed="rId5"/>
          <a:stretch>
            <a:fillRect/>
          </a:stretch>
        </p:blipFill>
        <p:spPr bwMode="auto">
          <a:xfrm>
            <a:off x="8762729" y="3151386"/>
            <a:ext cx="2925235" cy="215957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Rectangle 5"/>
          <p:cNvSpPr>
            <a:spLocks noChangeArrowheads="1"/>
          </p:cNvSpPr>
          <p:nvPr/>
        </p:nvSpPr>
        <p:spPr bwMode="auto">
          <a:xfrm>
            <a:off x="1383670" y="5481394"/>
            <a:ext cx="435313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zh-CN" sz="1000" b="0" i="0" u="none" strike="noStrike" cap="none" normalizeH="0" baseline="0" dirty="0" smtClean="0">
                <a:ln>
                  <a:noFill/>
                </a:ln>
                <a:solidFill>
                  <a:schemeClr val="tx1"/>
                </a:solidFill>
                <a:effectLst/>
                <a:latin typeface="Calibri" panose="020F0502020204030204" charset="0"/>
                <a:ea typeface="宋体" panose="02010600030101010101" pitchFamily="2" charset="-122"/>
                <a:cs typeface="Times New Roman" panose="02020603050405020304" pitchFamily="18" charset="0"/>
              </a:rPr>
              <a:t>基层保护</a:t>
            </a:r>
            <a:r>
              <a:rPr kumimoji="0" lang="zh-CN" altLang="en-US" sz="1000" b="0" i="0" u="none" strike="noStrike" cap="none" normalizeH="0" baseline="0" dirty="0" smtClean="0">
                <a:ln>
                  <a:noFill/>
                </a:ln>
                <a:solidFill>
                  <a:schemeClr val="tx1"/>
                </a:solidFill>
                <a:effectLst/>
                <a:latin typeface="Calibri" panose="020F0502020204030204" charset="0"/>
                <a:ea typeface="宋体" panose="02010600030101010101" pitchFamily="2" charset="-122"/>
                <a:cs typeface="Times New Roman" panose="02020603050405020304" pitchFamily="18" charset="0"/>
              </a:rPr>
              <a:t>                                                                                  面层保护</a:t>
            </a:r>
            <a:endParaRPr kumimoji="0" lang="zh-CN" altLang="en-US" sz="11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zh-CN" sz="1800" b="0" i="0" u="none" strike="noStrike" cap="none" normalizeH="0" baseline="0" dirty="0" smtClean="0">
                <a:ln>
                  <a:noFill/>
                </a:ln>
                <a:solidFill>
                  <a:schemeClr val="tx1"/>
                </a:solidFill>
                <a:effectLst/>
                <a:latin typeface="Arial" panose="020B0604020202020204" pitchFamily="34" charset="0"/>
              </a:rPr>
              <a:t> </a:t>
            </a:r>
            <a:endParaRPr kumimoji="0" lang="zh-CN"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 name="Rectangle 6"/>
          <p:cNvSpPr>
            <a:spLocks noChangeArrowheads="1"/>
          </p:cNvSpPr>
          <p:nvPr/>
        </p:nvSpPr>
        <p:spPr bwMode="auto">
          <a:xfrm>
            <a:off x="9613532" y="5612199"/>
            <a:ext cx="1080119"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木踏步成品保护</a:t>
            </a:r>
            <a:r>
              <a:rPr kumimoji="0" lang="zh-CN" altLang="en-US" sz="1100" b="0" i="0" u="none" strike="noStrike" cap="none" normalizeH="0" baseline="0" dirty="0" smtClean="0">
                <a:ln>
                  <a:noFill/>
                </a:ln>
                <a:solidFill>
                  <a:schemeClr val="tx1"/>
                </a:solidFill>
                <a:effectLst/>
              </a:rPr>
              <a:t> </a:t>
            </a:r>
            <a:endParaRPr kumimoji="0" lang="zh-CN"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地砖保护 </a:t>
            </a:r>
            <a:endParaRPr lang="zh-CN" altLang="en-US" sz="1800" b="1" dirty="0" smtClean="0">
              <a:solidFill>
                <a:srgbClr val="000000"/>
              </a:solidFill>
              <a:cs typeface="+mn-ea"/>
              <a:sym typeface="+mn-ea"/>
            </a:endParaRPr>
          </a:p>
        </p:txBody>
      </p:sp>
      <p:sp>
        <p:nvSpPr>
          <p:cNvPr id="11"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540271" y="1206500"/>
            <a:ext cx="11147693" cy="5323205"/>
          </a:xfrm>
          <a:prstGeom prst="rect">
            <a:avLst/>
          </a:prstGeom>
          <a:solidFill>
            <a:schemeClr val="bg1"/>
          </a:solidFill>
        </p:spPr>
        <p:txBody>
          <a:bodyPr wrap="square" rtlCol="0">
            <a:spAutoFit/>
          </a:bodyPr>
          <a:lstStyle/>
          <a:p>
            <a:pPr lvl="0"/>
            <a:endParaRPr lang="en-US" altLang="zh-CN" sz="1600" b="1" dirty="0" smtClean="0">
              <a:solidFill>
                <a:srgbClr val="000000"/>
              </a:solidFill>
              <a:cs typeface="+mn-ea"/>
            </a:endParaRPr>
          </a:p>
          <a:p>
            <a:pPr lvl="0" defTabSz="914400" eaLnBrk="0" fontAlgn="base" hangingPunct="0">
              <a:spcBef>
                <a:spcPct val="0"/>
              </a:spcBef>
              <a:spcAft>
                <a:spcPct val="0"/>
              </a:spcAft>
            </a:pPr>
            <a:r>
              <a:rPr lang="zh-CN" altLang="zh-CN" sz="1600" dirty="0">
                <a:latin typeface="+mn-ea"/>
                <a:cs typeface="Times New Roman" panose="02020603050405020304" pitchFamily="18" charset="0"/>
              </a:rPr>
              <a:t>安装前，材料应平放在房间地面离墙距离不小于</a:t>
            </a:r>
            <a:r>
              <a:rPr lang="en-US" altLang="zh-CN" sz="1600" dirty="0">
                <a:latin typeface="+mn-ea"/>
                <a:cs typeface="Times New Roman" panose="02020603050405020304" pitchFamily="18" charset="0"/>
              </a:rPr>
              <a:t>50cm</a:t>
            </a:r>
            <a:r>
              <a:rPr lang="zh-CN" altLang="en-US" sz="1600" dirty="0">
                <a:latin typeface="+mn-ea"/>
                <a:cs typeface="Times New Roman" panose="02020603050405020304" pitchFamily="18" charset="0"/>
              </a:rPr>
              <a:t>，以免影响墙面施工，同时避免材料靠墙堆放，以免破坏墙面装修面层；</a:t>
            </a:r>
            <a:endParaRPr lang="zh-CN" altLang="en-US" sz="2000" dirty="0">
              <a:latin typeface="+mn-ea"/>
            </a:endParaRPr>
          </a:p>
          <a:p>
            <a:pPr lvl="0" defTabSz="914400" eaLnBrk="0" fontAlgn="base" hangingPunct="0">
              <a:spcBef>
                <a:spcPct val="0"/>
              </a:spcBef>
              <a:spcAft>
                <a:spcPct val="0"/>
              </a:spcAft>
            </a:pPr>
            <a:r>
              <a:rPr lang="zh-CN" altLang="en-US" sz="1600" dirty="0">
                <a:latin typeface="+mn-ea"/>
                <a:cs typeface="Times New Roman" panose="02020603050405020304" pitchFamily="18" charset="0"/>
              </a:rPr>
              <a:t>门扇安装后，用成品瓦楞纸板满贴在门表面，用胶带固定，门框及门套线用瓦楞纸保护，高度</a:t>
            </a:r>
            <a:r>
              <a:rPr lang="en-US" altLang="zh-CN" sz="1600" dirty="0">
                <a:latin typeface="+mn-ea"/>
                <a:cs typeface="Times New Roman" panose="02020603050405020304" pitchFamily="18" charset="0"/>
              </a:rPr>
              <a:t>1.5m</a:t>
            </a:r>
            <a:r>
              <a:rPr lang="zh-CN" altLang="en-US" sz="1600" dirty="0">
                <a:latin typeface="+mn-ea"/>
                <a:cs typeface="Times New Roman" panose="02020603050405020304" pitchFamily="18" charset="0"/>
              </a:rPr>
              <a:t>；</a:t>
            </a:r>
            <a:endParaRPr lang="zh-CN" altLang="en-US" sz="2000" dirty="0">
              <a:latin typeface="+mn-ea"/>
            </a:endParaRPr>
          </a:p>
          <a:p>
            <a:pPr lvl="0" defTabSz="914400" eaLnBrk="0" fontAlgn="base" hangingPunct="0">
              <a:spcBef>
                <a:spcPct val="0"/>
              </a:spcBef>
              <a:spcAft>
                <a:spcPct val="0"/>
              </a:spcAft>
            </a:pPr>
            <a:r>
              <a:rPr lang="zh-CN" altLang="en-US" sz="1600" dirty="0">
                <a:latin typeface="+mn-ea"/>
                <a:cs typeface="Times New Roman" panose="02020603050405020304" pitchFamily="18" charset="0"/>
              </a:rPr>
              <a:t>门锁应不早于门吸安装，且门锁安装完成后，应使用珍珠棉或防潮棉将把手包裹，防止锁表面划伤或把手碰坏墙面涂料；</a:t>
            </a:r>
          </a:p>
          <a:p>
            <a:pPr lvl="0" defTabSz="914400" eaLnBrk="0" fontAlgn="base" hangingPunct="0">
              <a:spcBef>
                <a:spcPct val="0"/>
              </a:spcBef>
              <a:spcAft>
                <a:spcPct val="0"/>
              </a:spcAft>
            </a:pPr>
            <a:r>
              <a:rPr lang="zh-CN" altLang="en-US" sz="1600" dirty="0">
                <a:latin typeface="+mn-ea"/>
                <a:cs typeface="Times New Roman" panose="02020603050405020304" pitchFamily="18" charset="0"/>
              </a:rPr>
              <a:t>户内门框安装后，禁止斗车、平板车等材料运输工具进入室内，以免破坏墙面及门框。</a:t>
            </a:r>
            <a:r>
              <a:rPr lang="zh-CN" altLang="en-US" sz="2000" dirty="0">
                <a:latin typeface="+mn-ea"/>
              </a:rPr>
              <a:t> </a:t>
            </a:r>
            <a:endParaRPr lang="zh-CN" altLang="en-US" sz="3600" dirty="0">
              <a:latin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sp>
        <p:nvSpPr>
          <p:cNvPr id="3" name="Rectangle 3"/>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4" name="Rectangle 4"/>
          <p:cNvSpPr>
            <a:spLocks noChangeArrowheads="1"/>
          </p:cNvSpPr>
          <p:nvPr/>
        </p:nvSpPr>
        <p:spPr bwMode="auto">
          <a:xfrm>
            <a:off x="0" y="203835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3491" name="图片 19"/>
          <p:cNvPicPr>
            <a:picLocks noChangeAspect="1" noChangeArrowheads="1"/>
          </p:cNvPicPr>
          <p:nvPr/>
        </p:nvPicPr>
        <p:blipFill>
          <a:blip r:embed="rId2"/>
          <a:stretch>
            <a:fillRect/>
          </a:stretch>
        </p:blipFill>
        <p:spPr bwMode="auto">
          <a:xfrm>
            <a:off x="1692399" y="3116760"/>
            <a:ext cx="3163468" cy="2698252"/>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3493" name="图片 35"/>
          <p:cNvPicPr>
            <a:picLocks noChangeAspect="1" noChangeArrowheads="1"/>
          </p:cNvPicPr>
          <p:nvPr/>
        </p:nvPicPr>
        <p:blipFill>
          <a:blip r:embed="rId3"/>
          <a:stretch>
            <a:fillRect/>
          </a:stretch>
        </p:blipFill>
        <p:spPr bwMode="auto">
          <a:xfrm>
            <a:off x="7951080" y="3103107"/>
            <a:ext cx="2094247" cy="271190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19" name="图片 2" descr="DSC07910.JPG"/>
          <p:cNvPicPr>
            <a:picLocks noChangeAspect="1"/>
          </p:cNvPicPr>
          <p:nvPr/>
        </p:nvPicPr>
        <p:blipFill>
          <a:blip r:embed="rId4"/>
          <a:stretch>
            <a:fillRect/>
          </a:stretch>
        </p:blipFill>
        <p:spPr bwMode="auto">
          <a:xfrm>
            <a:off x="5228706" y="3103106"/>
            <a:ext cx="2440357" cy="271190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户内门 </a:t>
            </a:r>
            <a:endParaRPr lang="zh-CN" altLang="en-US" sz="1800" b="1" dirty="0" smtClean="0">
              <a:solidFill>
                <a:srgbClr val="000000"/>
              </a:solidFill>
              <a:cs typeface="+mn-ea"/>
              <a:sym typeface="+mn-ea"/>
            </a:endParaRPr>
          </a:p>
        </p:txBody>
      </p:sp>
      <p:sp>
        <p:nvSpPr>
          <p:cNvPr id="10"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rotWithShape="1">
          <a:blip r:embed="rId2"/>
          <a:srcRect/>
          <a:stretch>
            <a:fillRect/>
          </a:stretch>
        </p:blipFill>
        <p:spPr>
          <a:xfrm>
            <a:off x="1031240" y="2250440"/>
            <a:ext cx="3499485" cy="217360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4" name="图片 13"/>
          <p:cNvPicPr>
            <a:picLocks noChangeAspect="1"/>
          </p:cNvPicPr>
          <p:nvPr/>
        </p:nvPicPr>
        <p:blipFill>
          <a:blip r:embed="rId3"/>
          <a:srcRect/>
          <a:stretch>
            <a:fillRect/>
          </a:stretch>
        </p:blipFill>
        <p:spPr>
          <a:xfrm>
            <a:off x="4907280" y="2250440"/>
            <a:ext cx="3582670" cy="217360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2.1、</a:t>
            </a:r>
            <a:r>
              <a:rPr lang="en-US" altLang="zh-CN" sz="1800" b="1" dirty="0">
                <a:solidFill>
                  <a:srgbClr val="000000"/>
                </a:solidFill>
                <a:cs typeface="+mn-ea"/>
                <a:sym typeface="+mn-ea"/>
              </a:rPr>
              <a:t>预埋预留点位规划</a:t>
            </a:r>
            <a:r>
              <a:rPr lang="zh-CN" altLang="en-US" sz="1800" b="1" dirty="0">
                <a:solidFill>
                  <a:srgbClr val="000000"/>
                </a:solidFill>
                <a:cs typeface="+mn-ea"/>
                <a:sym typeface="+mn-ea"/>
              </a:rPr>
              <a:t>（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8" name="文本框 7"/>
          <p:cNvSpPr txBox="1"/>
          <p:nvPr/>
        </p:nvSpPr>
        <p:spPr>
          <a:xfrm>
            <a:off x="1030605" y="4832985"/>
            <a:ext cx="3500120" cy="1476375"/>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前</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原结构设计预留洗衣机及洗菜盆点位位于窗子处，橱柜完成高度高于窗台</a:t>
            </a:r>
            <a:r>
              <a:rPr lang="en-US" altLang="zh-CN" sz="1400" dirty="0" smtClean="0">
                <a:solidFill>
                  <a:srgbClr val="000000"/>
                </a:solidFill>
                <a:cs typeface="+mn-ea"/>
              </a:rPr>
              <a:t>300mm</a:t>
            </a:r>
            <a:r>
              <a:rPr lang="zh-CN" altLang="en-US" sz="1400" dirty="0" smtClean="0">
                <a:solidFill>
                  <a:srgbClr val="000000"/>
                </a:solidFill>
                <a:cs typeface="+mn-ea"/>
              </a:rPr>
              <a:t>，此方案影响窗子开启功能。</a:t>
            </a:r>
            <a:endParaRPr lang="en-US" altLang="zh-CN" sz="1400" dirty="0">
              <a:solidFill>
                <a:srgbClr val="000000"/>
              </a:solidFill>
              <a:cs typeface="+mn-ea"/>
            </a:endParaRPr>
          </a:p>
        </p:txBody>
      </p:sp>
      <p:sp>
        <p:nvSpPr>
          <p:cNvPr id="9" name="文本框 8"/>
          <p:cNvSpPr txBox="1"/>
          <p:nvPr/>
        </p:nvSpPr>
        <p:spPr>
          <a:xfrm>
            <a:off x="4907915" y="4832985"/>
            <a:ext cx="6355715" cy="829945"/>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a:t>
            </a:r>
            <a:r>
              <a:rPr lang="zh-CN" altLang="en-US" sz="1800" b="1" dirty="0">
                <a:solidFill>
                  <a:srgbClr val="000000"/>
                </a:solidFill>
                <a:cs typeface="+mn-ea"/>
              </a:rPr>
              <a:t>后</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调整洗菜盆及洗衣机位置，保证窗子使用</a:t>
            </a:r>
            <a:r>
              <a:rPr lang="zh-CN" altLang="en-US" sz="1400" dirty="0">
                <a:solidFill>
                  <a:srgbClr val="000000"/>
                </a:solidFill>
                <a:cs typeface="+mn-ea"/>
              </a:rPr>
              <a:t>功能，</a:t>
            </a:r>
            <a:r>
              <a:rPr lang="zh-CN" altLang="en-US" sz="1400" dirty="0" smtClean="0">
                <a:solidFill>
                  <a:srgbClr val="000000"/>
                </a:solidFill>
                <a:cs typeface="+mn-ea"/>
              </a:rPr>
              <a:t>规避交付风险</a:t>
            </a:r>
            <a:endParaRPr lang="en-US" altLang="zh-CN" sz="1400" dirty="0">
              <a:solidFill>
                <a:srgbClr val="000000"/>
              </a:solidFill>
              <a:cs typeface="+mn-ea"/>
            </a:endParaRPr>
          </a:p>
        </p:txBody>
      </p:sp>
      <p:sp>
        <p:nvSpPr>
          <p:cNvPr id="3" name="右箭头 2"/>
          <p:cNvSpPr/>
          <p:nvPr/>
        </p:nvSpPr>
        <p:spPr>
          <a:xfrm>
            <a:off x="2840355" y="3168015"/>
            <a:ext cx="380365" cy="2000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右箭头 14"/>
          <p:cNvSpPr/>
          <p:nvPr/>
        </p:nvSpPr>
        <p:spPr>
          <a:xfrm>
            <a:off x="6805930" y="2961640"/>
            <a:ext cx="380365" cy="2000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2232660" y="2297430"/>
            <a:ext cx="1755775" cy="1917065"/>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5963920" y="2297430"/>
            <a:ext cx="1755775" cy="107061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01801" y="2250440"/>
            <a:ext cx="2899710" cy="2174783"/>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540385" y="2713355"/>
            <a:ext cx="4703445" cy="341503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lvl="0"/>
            <a:endParaRPr lang="en-US" altLang="zh-CN" sz="1600" b="1" dirty="0" smtClean="0">
              <a:solidFill>
                <a:srgbClr val="000000"/>
              </a:solidFill>
              <a:cs typeface="+mn-ea"/>
            </a:endParaRPr>
          </a:p>
          <a:p>
            <a:pPr lvl="0"/>
            <a:r>
              <a:rPr lang="zh-CN" altLang="zh-CN" sz="1600" dirty="0"/>
              <a:t>        开关</a:t>
            </a:r>
            <a:r>
              <a:rPr lang="zh-CN" altLang="zh-CN" sz="1600" dirty="0" smtClean="0"/>
              <a:t>插座</a:t>
            </a:r>
            <a:r>
              <a:rPr lang="zh-CN" altLang="en-US" sz="1600" dirty="0" smtClean="0"/>
              <a:t>、</a:t>
            </a:r>
            <a:r>
              <a:rPr lang="zh-CN" altLang="zh-CN" sz="1600" dirty="0"/>
              <a:t>消防按钮、警铃及烟</a:t>
            </a:r>
            <a:r>
              <a:rPr lang="zh-CN" altLang="zh-CN" sz="1600" dirty="0" smtClean="0"/>
              <a:t>感</a:t>
            </a:r>
            <a:r>
              <a:rPr lang="zh-CN" altLang="en-US" sz="1600" dirty="0" smtClean="0"/>
              <a:t>、</a:t>
            </a:r>
            <a:r>
              <a:rPr lang="zh-CN" altLang="zh-CN" sz="1600" dirty="0"/>
              <a:t>喷淋管及消防</a:t>
            </a:r>
            <a:r>
              <a:rPr lang="zh-CN" altLang="zh-CN" sz="1600" dirty="0" smtClean="0"/>
              <a:t>管</a:t>
            </a:r>
            <a:r>
              <a:rPr lang="zh-CN" altLang="en-US" sz="1600" dirty="0" smtClean="0"/>
              <a:t>、</a:t>
            </a:r>
            <a:r>
              <a:rPr lang="zh-CN" altLang="zh-CN" sz="1600" dirty="0"/>
              <a:t>可视对讲机及户内强弱电配电</a:t>
            </a:r>
            <a:r>
              <a:rPr lang="zh-CN" altLang="zh-CN" sz="1600" dirty="0" smtClean="0"/>
              <a:t>箱</a:t>
            </a:r>
            <a:r>
              <a:rPr lang="zh-CN" altLang="en-US" sz="1600" dirty="0" smtClean="0"/>
              <a:t>等小电器，</a:t>
            </a:r>
            <a:r>
              <a:rPr lang="zh-CN" altLang="zh-CN" sz="1600" dirty="0" smtClean="0"/>
              <a:t>表面</a:t>
            </a:r>
            <a:r>
              <a:rPr lang="zh-CN" altLang="zh-CN" sz="1600" dirty="0"/>
              <a:t>满贴</a:t>
            </a:r>
            <a:r>
              <a:rPr lang="en-US" altLang="zh-CN" sz="1600" dirty="0"/>
              <a:t>PE</a:t>
            </a:r>
            <a:r>
              <a:rPr lang="zh-CN" altLang="zh-CN" sz="1600" dirty="0"/>
              <a:t>膜或美纹纸，若墙面还需腻子或涂料施工，面板边框四周贴美纹</a:t>
            </a:r>
            <a:r>
              <a:rPr lang="zh-CN" altLang="zh-CN" sz="1600" dirty="0" smtClean="0"/>
              <a:t>纸</a:t>
            </a:r>
            <a:r>
              <a:rPr lang="zh-CN" altLang="en-US" sz="1600" dirty="0" smtClean="0"/>
              <a:t>封闭</a:t>
            </a:r>
            <a:r>
              <a:rPr lang="zh-CN" altLang="zh-CN" sz="1600" dirty="0" smtClean="0"/>
              <a:t>保护</a:t>
            </a:r>
            <a:r>
              <a:rPr lang="zh-CN" altLang="zh-CN" sz="1600" dirty="0"/>
              <a:t>；</a:t>
            </a:r>
          </a:p>
          <a:p>
            <a:r>
              <a:rPr lang="zh-CN" altLang="zh-CN" sz="1600" dirty="0"/>
              <a:t>        灯具安装后，筒灯及射灯边框贴美纹纸保护，吸顶灯及吊杆射灯（导轨射灯）用原包装塑料袋或塑料膜保护</a:t>
            </a:r>
            <a:r>
              <a:rPr lang="zh-CN" altLang="zh-CN" sz="1600" dirty="0" smtClean="0"/>
              <a:t>。</a:t>
            </a:r>
          </a:p>
          <a:p>
            <a:endParaRPr lang="en-US" altLang="zh-CN" sz="1600" dirty="0" smtClean="0"/>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sp>
        <p:nvSpPr>
          <p:cNvPr id="4" name="Rectangle 4"/>
          <p:cNvSpPr>
            <a:spLocks noChangeArrowheads="1"/>
          </p:cNvSpPr>
          <p:nvPr/>
        </p:nvSpPr>
        <p:spPr bwMode="auto">
          <a:xfrm>
            <a:off x="0" y="203835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4514" name="图片 74"/>
          <p:cNvPicPr>
            <a:picLocks noChangeAspect="1" noChangeArrowheads="1"/>
          </p:cNvPicPr>
          <p:nvPr/>
        </p:nvPicPr>
        <p:blipFill>
          <a:blip r:embed="rId2"/>
          <a:stretch>
            <a:fillRect/>
          </a:stretch>
        </p:blipFill>
        <p:spPr bwMode="auto">
          <a:xfrm>
            <a:off x="5846688" y="2533951"/>
            <a:ext cx="2305050" cy="163830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4513" name="图片 50"/>
          <p:cNvPicPr>
            <a:picLocks noChangeAspect="1" noChangeArrowheads="1"/>
          </p:cNvPicPr>
          <p:nvPr/>
        </p:nvPicPr>
        <p:blipFill>
          <a:blip r:embed="rId3"/>
          <a:stretch>
            <a:fillRect/>
          </a:stretch>
        </p:blipFill>
        <p:spPr bwMode="auto">
          <a:xfrm>
            <a:off x="5846445" y="4425950"/>
            <a:ext cx="2305050" cy="163830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Rectangle 3"/>
          <p:cNvSpPr>
            <a:spLocks noChangeArrowheads="1"/>
          </p:cNvSpPr>
          <p:nvPr/>
        </p:nvSpPr>
        <p:spPr bwMode="auto">
          <a:xfrm>
            <a:off x="0" y="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4516" name="图片 56"/>
          <p:cNvPicPr>
            <a:picLocks noChangeAspect="1" noChangeArrowheads="1"/>
          </p:cNvPicPr>
          <p:nvPr/>
        </p:nvPicPr>
        <p:blipFill>
          <a:blip r:embed="rId4"/>
          <a:stretch>
            <a:fillRect/>
          </a:stretch>
        </p:blipFill>
        <p:spPr bwMode="auto">
          <a:xfrm>
            <a:off x="8571230" y="4425950"/>
            <a:ext cx="2517140" cy="163830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9" name="Rectangle 6"/>
          <p:cNvSpPr>
            <a:spLocks noChangeArrowheads="1"/>
          </p:cNvSpPr>
          <p:nvPr/>
        </p:nvSpPr>
        <p:spPr bwMode="auto">
          <a:xfrm>
            <a:off x="152400" y="15240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4519" name="图片 7"/>
          <p:cNvPicPr>
            <a:picLocks noChangeAspect="1" noChangeArrowheads="1"/>
          </p:cNvPicPr>
          <p:nvPr/>
        </p:nvPicPr>
        <p:blipFill>
          <a:blip r:embed="rId5"/>
          <a:stretch>
            <a:fillRect/>
          </a:stretch>
        </p:blipFill>
        <p:spPr bwMode="auto">
          <a:xfrm>
            <a:off x="8571226" y="2532449"/>
            <a:ext cx="2516905" cy="163980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rPr>
              <a:t>小电器 </a:t>
            </a:r>
            <a:endParaRPr lang="zh-CN" altLang="en-US" sz="1800" b="1" dirty="0" smtClean="0">
              <a:solidFill>
                <a:srgbClr val="000000"/>
              </a:solidFill>
              <a:cs typeface="+mn-ea"/>
              <a:sym typeface="+mn-ea"/>
            </a:endParaRPr>
          </a:p>
        </p:txBody>
      </p:sp>
      <p:sp>
        <p:nvSpPr>
          <p:cNvPr id="10"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540385" y="2856865"/>
            <a:ext cx="4685030" cy="3415030"/>
          </a:xfrm>
          <a:prstGeom prst="rect">
            <a:avLst/>
          </a:prstGeom>
          <a:solidFill>
            <a:schemeClr val="bg1"/>
          </a:solidFill>
        </p:spPr>
        <p:txBody>
          <a:bodyPr wrap="square" rtlCol="0">
            <a:spAutoFit/>
          </a:bodyPr>
          <a:lstStyle/>
          <a:p>
            <a:pPr lvl="0"/>
            <a:endParaRPr lang="en-US" altLang="zh-CN" sz="1600" b="1" dirty="0" smtClean="0">
              <a:solidFill>
                <a:srgbClr val="000000"/>
              </a:solidFill>
              <a:cs typeface="+mn-ea"/>
            </a:endParaRPr>
          </a:p>
          <a:p>
            <a:pPr lvl="0"/>
            <a:r>
              <a:rPr lang="zh-CN" altLang="zh-CN" sz="1600" dirty="0"/>
              <a:t>       淋浴花洒、龙头及毛巾架、厕纸架等五金龙头安装后，使用原包装塑料袋包裹，透明胶带固定。</a:t>
            </a:r>
            <a:endParaRPr lang="en-US" altLang="zh-CN" sz="1600" b="1" dirty="0" smtClean="0">
              <a:solidFill>
                <a:srgbClr val="000000"/>
              </a:solidFill>
              <a:cs typeface="+mn-ea"/>
            </a:endParaRPr>
          </a:p>
          <a:p>
            <a:pPr>
              <a:lnSpc>
                <a:spcPct val="150000"/>
              </a:lnSpc>
            </a:pPr>
            <a:r>
              <a:rPr lang="zh-CN" altLang="zh-CN" sz="1600" dirty="0"/>
              <a:t>       坐便器安装完成后，使用原包装塑料袋及防潮垫将马桶盖及马桶包裹、并用胶带封闭，避免马桶盖被打开使用，然后用纸箱外包。后续施工过程中禁止在保护纸及外箱上面堆放材料，禁止把保护纸、箱移作他用，禁止工人直接站在马桶盖上作业。</a:t>
            </a: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减少磕碰划损</a:t>
            </a:r>
            <a:endParaRPr lang="en-US" altLang="zh-CN" sz="1600" b="1" dirty="0">
              <a:solidFill>
                <a:srgbClr val="000000"/>
              </a:solidFill>
              <a:cs typeface="+mn-ea"/>
            </a:endParaRPr>
          </a:p>
        </p:txBody>
      </p:sp>
      <p:sp>
        <p:nvSpPr>
          <p:cNvPr id="3" name="Rectangle 3"/>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7" name="Rectangle 4"/>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8" name="Rectangle 3"/>
          <p:cNvSpPr>
            <a:spLocks noChangeArrowheads="1"/>
          </p:cNvSpPr>
          <p:nvPr/>
        </p:nvSpPr>
        <p:spPr bwMode="auto">
          <a:xfrm>
            <a:off x="0" y="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9" name="Rectangle 6"/>
          <p:cNvSpPr>
            <a:spLocks noChangeArrowheads="1"/>
          </p:cNvSpPr>
          <p:nvPr/>
        </p:nvSpPr>
        <p:spPr bwMode="auto">
          <a:xfrm>
            <a:off x="152400" y="15240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5539" name="图片 10"/>
          <p:cNvPicPr>
            <a:picLocks noChangeAspect="1" noChangeArrowheads="1"/>
          </p:cNvPicPr>
          <p:nvPr/>
        </p:nvPicPr>
        <p:blipFill>
          <a:blip r:embed="rId2"/>
          <a:stretch>
            <a:fillRect/>
          </a:stretch>
        </p:blipFill>
        <p:spPr bwMode="auto">
          <a:xfrm>
            <a:off x="5872480" y="2821305"/>
            <a:ext cx="1604010" cy="157099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5538" name="图片 13"/>
          <p:cNvPicPr>
            <a:picLocks noChangeAspect="1" noChangeArrowheads="1"/>
          </p:cNvPicPr>
          <p:nvPr/>
        </p:nvPicPr>
        <p:blipFill>
          <a:blip r:embed="rId3"/>
          <a:stretch>
            <a:fillRect/>
          </a:stretch>
        </p:blipFill>
        <p:spPr bwMode="auto">
          <a:xfrm>
            <a:off x="7757795" y="2821305"/>
            <a:ext cx="1458595" cy="157099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5537" name="图片 32"/>
          <p:cNvPicPr>
            <a:picLocks noChangeAspect="1" noChangeArrowheads="1"/>
          </p:cNvPicPr>
          <p:nvPr/>
        </p:nvPicPr>
        <p:blipFill>
          <a:blip r:embed="rId4"/>
          <a:stretch>
            <a:fillRect/>
          </a:stretch>
        </p:blipFill>
        <p:spPr bwMode="auto">
          <a:xfrm>
            <a:off x="9506585" y="2821305"/>
            <a:ext cx="1734017" cy="159639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0" name="Rectangle 4"/>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5542" name="图片 4"/>
          <p:cNvPicPr>
            <a:picLocks noChangeAspect="1" noChangeArrowheads="1"/>
          </p:cNvPicPr>
          <p:nvPr/>
        </p:nvPicPr>
        <p:blipFill>
          <a:blip r:embed="rId5"/>
          <a:stretch>
            <a:fillRect/>
          </a:stretch>
        </p:blipFill>
        <p:spPr bwMode="auto">
          <a:xfrm>
            <a:off x="5872450" y="4629236"/>
            <a:ext cx="2333625" cy="161925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5543" name="图片 7"/>
          <p:cNvPicPr>
            <a:picLocks noChangeAspect="1" noChangeArrowheads="1"/>
          </p:cNvPicPr>
          <p:nvPr/>
        </p:nvPicPr>
        <p:blipFill>
          <a:blip r:embed="rId6"/>
          <a:stretch>
            <a:fillRect/>
          </a:stretch>
        </p:blipFill>
        <p:spPr bwMode="auto">
          <a:xfrm>
            <a:off x="8854787" y="4629236"/>
            <a:ext cx="2385759" cy="161925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sym typeface="+mn-ea"/>
              </a:rPr>
              <a:t>小五金、洁具</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3781" y="1206500"/>
            <a:ext cx="11147693" cy="5262245"/>
          </a:xfrm>
          <a:prstGeom prst="rect">
            <a:avLst/>
          </a:prstGeom>
          <a:solidFill>
            <a:schemeClr val="bg1"/>
          </a:solidFill>
        </p:spPr>
        <p:txBody>
          <a:bodyPr wrap="square" rtlCol="0">
            <a:spAutoFit/>
          </a:bodyPr>
          <a:lstStyle/>
          <a:p>
            <a:pPr lvl="0"/>
            <a:endParaRPr lang="en-US" altLang="zh-CN" sz="1600" b="1" dirty="0" smtClean="0">
              <a:solidFill>
                <a:srgbClr val="000000"/>
              </a:solidFill>
              <a:cs typeface="+mn-ea"/>
            </a:endParaRPr>
          </a:p>
          <a:p>
            <a:pPr lvl="0"/>
            <a:endParaRPr lang="en-US" altLang="zh-CN" sz="1600" dirty="0" smtClean="0"/>
          </a:p>
          <a:p>
            <a:pPr lvl="0"/>
            <a:r>
              <a:rPr lang="zh-CN" altLang="en-US" sz="1600" dirty="0" smtClean="0"/>
              <a:t>给排水管口</a:t>
            </a:r>
            <a:r>
              <a:rPr lang="zh-CN" altLang="zh-CN" sz="1600" dirty="0" smtClean="0"/>
              <a:t>，</a:t>
            </a:r>
            <a:r>
              <a:rPr lang="zh-CN" altLang="en-US" sz="1600" dirty="0" smtClean="0"/>
              <a:t>精装开始前</a:t>
            </a:r>
            <a:r>
              <a:rPr lang="zh-CN" altLang="zh-CN" sz="1600" dirty="0" smtClean="0"/>
              <a:t>需</a:t>
            </a:r>
            <a:r>
              <a:rPr lang="zh-CN" altLang="zh-CN" sz="1600" dirty="0"/>
              <a:t>对排水管口使用专用塑料盖或胶带封闭保护</a:t>
            </a:r>
            <a:r>
              <a:rPr lang="zh-CN" altLang="zh-CN" sz="1600" dirty="0" smtClean="0"/>
              <a:t>，</a:t>
            </a:r>
            <a:r>
              <a:rPr lang="zh-CN" altLang="en-US" sz="1600" dirty="0" smtClean="0"/>
              <a:t>防止施工过程中落物堵塞。</a:t>
            </a: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强化成品保护措施，防止堵塞</a:t>
            </a:r>
            <a:endParaRPr lang="en-US" altLang="zh-CN" sz="1600" b="1" dirty="0">
              <a:solidFill>
                <a:srgbClr val="000000"/>
              </a:solidFill>
              <a:cs typeface="+mn-ea"/>
            </a:endParaRPr>
          </a:p>
        </p:txBody>
      </p:sp>
      <p:sp>
        <p:nvSpPr>
          <p:cNvPr id="3" name="Rectangle 3"/>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7" name="Rectangle 4"/>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8" name="Rectangle 3"/>
          <p:cNvSpPr>
            <a:spLocks noChangeArrowheads="1"/>
          </p:cNvSpPr>
          <p:nvPr/>
        </p:nvSpPr>
        <p:spPr bwMode="auto">
          <a:xfrm>
            <a:off x="0" y="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9" name="Rectangle 6"/>
          <p:cNvSpPr>
            <a:spLocks noChangeArrowheads="1"/>
          </p:cNvSpPr>
          <p:nvPr/>
        </p:nvSpPr>
        <p:spPr bwMode="auto">
          <a:xfrm>
            <a:off x="152400" y="15240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0" name="Rectangle 4"/>
          <p:cNvSpPr>
            <a:spLocks noChangeArrowheads="1"/>
          </p:cNvSpPr>
          <p:nvPr/>
        </p:nvSpPr>
        <p:spPr bwMode="auto">
          <a:xfrm>
            <a:off x="0" y="0"/>
            <a:ext cx="121697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1" name="Rectangle 5"/>
          <p:cNvSpPr>
            <a:spLocks noChangeArrowheads="1"/>
          </p:cNvSpPr>
          <p:nvPr/>
        </p:nvSpPr>
        <p:spPr bwMode="auto">
          <a:xfrm>
            <a:off x="0" y="3105150"/>
            <a:ext cx="121697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66562" name="图片 36"/>
          <p:cNvPicPr>
            <a:picLocks noChangeAspect="1" noChangeArrowheads="1"/>
          </p:cNvPicPr>
          <p:nvPr/>
        </p:nvPicPr>
        <p:blipFill>
          <a:blip r:embed="rId2"/>
          <a:stretch>
            <a:fillRect/>
          </a:stretch>
        </p:blipFill>
        <p:spPr bwMode="auto">
          <a:xfrm>
            <a:off x="2118705" y="2862684"/>
            <a:ext cx="3715685" cy="2482394"/>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6561" name="图片 39"/>
          <p:cNvPicPr>
            <a:picLocks noChangeAspect="1" noChangeArrowheads="1"/>
          </p:cNvPicPr>
          <p:nvPr/>
        </p:nvPicPr>
        <p:blipFill>
          <a:blip r:embed="rId3"/>
          <a:stretch>
            <a:fillRect/>
          </a:stretch>
        </p:blipFill>
        <p:spPr bwMode="auto">
          <a:xfrm>
            <a:off x="6188674" y="2862684"/>
            <a:ext cx="3707880" cy="2482394"/>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 </a:t>
            </a:r>
            <a:r>
              <a:rPr lang="zh-CN" altLang="en-US" sz="1800" b="1" dirty="0">
                <a:solidFill>
                  <a:srgbClr val="000000"/>
                </a:solidFill>
                <a:cs typeface="+mn-ea"/>
              </a:rPr>
              <a:t>成品保护</a:t>
            </a:r>
            <a:r>
              <a:rPr lang="zh-CN" altLang="en-US" sz="1800" b="1" dirty="0" smtClean="0">
                <a:solidFill>
                  <a:srgbClr val="000000"/>
                </a:solidFill>
                <a:cs typeface="+mn-ea"/>
              </a:rPr>
              <a:t> </a:t>
            </a:r>
            <a:r>
              <a:rPr lang="en-US" altLang="zh-CN" sz="1800" b="1" dirty="0" smtClean="0">
                <a:solidFill>
                  <a:srgbClr val="000000"/>
                </a:solidFill>
                <a:cs typeface="+mn-ea"/>
              </a:rPr>
              <a:t>-</a:t>
            </a:r>
            <a:r>
              <a:rPr lang="zh-CN" altLang="en-US" sz="1800" b="1" dirty="0" smtClean="0">
                <a:solidFill>
                  <a:srgbClr val="000000"/>
                </a:solidFill>
                <a:cs typeface="+mn-ea"/>
                <a:sym typeface="+mn-ea"/>
              </a:rPr>
              <a:t>排水管</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6"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Tree>
  </p:cSld>
  <p:clrMapOvr>
    <a:masterClrMapping/>
  </p:clrMapOvr>
  <p:transition>
    <p:zoom dir="in"/>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a:t>
            </a:r>
            <a:r>
              <a:rPr lang="en-US" sz="1800" b="1" dirty="0">
                <a:solidFill>
                  <a:srgbClr val="000000"/>
                </a:solidFill>
                <a:cs typeface="+mn-ea"/>
              </a:rPr>
              <a:t>3.1 </a:t>
            </a:r>
            <a:r>
              <a:rPr lang="zh-CN" altLang="en-US" sz="1800" b="1" dirty="0">
                <a:solidFill>
                  <a:srgbClr val="000000"/>
                </a:solidFill>
                <a:cs typeface="+mn-ea"/>
              </a:rPr>
              <a:t>成品保护验收单</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graphicFrame>
        <p:nvGraphicFramePr>
          <p:cNvPr id="2" name="表格 1"/>
          <p:cNvGraphicFramePr/>
          <p:nvPr/>
        </p:nvGraphicFramePr>
        <p:xfrm>
          <a:off x="753745" y="1494790"/>
          <a:ext cx="10857230" cy="4749800"/>
        </p:xfrm>
        <a:graphic>
          <a:graphicData uri="http://schemas.openxmlformats.org/drawingml/2006/table">
            <a:tbl>
              <a:tblPr firstRow="1" bandRow="1">
                <a:tableStyleId>{5C22544A-7EE6-4342-B048-85BDC9FD1C3A}</a:tableStyleId>
              </a:tblPr>
              <a:tblGrid>
                <a:gridCol w="528320">
                  <a:extLst>
                    <a:ext uri="{9D8B030D-6E8A-4147-A177-3AD203B41FA5}">
                      <a16:colId xmlns:a16="http://schemas.microsoft.com/office/drawing/2014/main" val="20000"/>
                    </a:ext>
                  </a:extLst>
                </a:gridCol>
                <a:gridCol w="382905">
                  <a:extLst>
                    <a:ext uri="{9D8B030D-6E8A-4147-A177-3AD203B41FA5}">
                      <a16:colId xmlns:a16="http://schemas.microsoft.com/office/drawing/2014/main" val="20001"/>
                    </a:ext>
                  </a:extLst>
                </a:gridCol>
                <a:gridCol w="499110">
                  <a:extLst>
                    <a:ext uri="{9D8B030D-6E8A-4147-A177-3AD203B41FA5}">
                      <a16:colId xmlns:a16="http://schemas.microsoft.com/office/drawing/2014/main" val="20002"/>
                    </a:ext>
                  </a:extLst>
                </a:gridCol>
                <a:gridCol w="443865">
                  <a:extLst>
                    <a:ext uri="{9D8B030D-6E8A-4147-A177-3AD203B41FA5}">
                      <a16:colId xmlns:a16="http://schemas.microsoft.com/office/drawing/2014/main" val="20003"/>
                    </a:ext>
                  </a:extLst>
                </a:gridCol>
                <a:gridCol w="431800">
                  <a:extLst>
                    <a:ext uri="{9D8B030D-6E8A-4147-A177-3AD203B41FA5}">
                      <a16:colId xmlns:a16="http://schemas.microsoft.com/office/drawing/2014/main" val="20004"/>
                    </a:ext>
                  </a:extLst>
                </a:gridCol>
                <a:gridCol w="452755">
                  <a:extLst>
                    <a:ext uri="{9D8B030D-6E8A-4147-A177-3AD203B41FA5}">
                      <a16:colId xmlns:a16="http://schemas.microsoft.com/office/drawing/2014/main" val="20005"/>
                    </a:ext>
                  </a:extLst>
                </a:gridCol>
                <a:gridCol w="450215">
                  <a:extLst>
                    <a:ext uri="{9D8B030D-6E8A-4147-A177-3AD203B41FA5}">
                      <a16:colId xmlns:a16="http://schemas.microsoft.com/office/drawing/2014/main" val="20006"/>
                    </a:ext>
                  </a:extLst>
                </a:gridCol>
                <a:gridCol w="485140">
                  <a:extLst>
                    <a:ext uri="{9D8B030D-6E8A-4147-A177-3AD203B41FA5}">
                      <a16:colId xmlns:a16="http://schemas.microsoft.com/office/drawing/2014/main" val="20007"/>
                    </a:ext>
                  </a:extLst>
                </a:gridCol>
                <a:gridCol w="483870">
                  <a:extLst>
                    <a:ext uri="{9D8B030D-6E8A-4147-A177-3AD203B41FA5}">
                      <a16:colId xmlns:a16="http://schemas.microsoft.com/office/drawing/2014/main" val="20008"/>
                    </a:ext>
                  </a:extLst>
                </a:gridCol>
                <a:gridCol w="474345">
                  <a:extLst>
                    <a:ext uri="{9D8B030D-6E8A-4147-A177-3AD203B41FA5}">
                      <a16:colId xmlns:a16="http://schemas.microsoft.com/office/drawing/2014/main" val="20009"/>
                    </a:ext>
                  </a:extLst>
                </a:gridCol>
                <a:gridCol w="495935">
                  <a:extLst>
                    <a:ext uri="{9D8B030D-6E8A-4147-A177-3AD203B41FA5}">
                      <a16:colId xmlns:a16="http://schemas.microsoft.com/office/drawing/2014/main" val="20010"/>
                    </a:ext>
                  </a:extLst>
                </a:gridCol>
                <a:gridCol w="511175">
                  <a:extLst>
                    <a:ext uri="{9D8B030D-6E8A-4147-A177-3AD203B41FA5}">
                      <a16:colId xmlns:a16="http://schemas.microsoft.com/office/drawing/2014/main" val="20011"/>
                    </a:ext>
                  </a:extLst>
                </a:gridCol>
                <a:gridCol w="563245">
                  <a:extLst>
                    <a:ext uri="{9D8B030D-6E8A-4147-A177-3AD203B41FA5}">
                      <a16:colId xmlns:a16="http://schemas.microsoft.com/office/drawing/2014/main" val="20012"/>
                    </a:ext>
                  </a:extLst>
                </a:gridCol>
                <a:gridCol w="528955">
                  <a:extLst>
                    <a:ext uri="{9D8B030D-6E8A-4147-A177-3AD203B41FA5}">
                      <a16:colId xmlns:a16="http://schemas.microsoft.com/office/drawing/2014/main" val="20013"/>
                    </a:ext>
                  </a:extLst>
                </a:gridCol>
                <a:gridCol w="499745">
                  <a:extLst>
                    <a:ext uri="{9D8B030D-6E8A-4147-A177-3AD203B41FA5}">
                      <a16:colId xmlns:a16="http://schemas.microsoft.com/office/drawing/2014/main" val="20014"/>
                    </a:ext>
                  </a:extLst>
                </a:gridCol>
                <a:gridCol w="558800">
                  <a:extLst>
                    <a:ext uri="{9D8B030D-6E8A-4147-A177-3AD203B41FA5}">
                      <a16:colId xmlns:a16="http://schemas.microsoft.com/office/drawing/2014/main" val="20015"/>
                    </a:ext>
                  </a:extLst>
                </a:gridCol>
                <a:gridCol w="554990">
                  <a:extLst>
                    <a:ext uri="{9D8B030D-6E8A-4147-A177-3AD203B41FA5}">
                      <a16:colId xmlns:a16="http://schemas.microsoft.com/office/drawing/2014/main" val="20016"/>
                    </a:ext>
                  </a:extLst>
                </a:gridCol>
                <a:gridCol w="515620">
                  <a:extLst>
                    <a:ext uri="{9D8B030D-6E8A-4147-A177-3AD203B41FA5}">
                      <a16:colId xmlns:a16="http://schemas.microsoft.com/office/drawing/2014/main" val="20017"/>
                    </a:ext>
                  </a:extLst>
                </a:gridCol>
                <a:gridCol w="473710">
                  <a:extLst>
                    <a:ext uri="{9D8B030D-6E8A-4147-A177-3AD203B41FA5}">
                      <a16:colId xmlns:a16="http://schemas.microsoft.com/office/drawing/2014/main" val="20018"/>
                    </a:ext>
                  </a:extLst>
                </a:gridCol>
                <a:gridCol w="1522730">
                  <a:extLst>
                    <a:ext uri="{9D8B030D-6E8A-4147-A177-3AD203B41FA5}">
                      <a16:colId xmlns:a16="http://schemas.microsoft.com/office/drawing/2014/main" val="20019"/>
                    </a:ext>
                  </a:extLst>
                </a:gridCol>
              </a:tblGrid>
              <a:tr h="337820">
                <a:tc gridSpan="5">
                  <a:txBody>
                    <a:bodyPr/>
                    <a:lstStyle/>
                    <a:p>
                      <a:pPr indent="0">
                        <a:buNone/>
                      </a:pPr>
                      <a:r>
                        <a:rPr lang="zh-CN" sz="1400" b="1">
                          <a:solidFill>
                            <a:srgbClr val="000000"/>
                          </a:solidFill>
                          <a:latin typeface="+mn-ea"/>
                        </a:rPr>
                        <a:t>工程名称：</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sz="1400" b="1">
                          <a:solidFill>
                            <a:srgbClr val="000000"/>
                          </a:solidFill>
                          <a:latin typeface="+mn-ea"/>
                        </a:rPr>
                        <a:t>楼栋：</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6">
                  <a:txBody>
                    <a:bodyPr/>
                    <a:lstStyle/>
                    <a:p>
                      <a:pPr indent="0" algn="ctr">
                        <a:buNone/>
                      </a:pPr>
                      <a:r>
                        <a:rPr lang="zh-CN" sz="1400" b="1">
                          <a:solidFill>
                            <a:srgbClr val="000000"/>
                          </a:solidFill>
                          <a:latin typeface="+mn-ea"/>
                        </a:rPr>
                        <a:t>楼层：</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4">
                  <a:txBody>
                    <a:bodyPr/>
                    <a:lstStyle/>
                    <a:p>
                      <a:pPr indent="0">
                        <a:buNone/>
                      </a:pPr>
                      <a:r>
                        <a:rPr lang="zh-CN" sz="1400" b="1">
                          <a:solidFill>
                            <a:srgbClr val="000000"/>
                          </a:solidFill>
                          <a:latin typeface="+mn-ea"/>
                        </a:rPr>
                        <a:t>房间：</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buNone/>
                      </a:pPr>
                      <a:r>
                        <a:rPr lang="zh-CN" sz="1400" b="1">
                          <a:solidFill>
                            <a:srgbClr val="000000"/>
                          </a:solidFill>
                          <a:latin typeface="+mn-ea"/>
                        </a:rPr>
                        <a:t>施工单位：</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304800">
                <a:tc rowSpan="2" gridSpan="2">
                  <a:txBody>
                    <a:bodyPr/>
                    <a:lstStyle/>
                    <a:p>
                      <a:pPr indent="0" algn="ctr">
                        <a:buNone/>
                      </a:pPr>
                      <a:r>
                        <a:rPr lang="zh-CN" sz="1400" b="1">
                          <a:solidFill>
                            <a:srgbClr val="000000"/>
                          </a:solidFill>
                          <a:latin typeface="+mn-ea"/>
                        </a:rPr>
                        <a:t>验收情况</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tcPr>
                </a:tc>
                <a:tc gridSpan="3">
                  <a:txBody>
                    <a:bodyPr/>
                    <a:lstStyle/>
                    <a:p>
                      <a:pPr indent="0" algn="ctr">
                        <a:buNone/>
                      </a:pPr>
                      <a:r>
                        <a:rPr lang="zh-CN" sz="1400" b="1">
                          <a:solidFill>
                            <a:srgbClr val="000000"/>
                          </a:solidFill>
                          <a:latin typeface="+mn-ea"/>
                        </a:rPr>
                        <a:t>公共区域</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400" b="1">
                          <a:solidFill>
                            <a:srgbClr val="000000"/>
                          </a:solidFill>
                          <a:latin typeface="+mn-ea"/>
                        </a:rPr>
                        <a:t>入户门</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6">
                  <a:txBody>
                    <a:bodyPr/>
                    <a:lstStyle/>
                    <a:p>
                      <a:pPr indent="0" algn="ctr">
                        <a:buNone/>
                      </a:pPr>
                      <a:r>
                        <a:rPr lang="zh-CN" sz="1400" b="1">
                          <a:solidFill>
                            <a:srgbClr val="000000"/>
                          </a:solidFill>
                          <a:latin typeface="+mn-ea"/>
                        </a:rPr>
                        <a:t>客厅、卧室</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5">
                  <a:txBody>
                    <a:bodyPr/>
                    <a:lstStyle/>
                    <a:p>
                      <a:pPr indent="0" algn="ctr">
                        <a:buNone/>
                      </a:pPr>
                      <a:r>
                        <a:rPr lang="zh-CN" sz="1400" b="1">
                          <a:solidFill>
                            <a:srgbClr val="000000"/>
                          </a:solidFill>
                          <a:latin typeface="+mn-ea"/>
                        </a:rPr>
                        <a:t>厨房、卫生间</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400" b="1">
                          <a:solidFill>
                            <a:srgbClr val="000000"/>
                          </a:solidFill>
                          <a:latin typeface="+mn-ea"/>
                        </a:rPr>
                        <a:t>备注</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59130">
                <a:tc gridSpan="2" vMerge="1">
                  <a:txBody>
                    <a:bodyPr/>
                    <a:lstStyle/>
                    <a:p>
                      <a:endParaRPr lang="zh-CN"/>
                    </a:p>
                  </a:txBody>
                  <a:tcPr>
                    <a:lnL w="15240" cap="flat" cmpd="sng">
                      <a:solidFill>
                        <a:srgbClr val="000000"/>
                      </a:solidFill>
                      <a:prstDash val="solid"/>
                      <a:headEnd type="none" w="med" len="med"/>
                      <a:tailEnd type="none" w="med" len="med"/>
                    </a:lnL>
                    <a:lnB w="6350" cap="flat" cmpd="sng">
                      <a:solidFill>
                        <a:srgbClr val="000000"/>
                      </a:solidFill>
                      <a:prstDash val="solid"/>
                      <a:headEnd type="none" w="med" len="med"/>
                      <a:tailEnd type="none" w="med" len="med"/>
                    </a:lnB>
                  </a:tcPr>
                </a:tc>
                <a:tc hMerge="1" vMerge="1">
                  <a:txBody>
                    <a:bodyPr/>
                    <a:lstStyle/>
                    <a:p>
                      <a:endParaRPr lang="zh-CN"/>
                    </a:p>
                  </a:txBody>
                  <a:tcPr>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400" b="0">
                          <a:solidFill>
                            <a:srgbClr val="000000"/>
                          </a:solidFill>
                          <a:latin typeface="+mn-ea"/>
                        </a:rPr>
                        <a:t>墙地面</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电梯</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楼梯间</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门框</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门面</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门锁</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开关插座</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门窗</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栏杆扶手</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房间门</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电器设备</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楼梯地面</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开关插座</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房间门</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排水管口</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木作柜子</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洁具五金</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8">
                  <a:txBody>
                    <a:bodyPr/>
                    <a:lstStyle/>
                    <a:p>
                      <a:pPr indent="0">
                        <a:buNone/>
                      </a:pPr>
                      <a:r>
                        <a:rPr lang="en-US" sz="1200" b="0">
                          <a:solidFill>
                            <a:srgbClr val="000000"/>
                          </a:solidFill>
                          <a:latin typeface="+mn-ea"/>
                          <a:cs typeface="+mn-ea"/>
                        </a:rPr>
                        <a:t>精装施工过程中，明确各分包作业面及作业内容，严格要求各分包单位及时做好完成面的成品保护措施，避免施工过程中造成剐蹭损伤。</a:t>
                      </a:r>
                    </a:p>
                    <a:p>
                      <a:pPr indent="0">
                        <a:buNone/>
                      </a:pPr>
                      <a:r>
                        <a:rPr lang="en-US" sz="1200" b="0">
                          <a:solidFill>
                            <a:srgbClr val="000000"/>
                          </a:solidFill>
                          <a:latin typeface="+mn-ea"/>
                          <a:cs typeface="+mn-ea"/>
                        </a:rPr>
                        <a:t>精装修工程湿作业（如：墙地砖、石材、门槛石、窗台石等）需在局部完工后48小时内完成成品保护。</a:t>
                      </a:r>
                    </a:p>
                    <a:p>
                      <a:pPr indent="0">
                        <a:buNone/>
                      </a:pPr>
                      <a:r>
                        <a:rPr lang="en-US" sz="1200" b="0">
                          <a:solidFill>
                            <a:srgbClr val="000000"/>
                          </a:solidFill>
                          <a:latin typeface="+mn-ea"/>
                          <a:cs typeface="+mn-ea"/>
                        </a:rPr>
                        <a:t>安装工程（如：五金、洁具、龙头、木饰面、木地板、收纳、橱柜等）需在局部安装完成后24小时内完成成品保护。</a:t>
                      </a:r>
                      <a:endParaRPr lang="en-US" altLang="en-US" sz="1200" b="0">
                        <a:solidFill>
                          <a:srgbClr val="000000"/>
                        </a:solidFill>
                        <a:latin typeface="+mn-ea"/>
                        <a:cs typeface="+mn-ea"/>
                      </a:endParaRPr>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95300">
                <a:tc rowSpan="2">
                  <a:txBody>
                    <a:bodyPr/>
                    <a:lstStyle/>
                    <a:p>
                      <a:pPr indent="0" algn="ctr">
                        <a:buNone/>
                      </a:pPr>
                      <a:r>
                        <a:rPr lang="zh-CN" sz="1400" b="0">
                          <a:solidFill>
                            <a:srgbClr val="000000"/>
                          </a:solidFill>
                          <a:latin typeface="+mn-ea"/>
                        </a:rPr>
                        <a:t>保护情况</a:t>
                      </a:r>
                      <a:endParaRPr lang="zh-CN"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有</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452755">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400" b="0">
                          <a:solidFill>
                            <a:srgbClr val="000000"/>
                          </a:solidFill>
                          <a:latin typeface="+mn-ea"/>
                        </a:rPr>
                        <a:t>无</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420370">
                <a:tc gridSpan="2">
                  <a:txBody>
                    <a:bodyPr/>
                    <a:lstStyle/>
                    <a:p>
                      <a:pPr indent="0" algn="ctr">
                        <a:buNone/>
                      </a:pPr>
                      <a:r>
                        <a:rPr lang="zh-CN" sz="1400" b="0">
                          <a:solidFill>
                            <a:srgbClr val="000000"/>
                          </a:solidFill>
                          <a:latin typeface="+mn-ea"/>
                        </a:rPr>
                        <a:t>整改时间</a:t>
                      </a:r>
                      <a:endParaRPr lang="zh-CN"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99415">
                <a:tc gridSpan="2">
                  <a:txBody>
                    <a:bodyPr/>
                    <a:lstStyle/>
                    <a:p>
                      <a:pPr indent="0" algn="ctr">
                        <a:buNone/>
                      </a:pPr>
                      <a:r>
                        <a:rPr lang="zh-CN" sz="1400" b="0">
                          <a:solidFill>
                            <a:srgbClr val="000000"/>
                          </a:solidFill>
                          <a:latin typeface="+mn-ea"/>
                        </a:rPr>
                        <a:t>复检情况</a:t>
                      </a:r>
                      <a:endParaRPr lang="zh-CN"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96875">
                <a:tc gridSpan="2">
                  <a:txBody>
                    <a:bodyPr/>
                    <a:lstStyle/>
                    <a:p>
                      <a:pPr indent="0" algn="ctr">
                        <a:buNone/>
                      </a:pPr>
                      <a:r>
                        <a:rPr lang="zh-CN" sz="1400" b="0">
                          <a:solidFill>
                            <a:srgbClr val="000000"/>
                          </a:solidFill>
                          <a:latin typeface="+mn-ea"/>
                        </a:rPr>
                        <a:t>备注</a:t>
                      </a:r>
                      <a:endParaRPr lang="zh-CN"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509905">
                <a:tc rowSpan="2" gridSpan="2">
                  <a:txBody>
                    <a:bodyPr/>
                    <a:lstStyle/>
                    <a:p>
                      <a:pPr indent="0" algn="ctr">
                        <a:buNone/>
                      </a:pPr>
                      <a:r>
                        <a:rPr lang="zh-CN" sz="1400" b="1">
                          <a:solidFill>
                            <a:srgbClr val="000000"/>
                          </a:solidFill>
                          <a:latin typeface="+mn-ea"/>
                        </a:rPr>
                        <a:t>验收</a:t>
                      </a:r>
                    </a:p>
                    <a:p>
                      <a:pPr indent="0" algn="ctr">
                        <a:buNone/>
                      </a:pPr>
                      <a:r>
                        <a:rPr lang="zh-CN" sz="1400" b="1">
                          <a:solidFill>
                            <a:srgbClr val="000000"/>
                          </a:solidFill>
                          <a:latin typeface="+mn-ea"/>
                        </a:rPr>
                        <a:t>会签</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rowSpan="2"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tcPr>
                </a:tc>
                <a:tc gridSpan="7">
                  <a:txBody>
                    <a:bodyPr/>
                    <a:lstStyle/>
                    <a:p>
                      <a:pPr indent="0" algn="ctr">
                        <a:buNone/>
                      </a:pPr>
                      <a:r>
                        <a:rPr lang="zh-CN" sz="1400" b="0">
                          <a:solidFill>
                            <a:srgbClr val="000000"/>
                          </a:solidFill>
                          <a:latin typeface="+mn-ea"/>
                        </a:rPr>
                        <a:t>精装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10">
                  <a:txBody>
                    <a:bodyPr/>
                    <a:lstStyle/>
                    <a:p>
                      <a:pPr indent="0" algn="ctr">
                        <a:buNone/>
                      </a:pPr>
                      <a:r>
                        <a:rPr lang="zh-CN" sz="1400" b="0">
                          <a:solidFill>
                            <a:srgbClr val="000000"/>
                          </a:solidFill>
                          <a:latin typeface="+mn-ea"/>
                        </a:rPr>
                        <a:t>甲方项目专业负责人</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487680">
                <a:tc gridSpan="2" vMerge="1">
                  <a:txBody>
                    <a:bodyPr/>
                    <a:lstStyle/>
                    <a:p>
                      <a:endParaRPr lang="zh-CN"/>
                    </a:p>
                  </a:txBody>
                  <a:tcPr>
                    <a:lnL w="15240" cap="flat" cmpd="sng">
                      <a:solidFill>
                        <a:srgbClr val="000000"/>
                      </a:solidFill>
                      <a:prstDash val="solid"/>
                      <a:headEnd type="none" w="med" len="med"/>
                      <a:tailEnd type="none" w="med" len="med"/>
                    </a:lnL>
                    <a:lnB w="15240" cap="flat" cmpd="sng">
                      <a:solidFill>
                        <a:srgbClr val="000000"/>
                      </a:solidFill>
                      <a:prstDash val="solid"/>
                      <a:headEnd type="none" w="med" len="med"/>
                      <a:tailEnd type="none" w="med" len="med"/>
                    </a:lnB>
                  </a:tcPr>
                </a:tc>
                <a:tc hMerge="1" vMerge="1">
                  <a:txBody>
                    <a:bodyPr/>
                    <a:lstStyle/>
                    <a:p>
                      <a:endParaRPr lang="zh-CN"/>
                    </a:p>
                  </a:txBody>
                  <a:tcPr>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7">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10">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09"/>
                  </a:ext>
                </a:extLst>
              </a:tr>
            </a:tbl>
          </a:graphicData>
        </a:graphic>
      </p:graphicFrame>
    </p:spTree>
  </p:cSld>
  <p:clrMapOvr>
    <a:masterClrMapping/>
  </p:clrMapOvr>
  <p:transition>
    <p:zoom dir="in"/>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3" name="标题 2"/>
          <p:cNvSpPr>
            <a:spLocks noGrp="1"/>
          </p:cNvSpPr>
          <p:nvPr>
            <p:ph type="title"/>
          </p:nvPr>
        </p:nvSpPr>
        <p:spPr>
          <a:xfrm>
            <a:off x="2502836" y="2025671"/>
            <a:ext cx="7301865" cy="532130"/>
          </a:xfrm>
          <a:solidFill>
            <a:srgbClr val="F64C31"/>
          </a:solidFill>
        </p:spPr>
        <p:txBody>
          <a:bodyPr/>
          <a:lstStyle/>
          <a:p>
            <a:pPr algn="ctr"/>
            <a:r>
              <a:rPr lang="en-US" altLang="zh-CN" dirty="0">
                <a:solidFill>
                  <a:srgbClr val="000000"/>
                </a:solidFill>
                <a:latin typeface="+mn-ea"/>
                <a:cs typeface="+mn-ea"/>
                <a:sym typeface="+mn-ea"/>
              </a:rPr>
              <a:t>七、客户敏感点</a:t>
            </a:r>
            <a:endParaRPr lang="zh-CN" altLang="en-US"/>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占位符 10"/>
          <p:cNvPicPr>
            <a:picLocks noChangeAspect="1"/>
          </p:cNvPicPr>
          <p:nvPr/>
        </p:nvPicPr>
        <p:blipFill>
          <a:blip r:embed="rId2"/>
          <a:srcRect/>
          <a:stretch>
            <a:fillRect/>
          </a:stretch>
        </p:blipFill>
        <p:spPr>
          <a:xfrm rot="10800000">
            <a:off x="3773170" y="716280"/>
            <a:ext cx="8010525" cy="5505450"/>
          </a:xfrm>
          <a:prstGeom prst="rect">
            <a:avLst/>
          </a:prstGeom>
          <a:noFill/>
          <a:ln>
            <a:noFill/>
          </a:ln>
        </p:spPr>
      </p:pic>
      <p:sp>
        <p:nvSpPr>
          <p:cNvPr id="113667"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7" name="TextBox 6"/>
          <p:cNvSpPr txBox="1"/>
          <p:nvPr/>
        </p:nvSpPr>
        <p:spPr>
          <a:xfrm>
            <a:off x="590550" y="3388360"/>
            <a:ext cx="5504815" cy="267652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lvl="0" algn="l">
              <a:lnSpc>
                <a:spcPct val="150000"/>
              </a:lnSpc>
            </a:pPr>
            <a:r>
              <a:rPr lang="zh-CN" altLang="en-US" sz="1600" b="1" dirty="0" smtClean="0">
                <a:solidFill>
                  <a:srgbClr val="000000"/>
                </a:solidFill>
                <a:cs typeface="+mn-ea"/>
                <a:sym typeface="+mn-ea"/>
              </a:rPr>
              <a:t>工作内容：</a:t>
            </a:r>
            <a:endParaRPr lang="zh-CN" altLang="en-US" sz="1600" dirty="0" smtClean="0">
              <a:solidFill>
                <a:srgbClr val="000000"/>
              </a:solidFill>
              <a:cs typeface="+mn-ea"/>
              <a:sym typeface="+mn-ea"/>
            </a:endParaRPr>
          </a:p>
          <a:p>
            <a:pPr lvl="0" algn="l">
              <a:lnSpc>
                <a:spcPct val="150000"/>
              </a:lnSpc>
            </a:pPr>
            <a:r>
              <a:rPr lang="zh-CN" altLang="en-US" sz="1600" dirty="0" smtClean="0">
                <a:solidFill>
                  <a:srgbClr val="000000"/>
                </a:solidFill>
                <a:cs typeface="+mn-ea"/>
                <a:sym typeface="+mn-ea"/>
              </a:rPr>
              <a:t>       主要强化竣工交付阶段期间交付查验及整改注意事项，避免交付阶段、业主入住后发生不必要的观感质量问题。</a:t>
            </a:r>
          </a:p>
          <a:p>
            <a:pPr lvl="0" algn="l">
              <a:lnSpc>
                <a:spcPct val="150000"/>
              </a:lnSpc>
            </a:pPr>
            <a:r>
              <a:rPr lang="zh-CN" altLang="en-US" sz="1600" dirty="0" smtClean="0">
                <a:solidFill>
                  <a:srgbClr val="000000"/>
                </a:solidFill>
                <a:cs typeface="+mn-ea"/>
                <a:sym typeface="+mn-ea"/>
              </a:rPr>
              <a:t>       针对较为敏感部位进行实例说明，便于项目进行较强的针对性管控。</a:t>
            </a:r>
          </a:p>
          <a:p>
            <a:pPr lvl="0" algn="l">
              <a:lnSpc>
                <a:spcPct val="150000"/>
              </a:lnSpc>
            </a:pPr>
            <a:endParaRPr lang="zh-CN" altLang="en-US" sz="1600" dirty="0" smtClean="0">
              <a:solidFill>
                <a:srgbClr val="000000"/>
              </a:solidFill>
              <a:cs typeface="+mn-ea"/>
              <a:sym typeface="+mn-ea"/>
            </a:endParaRPr>
          </a:p>
          <a:p>
            <a:pPr lvl="0" algn="l">
              <a:lnSpc>
                <a:spcPct val="150000"/>
              </a:lnSpc>
            </a:pPr>
            <a:r>
              <a:rPr lang="zh-CN" altLang="en-US" sz="1600" b="1" dirty="0" smtClean="0">
                <a:solidFill>
                  <a:srgbClr val="000000"/>
                </a:solidFill>
                <a:cs typeface="+mn-ea"/>
                <a:sym typeface="+mn-ea"/>
              </a:rPr>
              <a:t>工作目的：提高观感质量，提升交付满意度</a:t>
            </a:r>
            <a:r>
              <a:rPr lang="zh-CN" altLang="en-US" sz="1600" dirty="0" smtClean="0">
                <a:solidFill>
                  <a:srgbClr val="000000"/>
                </a:solidFill>
                <a:cs typeface="+mn-ea"/>
                <a:sym typeface="+mn-ea"/>
              </a:rPr>
              <a:t>     </a:t>
            </a:r>
          </a:p>
        </p:txBody>
      </p:sp>
      <p:sp>
        <p:nvSpPr>
          <p:cNvPr id="2"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1"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10" name="TextBox 9"/>
          <p:cNvSpPr txBox="1"/>
          <p:nvPr/>
        </p:nvSpPr>
        <p:spPr>
          <a:xfrm>
            <a:off x="6548120" y="5529580"/>
            <a:ext cx="4377055" cy="460375"/>
          </a:xfrm>
          <a:prstGeom prst="rect">
            <a:avLst/>
          </a:prstGeom>
          <a:noFill/>
        </p:spPr>
        <p:txBody>
          <a:bodyPr wrap="square">
            <a:spAutoFit/>
          </a:bodyPr>
          <a:lstStyle/>
          <a:p>
            <a:pPr lvl="0" algn="just"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踢脚线与地板间隙不统一、基层浮灰未扫净</a:t>
            </a:r>
          </a:p>
        </p:txBody>
      </p:sp>
      <p:pic>
        <p:nvPicPr>
          <p:cNvPr id="114693" name="Picture 2"/>
          <p:cNvPicPr>
            <a:picLocks noChangeAspect="1"/>
          </p:cNvPicPr>
          <p:nvPr/>
        </p:nvPicPr>
        <p:blipFill>
          <a:blip r:embed="rId2"/>
          <a:stretch>
            <a:fillRect/>
          </a:stretch>
        </p:blipFill>
        <p:spPr bwMode="auto">
          <a:xfrm>
            <a:off x="6163945" y="2025650"/>
            <a:ext cx="4904740" cy="327342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TextBox 7"/>
          <p:cNvSpPr txBox="1"/>
          <p:nvPr/>
        </p:nvSpPr>
        <p:spPr>
          <a:xfrm>
            <a:off x="1999615" y="5532755"/>
            <a:ext cx="2139315" cy="460375"/>
          </a:xfrm>
          <a:prstGeom prst="rect">
            <a:avLst/>
          </a:prstGeom>
          <a:noFill/>
        </p:spPr>
        <p:txBody>
          <a:bodyPr wrap="square">
            <a:spAutoFit/>
          </a:bodyPr>
          <a:lstStyle/>
          <a:p>
            <a:pPr lvl="0" algn="just"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木饰面磕碰、划伤</a:t>
            </a:r>
          </a:p>
        </p:txBody>
      </p:sp>
      <p:pic>
        <p:nvPicPr>
          <p:cNvPr id="113670" name="Picture 2" descr="E:\金地品质管理\精装品质管控\精装管控实例图\微信图片_20180803150959.jpg微信图片_20180803150959"/>
          <p:cNvPicPr>
            <a:picLocks noChangeAspect="1"/>
          </p:cNvPicPr>
          <p:nvPr/>
        </p:nvPicPr>
        <p:blipFill>
          <a:blip r:embed="rId3"/>
          <a:srcRect/>
          <a:stretch>
            <a:fillRect/>
          </a:stretch>
        </p:blipFill>
        <p:spPr bwMode="auto">
          <a:xfrm>
            <a:off x="1031875" y="2025650"/>
            <a:ext cx="1874520" cy="327342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1 </a:t>
            </a:r>
            <a:r>
              <a:rPr lang="en-US" sz="1800" b="1" dirty="0">
                <a:solidFill>
                  <a:srgbClr val="000000"/>
                </a:solidFill>
                <a:cs typeface="+mn-ea"/>
              </a:rPr>
              <a:t> </a:t>
            </a:r>
            <a:r>
              <a:rPr lang="zh-CN" sz="1800" b="1" dirty="0">
                <a:solidFill>
                  <a:srgbClr val="000000"/>
                </a:solidFill>
                <a:cs typeface="+mn-ea"/>
              </a:rPr>
              <a:t>木制品（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pic>
        <p:nvPicPr>
          <p:cNvPr id="2" name="图片 1" descr="微信图片_20180803155912"/>
          <p:cNvPicPr>
            <a:picLocks noChangeAspect="1"/>
          </p:cNvPicPr>
          <p:nvPr/>
        </p:nvPicPr>
        <p:blipFill>
          <a:blip r:embed="rId4"/>
          <a:stretch>
            <a:fillRect/>
          </a:stretch>
        </p:blipFill>
        <p:spPr bwMode="auto">
          <a:xfrm>
            <a:off x="3182620" y="2026285"/>
            <a:ext cx="2424430" cy="327279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4" name="TextBox 3"/>
          <p:cNvSpPr txBox="1"/>
          <p:nvPr/>
        </p:nvSpPr>
        <p:spPr>
          <a:xfrm>
            <a:off x="1506220" y="5867400"/>
            <a:ext cx="2352040"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    墙纸脱胶</a:t>
            </a:r>
          </a:p>
        </p:txBody>
      </p:sp>
      <p:pic>
        <p:nvPicPr>
          <p:cNvPr id="115717" name="Picture 2" descr="C:\Users\yrxd\Desktop\冲片\新建文件夹\DSC_4709.jpg"/>
          <p:cNvPicPr>
            <a:picLocks noChangeAspect="1"/>
          </p:cNvPicPr>
          <p:nvPr/>
        </p:nvPicPr>
        <p:blipFill>
          <a:blip r:embed="rId2"/>
          <a:srcRect/>
          <a:stretch>
            <a:fillRect/>
          </a:stretch>
        </p:blipFill>
        <p:spPr bwMode="auto">
          <a:xfrm>
            <a:off x="1275080" y="2326640"/>
            <a:ext cx="2814320" cy="3400898"/>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5718" name="椭圆 15"/>
          <p:cNvSpPr/>
          <p:nvPr/>
        </p:nvSpPr>
        <p:spPr>
          <a:xfrm>
            <a:off x="2263715" y="2556570"/>
            <a:ext cx="836672" cy="2281833"/>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pic>
        <p:nvPicPr>
          <p:cNvPr id="34823" name="Picture 2"/>
          <p:cNvPicPr>
            <a:picLocks noChangeAspect="1"/>
          </p:cNvPicPr>
          <p:nvPr/>
        </p:nvPicPr>
        <p:blipFill>
          <a:blip r:embed="rId3"/>
          <a:stretch>
            <a:fillRect/>
          </a:stretch>
        </p:blipFill>
        <p:spPr bwMode="auto">
          <a:xfrm>
            <a:off x="7291705" y="2326640"/>
            <a:ext cx="4128135" cy="340042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7" name="矩形 2"/>
          <p:cNvSpPr txBox="1">
            <a:spLocks noChangeArrowheads="1"/>
          </p:cNvSpPr>
          <p:nvPr/>
        </p:nvSpPr>
        <p:spPr bwMode="auto">
          <a:xfrm>
            <a:off x="6290945" y="5867400"/>
            <a:ext cx="2734945" cy="460375"/>
          </a:xfrm>
          <a:prstGeom prst="rect">
            <a:avLst/>
          </a:prstGeom>
          <a:noFill/>
        </p:spPr>
        <p:txBody>
          <a:bodyPr wrap="square">
            <a:spAutoFit/>
          </a:bodyPr>
          <a:lstStyle/>
          <a:p>
            <a:pPr lvl="0" algn="just"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乳胶漆有明显刷纹、流坠</a:t>
            </a:r>
          </a:p>
        </p:txBody>
      </p:sp>
      <p:pic>
        <p:nvPicPr>
          <p:cNvPr id="45062" name="Picture 2"/>
          <p:cNvPicPr>
            <a:picLocks noChangeAspect="1"/>
          </p:cNvPicPr>
          <p:nvPr/>
        </p:nvPicPr>
        <p:blipFill>
          <a:blip r:embed="rId4"/>
          <a:srcRect/>
          <a:stretch>
            <a:fillRect/>
          </a:stretch>
        </p:blipFill>
        <p:spPr bwMode="auto">
          <a:xfrm>
            <a:off x="4674235" y="2326640"/>
            <a:ext cx="2404110" cy="340169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2 </a:t>
            </a:r>
            <a:r>
              <a:rPr lang="en-US" sz="1800" b="1" dirty="0">
                <a:solidFill>
                  <a:srgbClr val="000000"/>
                </a:solidFill>
                <a:cs typeface="+mn-ea"/>
              </a:rPr>
              <a:t> </a:t>
            </a:r>
            <a:r>
              <a:rPr lang="zh-CN" sz="1800" b="1" dirty="0">
                <a:solidFill>
                  <a:srgbClr val="000000"/>
                </a:solidFill>
                <a:cs typeface="+mn-ea"/>
              </a:rPr>
              <a:t>涂饰、裱糊（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sp>
        <p:nvSpPr>
          <p:cNvPr id="11"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9"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4" name="TextBox 3"/>
          <p:cNvSpPr txBox="1"/>
          <p:nvPr/>
        </p:nvSpPr>
        <p:spPr>
          <a:xfrm>
            <a:off x="4411762" y="5632133"/>
            <a:ext cx="3346688"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色差、空鼓、断裂</a:t>
            </a:r>
          </a:p>
        </p:txBody>
      </p:sp>
      <p:pic>
        <p:nvPicPr>
          <p:cNvPr id="116741" name="图片 8"/>
          <p:cNvPicPr>
            <a:picLocks noChangeAspect="1"/>
          </p:cNvPicPr>
          <p:nvPr/>
        </p:nvPicPr>
        <p:blipFill>
          <a:blip r:embed="rId2"/>
          <a:stretch>
            <a:fillRect/>
          </a:stretch>
        </p:blipFill>
        <p:spPr bwMode="auto">
          <a:xfrm>
            <a:off x="2048510" y="2788920"/>
            <a:ext cx="3600450" cy="244792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6742" name="椭圆 15"/>
          <p:cNvSpPr/>
          <p:nvPr/>
        </p:nvSpPr>
        <p:spPr>
          <a:xfrm>
            <a:off x="2490926" y="3472478"/>
            <a:ext cx="2510016" cy="1445161"/>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3</a:t>
            </a:r>
            <a:r>
              <a:rPr lang="en-US" sz="1800" b="1" dirty="0">
                <a:solidFill>
                  <a:srgbClr val="000000"/>
                </a:solidFill>
                <a:cs typeface="+mn-ea"/>
              </a:rPr>
              <a:t> </a:t>
            </a:r>
            <a:r>
              <a:rPr lang="zh-CN" sz="1800" b="1" dirty="0">
                <a:solidFill>
                  <a:srgbClr val="000000"/>
                </a:solidFill>
                <a:cs typeface="+mn-ea"/>
              </a:rPr>
              <a:t>砖、石材（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pic>
        <p:nvPicPr>
          <p:cNvPr id="117765" name="图片 8"/>
          <p:cNvPicPr>
            <a:picLocks noChangeAspect="1"/>
          </p:cNvPicPr>
          <p:nvPr/>
        </p:nvPicPr>
        <p:blipFill>
          <a:blip r:embed="rId3"/>
          <a:stretch>
            <a:fillRect/>
          </a:stretch>
        </p:blipFill>
        <p:spPr bwMode="auto">
          <a:xfrm>
            <a:off x="6443980" y="2788285"/>
            <a:ext cx="3289300" cy="244856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7767" name="椭圆 15"/>
          <p:cNvSpPr/>
          <p:nvPr/>
        </p:nvSpPr>
        <p:spPr>
          <a:xfrm>
            <a:off x="7722870" y="3046095"/>
            <a:ext cx="651510" cy="1898650"/>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0"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7"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4" name="TextBox 3"/>
          <p:cNvSpPr txBox="1"/>
          <p:nvPr/>
        </p:nvSpPr>
        <p:spPr>
          <a:xfrm>
            <a:off x="4259302" y="5926025"/>
            <a:ext cx="3346688"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玻璃划痕 </a:t>
            </a:r>
          </a:p>
        </p:txBody>
      </p:sp>
      <p:pic>
        <p:nvPicPr>
          <p:cNvPr id="118789" name="Picture 2" descr="D:\督导文件\现场照片\2013.10.29-11.4明月江南交付支援\2013.10.29-11.4明月江南交付支援\2-1-2002\新建文件夹\DSCN0422.JPG"/>
          <p:cNvPicPr>
            <a:picLocks noChangeAspect="1"/>
          </p:cNvPicPr>
          <p:nvPr/>
        </p:nvPicPr>
        <p:blipFill>
          <a:blip r:embed="rId2"/>
          <a:stretch>
            <a:fillRect/>
          </a:stretch>
        </p:blipFill>
        <p:spPr bwMode="auto">
          <a:xfrm>
            <a:off x="3232596" y="1743968"/>
            <a:ext cx="5248215" cy="393616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8790" name="椭圆 15"/>
          <p:cNvSpPr/>
          <p:nvPr/>
        </p:nvSpPr>
        <p:spPr>
          <a:xfrm>
            <a:off x="4107299" y="2504579"/>
            <a:ext cx="3498810" cy="1944312"/>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4 </a:t>
            </a:r>
            <a:r>
              <a:rPr lang="zh-CN" sz="1800" b="1" dirty="0">
                <a:solidFill>
                  <a:srgbClr val="000000"/>
                </a:solidFill>
                <a:cs typeface="+mn-ea"/>
              </a:rPr>
              <a:t>窗子玻璃（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sp>
        <p:nvSpPr>
          <p:cNvPr id="8"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descr="E:\金地品质管理\精装品质管控\精装管控实例图\微信图片_20180712151646.jpg微信图片_20180712151646"/>
          <p:cNvPicPr>
            <a:picLocks noChangeAspect="1"/>
          </p:cNvPicPr>
          <p:nvPr/>
        </p:nvPicPr>
        <p:blipFill rotWithShape="1">
          <a:blip r:embed="rId2"/>
          <a:srcRect/>
          <a:stretch>
            <a:fillRect/>
          </a:stretch>
        </p:blipFill>
        <p:spPr>
          <a:xfrm>
            <a:off x="1199198" y="2035175"/>
            <a:ext cx="2898140" cy="217360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4" name="图片 13" descr="E:\金地品质管理\精装品质管控\精装管控实例图\微信图片_20180712154346.jpg微信图片_20180712154346"/>
          <p:cNvPicPr>
            <a:picLocks noChangeAspect="1"/>
          </p:cNvPicPr>
          <p:nvPr/>
        </p:nvPicPr>
        <p:blipFill>
          <a:blip r:embed="rId3"/>
          <a:srcRect/>
          <a:stretch>
            <a:fillRect/>
          </a:stretch>
        </p:blipFill>
        <p:spPr>
          <a:xfrm>
            <a:off x="8414385" y="968375"/>
            <a:ext cx="2289175" cy="324040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2.2、</a:t>
            </a:r>
            <a:r>
              <a:rPr lang="zh-CN" altLang="en-US" sz="1800" b="1" dirty="0">
                <a:solidFill>
                  <a:srgbClr val="000000"/>
                </a:solidFill>
                <a:cs typeface="+mn-ea"/>
                <a:sym typeface="+mn-ea"/>
              </a:rPr>
              <a:t>机电</a:t>
            </a:r>
            <a:r>
              <a:rPr lang="en-US" altLang="zh-CN" sz="1800" b="1" dirty="0">
                <a:solidFill>
                  <a:srgbClr val="000000"/>
                </a:solidFill>
                <a:cs typeface="+mn-ea"/>
                <a:sym typeface="+mn-ea"/>
              </a:rPr>
              <a:t>规划</a:t>
            </a:r>
            <a:r>
              <a:rPr lang="zh-CN" altLang="en-US" sz="1800" b="1" dirty="0">
                <a:solidFill>
                  <a:srgbClr val="000000"/>
                </a:solidFill>
                <a:cs typeface="+mn-ea"/>
                <a:sym typeface="+mn-ea"/>
              </a:rPr>
              <a:t>（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8" name="文本框 7"/>
          <p:cNvSpPr txBox="1"/>
          <p:nvPr/>
        </p:nvSpPr>
        <p:spPr>
          <a:xfrm>
            <a:off x="1030605" y="4904740"/>
            <a:ext cx="9672955" cy="1383665"/>
          </a:xfrm>
          <a:prstGeom prst="rect">
            <a:avLst/>
          </a:prstGeom>
          <a:solidFill>
            <a:schemeClr val="bg1"/>
          </a:solidFill>
        </p:spPr>
        <p:txBody>
          <a:bodyPr wrap="square" rtlCol="0">
            <a:spAutoFit/>
          </a:bodyPr>
          <a:lstStyle/>
          <a:p>
            <a:pPr algn="l">
              <a:lnSpc>
                <a:spcPct val="150000"/>
              </a:lnSpc>
            </a:pPr>
            <a:r>
              <a:rPr lang="zh-CN" altLang="en-US" sz="1400" dirty="0" smtClean="0">
                <a:solidFill>
                  <a:srgbClr val="000000"/>
                </a:solidFill>
                <a:cs typeface="+mn-ea"/>
              </a:rPr>
              <a:t>红外幕帘：原设计预留</a:t>
            </a:r>
            <a:r>
              <a:rPr lang="zh-CN" sz="1400" dirty="0" smtClean="0">
                <a:solidFill>
                  <a:srgbClr val="000000"/>
                </a:solidFill>
                <a:cs typeface="+mn-ea"/>
              </a:rPr>
              <a:t>点位未考虑实际设备安装与窗帘盒冲突问题，致使结构墙因安全原因无法再剔槽移位，移位插座只能明装，影响美观</a:t>
            </a:r>
            <a:r>
              <a:rPr lang="zh-CN" altLang="en-US" sz="1400" dirty="0" smtClean="0">
                <a:solidFill>
                  <a:srgbClr val="000000"/>
                </a:solidFill>
                <a:cs typeface="+mn-ea"/>
              </a:rPr>
              <a:t>。</a:t>
            </a:r>
          </a:p>
          <a:p>
            <a:pPr algn="l">
              <a:lnSpc>
                <a:spcPct val="150000"/>
              </a:lnSpc>
            </a:pPr>
            <a:r>
              <a:rPr lang="zh-CN" altLang="en-US" sz="1400" dirty="0">
                <a:solidFill>
                  <a:srgbClr val="000000"/>
                </a:solidFill>
                <a:cs typeface="+mn-ea"/>
              </a:rPr>
              <a:t>给排水、电源插座：原设计点位只是为了预留而预留，未考虑到使用冲突及安全规范等问题。</a:t>
            </a:r>
          </a:p>
          <a:p>
            <a:pPr algn="l">
              <a:lnSpc>
                <a:spcPct val="150000"/>
              </a:lnSpc>
            </a:pPr>
            <a:r>
              <a:rPr lang="zh-CN" altLang="en-US" sz="1400" dirty="0">
                <a:solidFill>
                  <a:srgbClr val="000000"/>
                </a:solidFill>
                <a:cs typeface="+mn-ea"/>
              </a:rPr>
              <a:t>强电箱：原设计未综合考虑到结构问题，致使实际预埋电箱置于顶部位置，不符合相关规范要求。</a:t>
            </a:r>
          </a:p>
        </p:txBody>
      </p:sp>
      <p:pic>
        <p:nvPicPr>
          <p:cNvPr id="4" name="图片 3" descr="E:\金地品质管理\精装品质管控\精装管控实例图\微信图片_20180712151515.jpg微信图片_20180712151515"/>
          <p:cNvPicPr>
            <a:picLocks noChangeAspect="1"/>
          </p:cNvPicPr>
          <p:nvPr/>
        </p:nvPicPr>
        <p:blipFill>
          <a:blip r:embed="rId4"/>
          <a:srcRect/>
          <a:stretch>
            <a:fillRect/>
          </a:stretch>
        </p:blipFill>
        <p:spPr>
          <a:xfrm>
            <a:off x="4572635" y="2035175"/>
            <a:ext cx="2859405" cy="217360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3" name="文本框 2"/>
          <p:cNvSpPr txBox="1"/>
          <p:nvPr/>
        </p:nvSpPr>
        <p:spPr>
          <a:xfrm>
            <a:off x="1030605" y="4392295"/>
            <a:ext cx="3066415" cy="506730"/>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红外幕帘插座</a:t>
            </a:r>
            <a:endParaRPr lang="en-US" altLang="zh-CN" sz="1400" dirty="0">
              <a:solidFill>
                <a:srgbClr val="000000"/>
              </a:solidFill>
              <a:cs typeface="+mn-ea"/>
            </a:endParaRPr>
          </a:p>
        </p:txBody>
      </p:sp>
      <p:sp>
        <p:nvSpPr>
          <p:cNvPr id="6" name="文本框 5"/>
          <p:cNvSpPr txBox="1"/>
          <p:nvPr/>
        </p:nvSpPr>
        <p:spPr>
          <a:xfrm>
            <a:off x="4469130" y="4392295"/>
            <a:ext cx="3066415" cy="506730"/>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给排水、电源插座</a:t>
            </a:r>
            <a:endParaRPr lang="en-US" altLang="zh-CN" sz="1400" dirty="0">
              <a:solidFill>
                <a:srgbClr val="000000"/>
              </a:solidFill>
              <a:cs typeface="+mn-ea"/>
            </a:endParaRPr>
          </a:p>
        </p:txBody>
      </p:sp>
      <p:sp>
        <p:nvSpPr>
          <p:cNvPr id="10" name="文本框 9"/>
          <p:cNvSpPr txBox="1"/>
          <p:nvPr/>
        </p:nvSpPr>
        <p:spPr>
          <a:xfrm>
            <a:off x="8025765" y="4392295"/>
            <a:ext cx="3066415" cy="506730"/>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强电箱</a:t>
            </a:r>
            <a:endParaRPr lang="en-US" altLang="zh-CN" sz="1400" dirty="0">
              <a:solidFill>
                <a:srgbClr val="000000"/>
              </a:solidFill>
              <a:cs typeface="+mn-ea"/>
            </a:endParaRPr>
          </a:p>
        </p:txBody>
      </p:sp>
    </p:spTree>
  </p:cSld>
  <p:clrMapOvr>
    <a:masterClrMapping/>
  </p:clrMapOvr>
  <p:transition>
    <p:zoom dir="in"/>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1"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4" name="TextBox 3"/>
          <p:cNvSpPr txBox="1"/>
          <p:nvPr/>
        </p:nvSpPr>
        <p:spPr>
          <a:xfrm>
            <a:off x="3947795" y="5766435"/>
            <a:ext cx="3991610"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卫生间泛臭     马桶被使用</a:t>
            </a:r>
          </a:p>
        </p:txBody>
      </p:sp>
      <p:pic>
        <p:nvPicPr>
          <p:cNvPr id="119813" name="Picture 5" descr="IMG_0078"/>
          <p:cNvPicPr>
            <a:picLocks noChangeAspect="1"/>
          </p:cNvPicPr>
          <p:nvPr/>
        </p:nvPicPr>
        <p:blipFill>
          <a:blip r:embed="rId2"/>
          <a:stretch>
            <a:fillRect/>
          </a:stretch>
        </p:blipFill>
        <p:spPr bwMode="auto">
          <a:xfrm>
            <a:off x="1852751" y="1891784"/>
            <a:ext cx="4715788" cy="3536841"/>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19814" name="椭圆 15"/>
          <p:cNvSpPr/>
          <p:nvPr/>
        </p:nvSpPr>
        <p:spPr>
          <a:xfrm>
            <a:off x="2901761" y="2880578"/>
            <a:ext cx="2373740" cy="1278778"/>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5</a:t>
            </a:r>
            <a:r>
              <a:rPr lang="en-US" sz="1800" b="1" dirty="0">
                <a:solidFill>
                  <a:srgbClr val="000000"/>
                </a:solidFill>
                <a:cs typeface="+mn-ea"/>
              </a:rPr>
              <a:t> </a:t>
            </a:r>
            <a:r>
              <a:rPr lang="zh-CN" sz="1800" b="1" dirty="0">
                <a:solidFill>
                  <a:srgbClr val="000000"/>
                </a:solidFill>
                <a:cs typeface="+mn-ea"/>
              </a:rPr>
              <a:t>马桶洁具（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pic>
        <p:nvPicPr>
          <p:cNvPr id="2" name="图片 1" descr="微信图片_20180803155927"/>
          <p:cNvPicPr>
            <a:picLocks noChangeAspect="1"/>
          </p:cNvPicPr>
          <p:nvPr/>
        </p:nvPicPr>
        <p:blipFill>
          <a:blip r:embed="rId3"/>
          <a:stretch>
            <a:fillRect/>
          </a:stretch>
        </p:blipFill>
        <p:spPr bwMode="auto">
          <a:xfrm>
            <a:off x="7235190" y="1891665"/>
            <a:ext cx="2547620" cy="353695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9"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微信图片_20180803155918"/>
          <p:cNvPicPr>
            <a:picLocks noChangeAspect="1"/>
          </p:cNvPicPr>
          <p:nvPr/>
        </p:nvPicPr>
        <p:blipFill>
          <a:blip r:embed="rId2"/>
          <a:stretch>
            <a:fillRect/>
          </a:stretch>
        </p:blipFill>
        <p:spPr bwMode="auto">
          <a:xfrm>
            <a:off x="6228080" y="1946275"/>
            <a:ext cx="4128770" cy="338328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20835"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pic>
        <p:nvPicPr>
          <p:cNvPr id="120836" name="Picture 2" descr="C:\Documents and Settings\YANG\桌面\DSCN4304.JPG"/>
          <p:cNvPicPr>
            <a:picLocks noChangeAspect="1"/>
          </p:cNvPicPr>
          <p:nvPr/>
        </p:nvPicPr>
        <p:blipFill>
          <a:blip r:embed="rId3"/>
          <a:stretch>
            <a:fillRect/>
          </a:stretch>
        </p:blipFill>
        <p:spPr bwMode="auto">
          <a:xfrm>
            <a:off x="1732280" y="1946275"/>
            <a:ext cx="4113530" cy="338328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20839" name="椭圆 15"/>
          <p:cNvSpPr/>
          <p:nvPr/>
        </p:nvSpPr>
        <p:spPr>
          <a:xfrm>
            <a:off x="7658318" y="3197780"/>
            <a:ext cx="1597283" cy="1293039"/>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0" name="文本框 9"/>
          <p:cNvSpPr txBox="1"/>
          <p:nvPr/>
        </p:nvSpPr>
        <p:spPr>
          <a:xfrm>
            <a:off x="4956393" y="5674519"/>
            <a:ext cx="2123440"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厨房烟道破损窜烟</a:t>
            </a: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5</a:t>
            </a:r>
            <a:r>
              <a:rPr lang="en-US" sz="1800" b="1" dirty="0">
                <a:solidFill>
                  <a:srgbClr val="000000"/>
                </a:solidFill>
                <a:cs typeface="+mn-ea"/>
              </a:rPr>
              <a:t> </a:t>
            </a:r>
            <a:r>
              <a:rPr lang="zh-CN" sz="1800" b="1" dirty="0">
                <a:solidFill>
                  <a:srgbClr val="000000"/>
                </a:solidFill>
                <a:cs typeface="+mn-ea"/>
              </a:rPr>
              <a:t>厨房烟风道（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sp>
        <p:nvSpPr>
          <p:cNvPr id="9"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9"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4" name="文本框 3"/>
          <p:cNvSpPr txBox="1"/>
          <p:nvPr/>
        </p:nvSpPr>
        <p:spPr>
          <a:xfrm>
            <a:off x="5109299" y="5752485"/>
            <a:ext cx="2608580"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渗漏水、墙面污染损坏</a:t>
            </a:r>
          </a:p>
        </p:txBody>
      </p:sp>
      <p:pic>
        <p:nvPicPr>
          <p:cNvPr id="121861" name="Picture 2" descr="C:\Documents and Settings\YANG\桌面\DSCN6353.JPG"/>
          <p:cNvPicPr>
            <a:picLocks noChangeAspect="1"/>
          </p:cNvPicPr>
          <p:nvPr/>
        </p:nvPicPr>
        <p:blipFill>
          <a:blip r:embed="rId2"/>
          <a:stretch>
            <a:fillRect/>
          </a:stretch>
        </p:blipFill>
        <p:spPr bwMode="auto">
          <a:xfrm>
            <a:off x="1741130" y="1921684"/>
            <a:ext cx="4741142" cy="355744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21862" name="椭圆 15"/>
          <p:cNvSpPr/>
          <p:nvPr/>
        </p:nvSpPr>
        <p:spPr>
          <a:xfrm>
            <a:off x="2045375" y="3831134"/>
            <a:ext cx="3422749" cy="1191624"/>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6</a:t>
            </a:r>
            <a:r>
              <a:rPr lang="en-US" sz="1800" b="1" dirty="0">
                <a:solidFill>
                  <a:srgbClr val="000000"/>
                </a:solidFill>
                <a:cs typeface="+mn-ea"/>
              </a:rPr>
              <a:t> </a:t>
            </a:r>
            <a:r>
              <a:rPr lang="zh-CN" sz="1800" b="1" dirty="0">
                <a:solidFill>
                  <a:srgbClr val="000000"/>
                </a:solidFill>
                <a:cs typeface="+mn-ea"/>
              </a:rPr>
              <a:t>渗漏（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pic>
        <p:nvPicPr>
          <p:cNvPr id="2" name="图片 1" descr="微信图片_20180803160855"/>
          <p:cNvPicPr>
            <a:picLocks noChangeAspect="1"/>
          </p:cNvPicPr>
          <p:nvPr/>
        </p:nvPicPr>
        <p:blipFill>
          <a:blip r:embed="rId3"/>
          <a:stretch>
            <a:fillRect/>
          </a:stretch>
        </p:blipFill>
        <p:spPr bwMode="auto">
          <a:xfrm>
            <a:off x="7285355" y="1921510"/>
            <a:ext cx="3102610" cy="355790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9"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矩形 4"/>
          <p:cNvSpPr/>
          <p:nvPr/>
        </p:nvSpPr>
        <p:spPr>
          <a:xfrm>
            <a:off x="2814260" y="620276"/>
            <a:ext cx="3591560" cy="423545"/>
          </a:xfrm>
          <a:prstGeom prst="rect">
            <a:avLst/>
          </a:prstGeom>
          <a:noFill/>
          <a:ln w="9525">
            <a:noFill/>
          </a:ln>
        </p:spPr>
        <p:txBody>
          <a:bodyPr wrap="none">
            <a:spAutoFit/>
          </a:bodyPr>
          <a:lstStyle/>
          <a:p>
            <a:pPr defTabSz="800100">
              <a:lnSpc>
                <a:spcPct val="90000"/>
              </a:lnSpc>
              <a:spcAft>
                <a:spcPct val="35000"/>
              </a:spcAft>
            </a:pPr>
            <a:r>
              <a:rPr lang="zh-CN" altLang="en-US" sz="2395" dirty="0">
                <a:solidFill>
                  <a:schemeClr val="bg1"/>
                </a:solidFill>
                <a:latin typeface="微软雅黑" panose="020B0503020204020204" pitchFamily="34" charset="-122"/>
                <a:ea typeface="微软雅黑" panose="020B0503020204020204" pitchFamily="34" charset="-122"/>
              </a:rPr>
              <a:t>第四章    业主验收关注点</a:t>
            </a:r>
          </a:p>
        </p:txBody>
      </p:sp>
      <p:sp>
        <p:nvSpPr>
          <p:cNvPr id="7" name="文本框 6"/>
          <p:cNvSpPr txBox="1"/>
          <p:nvPr/>
        </p:nvSpPr>
        <p:spPr>
          <a:xfrm>
            <a:off x="3284600" y="5627053"/>
            <a:ext cx="1880870"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地板异响、霉变</a:t>
            </a:r>
          </a:p>
        </p:txBody>
      </p:sp>
      <p:pic>
        <p:nvPicPr>
          <p:cNvPr id="122885" name="图片 4" descr="DSC_0005.JPG"/>
          <p:cNvPicPr>
            <a:picLocks noChangeAspect="1"/>
          </p:cNvPicPr>
          <p:nvPr/>
        </p:nvPicPr>
        <p:blipFill>
          <a:blip r:embed="rId2"/>
          <a:stretch>
            <a:fillRect/>
          </a:stretch>
        </p:blipFill>
        <p:spPr bwMode="auto">
          <a:xfrm>
            <a:off x="1875155" y="1921510"/>
            <a:ext cx="5013325" cy="332994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22886" name="椭圆 15"/>
          <p:cNvSpPr/>
          <p:nvPr/>
        </p:nvSpPr>
        <p:spPr>
          <a:xfrm>
            <a:off x="2879090" y="2933065"/>
            <a:ext cx="2692400" cy="1155065"/>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4" name="文本框 13"/>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7.7</a:t>
            </a:r>
            <a:r>
              <a:rPr lang="en-US" sz="1800" b="1" dirty="0">
                <a:solidFill>
                  <a:srgbClr val="000000"/>
                </a:solidFill>
                <a:cs typeface="+mn-ea"/>
              </a:rPr>
              <a:t> </a:t>
            </a:r>
            <a:r>
              <a:rPr lang="zh-CN" altLang="en-US" sz="1800" b="1" dirty="0">
                <a:solidFill>
                  <a:srgbClr val="000000"/>
                </a:solidFill>
                <a:cs typeface="+mn-ea"/>
              </a:rPr>
              <a:t>木地板</a:t>
            </a:r>
            <a:r>
              <a:rPr lang="zh-CN" sz="1800" b="1" dirty="0">
                <a:solidFill>
                  <a:srgbClr val="000000"/>
                </a:solidFill>
                <a:cs typeface="+mn-ea"/>
              </a:rPr>
              <a:t>（实例）</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sp>
        <p:nvSpPr>
          <p:cNvPr id="1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七</a:t>
            </a:r>
            <a:r>
              <a:rPr lang="zh-CN" altLang="en-US" sz="2000" b="1" dirty="0" smtClean="0">
                <a:solidFill>
                  <a:srgbClr val="F64C31"/>
                </a:solidFill>
                <a:cs typeface="+mn-ea"/>
              </a:rPr>
              <a:t>、客户敏感点</a:t>
            </a:r>
          </a:p>
        </p:txBody>
      </p:sp>
      <p:pic>
        <p:nvPicPr>
          <p:cNvPr id="2" name="图片 1" descr="微信图片_20180803155923"/>
          <p:cNvPicPr>
            <a:picLocks noChangeAspect="1"/>
          </p:cNvPicPr>
          <p:nvPr/>
        </p:nvPicPr>
        <p:blipFill>
          <a:blip r:embed="rId3"/>
          <a:stretch>
            <a:fillRect/>
          </a:stretch>
        </p:blipFill>
        <p:spPr bwMode="auto">
          <a:xfrm>
            <a:off x="7444105" y="1921510"/>
            <a:ext cx="3508375" cy="332930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3" name="文本框 2"/>
          <p:cNvSpPr txBox="1"/>
          <p:nvPr/>
        </p:nvSpPr>
        <p:spPr>
          <a:xfrm>
            <a:off x="8257285" y="5627053"/>
            <a:ext cx="1880870" cy="460375"/>
          </a:xfrm>
          <a:prstGeom prst="rect">
            <a:avLst/>
          </a:prstGeom>
          <a:noFill/>
        </p:spPr>
        <p:txBody>
          <a:bodyPr wrap="square">
            <a:spAutoFit/>
          </a:bodyPr>
          <a:lstStyle/>
          <a:p>
            <a:pPr lvl="0" algn="ctr" defTabSz="914400">
              <a:lnSpc>
                <a:spcPct val="150000"/>
              </a:lnSpc>
              <a:buClrTx/>
              <a:buSzTx/>
              <a:buFontTx/>
              <a:defRPr/>
            </a:pPr>
            <a:r>
              <a:rPr lang="zh-CN" altLang="en-US" sz="1600" b="1" spc="110" noProof="0" dirty="0">
                <a:latin typeface="微软雅黑" panose="020B0503020204020204" pitchFamily="34" charset="-122"/>
                <a:ea typeface="微软雅黑" panose="020B0503020204020204" pitchFamily="34" charset="-122"/>
                <a:sym typeface="+mn-ea"/>
              </a:rPr>
              <a:t>踢脚脱落</a:t>
            </a:r>
          </a:p>
        </p:txBody>
      </p:sp>
      <p:sp>
        <p:nvSpPr>
          <p:cNvPr id="10"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12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extBox 7"/>
          <p:cNvSpPr>
            <a:spLocks noChangeArrowheads="1"/>
          </p:cNvSpPr>
          <p:nvPr/>
        </p:nvSpPr>
        <p:spPr bwMode="auto">
          <a:xfrm>
            <a:off x="3488679" y="4066939"/>
            <a:ext cx="661266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defRPr/>
            </a:pPr>
            <a:r>
              <a:rPr lang="zh-CN" altLang="en-US" sz="5800" b="1" dirty="0" smtClean="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感谢！！！</a:t>
            </a:r>
            <a:endParaRPr lang="zh-CN" altLang="en-US" sz="58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pSp>
        <p:nvGrpSpPr>
          <p:cNvPr id="250" name="组合 249"/>
          <p:cNvGrpSpPr/>
          <p:nvPr/>
        </p:nvGrpSpPr>
        <p:grpSpPr>
          <a:xfrm>
            <a:off x="607060" y="708660"/>
            <a:ext cx="2496820" cy="5835015"/>
            <a:chOff x="250" y="88"/>
            <a:chExt cx="4424" cy="10338"/>
          </a:xfrm>
          <a:gradFill>
            <a:gsLst>
              <a:gs pos="0">
                <a:schemeClr val="accent1">
                  <a:lumMod val="5000"/>
                  <a:lumOff val="95000"/>
                </a:schemeClr>
              </a:gs>
              <a:gs pos="30000">
                <a:schemeClr val="accent3">
                  <a:lumMod val="60000"/>
                  <a:lumOff val="40000"/>
                </a:schemeClr>
              </a:gs>
              <a:gs pos="63000">
                <a:schemeClr val="accent1">
                  <a:lumMod val="45000"/>
                  <a:lumOff val="55000"/>
                </a:schemeClr>
              </a:gs>
              <a:gs pos="91000">
                <a:schemeClr val="bg1">
                  <a:lumMod val="50000"/>
                  <a:alpha val="72000"/>
                </a:schemeClr>
              </a:gs>
            </a:gsLst>
            <a:lin ang="18900000" scaled="0"/>
          </a:gradFill>
        </p:grpSpPr>
        <p:grpSp>
          <p:nvGrpSpPr>
            <p:cNvPr id="249" name="组合 248"/>
            <p:cNvGrpSpPr/>
            <p:nvPr/>
          </p:nvGrpSpPr>
          <p:grpSpPr>
            <a:xfrm>
              <a:off x="250" y="6104"/>
              <a:ext cx="4425" cy="4323"/>
              <a:chOff x="250" y="6188"/>
              <a:chExt cx="4425" cy="4323"/>
            </a:xfrm>
            <a:grpFill/>
          </p:grpSpPr>
          <p:sp>
            <p:nvSpPr>
              <p:cNvPr id="5" name="矩形 4"/>
              <p:cNvSpPr/>
              <p:nvPr/>
            </p:nvSpPr>
            <p:spPr>
              <a:xfrm>
                <a:off x="250"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0"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250"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0"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50"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250"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250"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p:cNvSpPr/>
              <p:nvPr/>
            </p:nvSpPr>
            <p:spPr>
              <a:xfrm>
                <a:off x="625"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矩形 66"/>
              <p:cNvSpPr/>
              <p:nvPr/>
            </p:nvSpPr>
            <p:spPr>
              <a:xfrm>
                <a:off x="625"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25"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矩形 94"/>
              <p:cNvSpPr/>
              <p:nvPr/>
            </p:nvSpPr>
            <p:spPr>
              <a:xfrm>
                <a:off x="625"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矩形 98"/>
              <p:cNvSpPr/>
              <p:nvPr/>
            </p:nvSpPr>
            <p:spPr>
              <a:xfrm>
                <a:off x="625"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矩形 108"/>
              <p:cNvSpPr/>
              <p:nvPr/>
            </p:nvSpPr>
            <p:spPr>
              <a:xfrm>
                <a:off x="625"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 name="矩形 112"/>
              <p:cNvSpPr/>
              <p:nvPr/>
            </p:nvSpPr>
            <p:spPr>
              <a:xfrm>
                <a:off x="625"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矩形 113"/>
              <p:cNvSpPr/>
              <p:nvPr/>
            </p:nvSpPr>
            <p:spPr>
              <a:xfrm>
                <a:off x="625"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矩形 120"/>
              <p:cNvSpPr/>
              <p:nvPr/>
            </p:nvSpPr>
            <p:spPr>
              <a:xfrm>
                <a:off x="999"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矩形 124"/>
              <p:cNvSpPr/>
              <p:nvPr/>
            </p:nvSpPr>
            <p:spPr>
              <a:xfrm>
                <a:off x="999"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矩形 127"/>
              <p:cNvSpPr/>
              <p:nvPr/>
            </p:nvSpPr>
            <p:spPr>
              <a:xfrm>
                <a:off x="999"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矩形 129"/>
              <p:cNvSpPr/>
              <p:nvPr/>
            </p:nvSpPr>
            <p:spPr>
              <a:xfrm>
                <a:off x="999"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矩形 130"/>
              <p:cNvSpPr/>
              <p:nvPr/>
            </p:nvSpPr>
            <p:spPr>
              <a:xfrm>
                <a:off x="999"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矩形 135"/>
              <p:cNvSpPr/>
              <p:nvPr/>
            </p:nvSpPr>
            <p:spPr>
              <a:xfrm>
                <a:off x="999"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矩形 138"/>
              <p:cNvSpPr/>
              <p:nvPr/>
            </p:nvSpPr>
            <p:spPr>
              <a:xfrm>
                <a:off x="999"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矩形 143"/>
              <p:cNvSpPr/>
              <p:nvPr/>
            </p:nvSpPr>
            <p:spPr>
              <a:xfrm>
                <a:off x="999"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矩形 144"/>
              <p:cNvSpPr/>
              <p:nvPr/>
            </p:nvSpPr>
            <p:spPr>
              <a:xfrm>
                <a:off x="999"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p:cNvSpPr/>
              <p:nvPr/>
            </p:nvSpPr>
            <p:spPr>
              <a:xfrm>
                <a:off x="999"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矩形 157"/>
              <p:cNvSpPr/>
              <p:nvPr/>
            </p:nvSpPr>
            <p:spPr>
              <a:xfrm>
                <a:off x="1374"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矩形 158"/>
              <p:cNvSpPr/>
              <p:nvPr/>
            </p:nvSpPr>
            <p:spPr>
              <a:xfrm>
                <a:off x="1374"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160"/>
              <p:cNvSpPr/>
              <p:nvPr/>
            </p:nvSpPr>
            <p:spPr>
              <a:xfrm>
                <a:off x="1374"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矩形 161"/>
              <p:cNvSpPr/>
              <p:nvPr/>
            </p:nvSpPr>
            <p:spPr>
              <a:xfrm>
                <a:off x="1374"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3" name="矩形 162"/>
              <p:cNvSpPr/>
              <p:nvPr/>
            </p:nvSpPr>
            <p:spPr>
              <a:xfrm>
                <a:off x="1374"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矩形 166"/>
              <p:cNvSpPr/>
              <p:nvPr/>
            </p:nvSpPr>
            <p:spPr>
              <a:xfrm>
                <a:off x="1374"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矩形 170"/>
              <p:cNvSpPr/>
              <p:nvPr/>
            </p:nvSpPr>
            <p:spPr>
              <a:xfrm>
                <a:off x="1374"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矩形 172"/>
              <p:cNvSpPr/>
              <p:nvPr/>
            </p:nvSpPr>
            <p:spPr>
              <a:xfrm>
                <a:off x="1374"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p:cNvSpPr/>
              <p:nvPr/>
            </p:nvSpPr>
            <p:spPr>
              <a:xfrm>
                <a:off x="1374"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4" name="矩形 183"/>
              <p:cNvSpPr/>
              <p:nvPr/>
            </p:nvSpPr>
            <p:spPr>
              <a:xfrm>
                <a:off x="1760"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5" name="矩形 184"/>
              <p:cNvSpPr/>
              <p:nvPr/>
            </p:nvSpPr>
            <p:spPr>
              <a:xfrm>
                <a:off x="1760"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7" name="矩形 186"/>
              <p:cNvSpPr/>
              <p:nvPr/>
            </p:nvSpPr>
            <p:spPr>
              <a:xfrm>
                <a:off x="1760"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8" name="矩形 187"/>
              <p:cNvSpPr/>
              <p:nvPr/>
            </p:nvSpPr>
            <p:spPr>
              <a:xfrm>
                <a:off x="1760"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1" name="矩形 190"/>
              <p:cNvSpPr/>
              <p:nvPr/>
            </p:nvSpPr>
            <p:spPr>
              <a:xfrm>
                <a:off x="1760"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2" name="矩形 191"/>
              <p:cNvSpPr/>
              <p:nvPr/>
            </p:nvSpPr>
            <p:spPr>
              <a:xfrm>
                <a:off x="1760"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8" name="矩形 197"/>
              <p:cNvSpPr/>
              <p:nvPr/>
            </p:nvSpPr>
            <p:spPr>
              <a:xfrm>
                <a:off x="2135"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9" name="矩形 198"/>
              <p:cNvSpPr/>
              <p:nvPr/>
            </p:nvSpPr>
            <p:spPr>
              <a:xfrm>
                <a:off x="2135"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1" name="矩形 200"/>
              <p:cNvSpPr/>
              <p:nvPr/>
            </p:nvSpPr>
            <p:spPr>
              <a:xfrm>
                <a:off x="2135"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矩形 201"/>
              <p:cNvSpPr/>
              <p:nvPr/>
            </p:nvSpPr>
            <p:spPr>
              <a:xfrm>
                <a:off x="2135"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3" name="矩形 202"/>
              <p:cNvSpPr/>
              <p:nvPr/>
            </p:nvSpPr>
            <p:spPr>
              <a:xfrm>
                <a:off x="2135"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矩形 203"/>
              <p:cNvSpPr/>
              <p:nvPr/>
            </p:nvSpPr>
            <p:spPr>
              <a:xfrm>
                <a:off x="2135"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5" name="矩形 204"/>
              <p:cNvSpPr/>
              <p:nvPr/>
            </p:nvSpPr>
            <p:spPr>
              <a:xfrm>
                <a:off x="2135"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6" name="矩形 205"/>
              <p:cNvSpPr/>
              <p:nvPr/>
            </p:nvSpPr>
            <p:spPr>
              <a:xfrm>
                <a:off x="2135"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7" name="矩形 206"/>
              <p:cNvSpPr/>
              <p:nvPr/>
            </p:nvSpPr>
            <p:spPr>
              <a:xfrm>
                <a:off x="2135"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 name="矩形 209"/>
              <p:cNvSpPr/>
              <p:nvPr/>
            </p:nvSpPr>
            <p:spPr>
              <a:xfrm>
                <a:off x="2513"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2" name="矩形 211"/>
              <p:cNvSpPr/>
              <p:nvPr/>
            </p:nvSpPr>
            <p:spPr>
              <a:xfrm>
                <a:off x="2513"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3" name="矩形 212"/>
              <p:cNvSpPr/>
              <p:nvPr/>
            </p:nvSpPr>
            <p:spPr>
              <a:xfrm>
                <a:off x="2513"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矩形 213"/>
              <p:cNvSpPr/>
              <p:nvPr/>
            </p:nvSpPr>
            <p:spPr>
              <a:xfrm>
                <a:off x="2513"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5" name="矩形 214"/>
              <p:cNvSpPr/>
              <p:nvPr/>
            </p:nvSpPr>
            <p:spPr>
              <a:xfrm>
                <a:off x="2513"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6" name="矩形 215"/>
              <p:cNvSpPr/>
              <p:nvPr/>
            </p:nvSpPr>
            <p:spPr>
              <a:xfrm>
                <a:off x="2513"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7" name="矩形 216"/>
              <p:cNvSpPr/>
              <p:nvPr/>
            </p:nvSpPr>
            <p:spPr>
              <a:xfrm>
                <a:off x="2513"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8" name="矩形 217"/>
              <p:cNvSpPr/>
              <p:nvPr/>
            </p:nvSpPr>
            <p:spPr>
              <a:xfrm>
                <a:off x="2513"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0" name="矩形 219"/>
              <p:cNvSpPr/>
              <p:nvPr/>
            </p:nvSpPr>
            <p:spPr>
              <a:xfrm>
                <a:off x="2888"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1" name="矩形 220"/>
              <p:cNvSpPr/>
              <p:nvPr/>
            </p:nvSpPr>
            <p:spPr>
              <a:xfrm>
                <a:off x="2888"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2" name="矩形 221"/>
              <p:cNvSpPr/>
              <p:nvPr/>
            </p:nvSpPr>
            <p:spPr>
              <a:xfrm>
                <a:off x="2888"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3" name="矩形 222"/>
              <p:cNvSpPr/>
              <p:nvPr/>
            </p:nvSpPr>
            <p:spPr>
              <a:xfrm>
                <a:off x="2888"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4" name="矩形 223"/>
              <p:cNvSpPr/>
              <p:nvPr/>
            </p:nvSpPr>
            <p:spPr>
              <a:xfrm>
                <a:off x="2888"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5" name="矩形 224"/>
              <p:cNvSpPr/>
              <p:nvPr/>
            </p:nvSpPr>
            <p:spPr>
              <a:xfrm>
                <a:off x="2888"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6" name="矩形 225"/>
              <p:cNvSpPr/>
              <p:nvPr/>
            </p:nvSpPr>
            <p:spPr>
              <a:xfrm>
                <a:off x="2888"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7" name="矩形 226"/>
              <p:cNvSpPr/>
              <p:nvPr/>
            </p:nvSpPr>
            <p:spPr>
              <a:xfrm>
                <a:off x="2888"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8" name="矩形 227"/>
              <p:cNvSpPr/>
              <p:nvPr/>
            </p:nvSpPr>
            <p:spPr>
              <a:xfrm>
                <a:off x="2888"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0" name="矩形 229"/>
              <p:cNvSpPr/>
              <p:nvPr/>
            </p:nvSpPr>
            <p:spPr>
              <a:xfrm>
                <a:off x="3265"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1" name="矩形 230"/>
              <p:cNvSpPr/>
              <p:nvPr/>
            </p:nvSpPr>
            <p:spPr>
              <a:xfrm>
                <a:off x="3265"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2" name="矩形 231"/>
              <p:cNvSpPr/>
              <p:nvPr/>
            </p:nvSpPr>
            <p:spPr>
              <a:xfrm>
                <a:off x="3265"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3" name="矩形 232"/>
              <p:cNvSpPr/>
              <p:nvPr/>
            </p:nvSpPr>
            <p:spPr>
              <a:xfrm>
                <a:off x="3265"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p:cNvSpPr/>
              <p:nvPr/>
            </p:nvSpPr>
            <p:spPr>
              <a:xfrm>
                <a:off x="3265"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p:cNvSpPr/>
              <p:nvPr/>
            </p:nvSpPr>
            <p:spPr>
              <a:xfrm>
                <a:off x="3265"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6" name="矩形 235"/>
              <p:cNvSpPr/>
              <p:nvPr/>
            </p:nvSpPr>
            <p:spPr>
              <a:xfrm>
                <a:off x="3265"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7" name="矩形 236"/>
              <p:cNvSpPr/>
              <p:nvPr/>
            </p:nvSpPr>
            <p:spPr>
              <a:xfrm>
                <a:off x="3265"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8" name="矩形 237"/>
              <p:cNvSpPr/>
              <p:nvPr/>
            </p:nvSpPr>
            <p:spPr>
              <a:xfrm>
                <a:off x="3639"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9" name="矩形 238"/>
              <p:cNvSpPr/>
              <p:nvPr/>
            </p:nvSpPr>
            <p:spPr>
              <a:xfrm>
                <a:off x="3639"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0" name="矩形 239"/>
              <p:cNvSpPr/>
              <p:nvPr/>
            </p:nvSpPr>
            <p:spPr>
              <a:xfrm>
                <a:off x="3639"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1" name="矩形 240"/>
              <p:cNvSpPr/>
              <p:nvPr/>
            </p:nvSpPr>
            <p:spPr>
              <a:xfrm>
                <a:off x="3639"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2" name="矩形 241"/>
              <p:cNvSpPr/>
              <p:nvPr/>
            </p:nvSpPr>
            <p:spPr>
              <a:xfrm>
                <a:off x="3639"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3" name="矩形 242"/>
              <p:cNvSpPr/>
              <p:nvPr/>
            </p:nvSpPr>
            <p:spPr>
              <a:xfrm>
                <a:off x="3639"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4" name="矩形 243"/>
              <p:cNvSpPr/>
              <p:nvPr/>
            </p:nvSpPr>
            <p:spPr>
              <a:xfrm>
                <a:off x="4043"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5" name="矩形 244"/>
              <p:cNvSpPr/>
              <p:nvPr/>
            </p:nvSpPr>
            <p:spPr>
              <a:xfrm>
                <a:off x="4043"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6" name="矩形 245"/>
              <p:cNvSpPr/>
              <p:nvPr/>
            </p:nvSpPr>
            <p:spPr>
              <a:xfrm>
                <a:off x="4043"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7" name="矩形 246"/>
              <p:cNvSpPr/>
              <p:nvPr/>
            </p:nvSpPr>
            <p:spPr>
              <a:xfrm>
                <a:off x="4417"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8" name="矩形 247"/>
              <p:cNvSpPr/>
              <p:nvPr/>
            </p:nvSpPr>
            <p:spPr>
              <a:xfrm>
                <a:off x="4417"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11" name="组合 210"/>
            <p:cNvGrpSpPr/>
            <p:nvPr/>
          </p:nvGrpSpPr>
          <p:grpSpPr>
            <a:xfrm>
              <a:off x="250" y="88"/>
              <a:ext cx="4425" cy="5949"/>
              <a:chOff x="250" y="208"/>
              <a:chExt cx="7794" cy="10477"/>
            </a:xfrm>
            <a:grpFill/>
          </p:grpSpPr>
          <p:sp>
            <p:nvSpPr>
              <p:cNvPr id="44" name="矩形 43"/>
              <p:cNvSpPr/>
              <p:nvPr/>
            </p:nvSpPr>
            <p:spPr>
              <a:xfrm>
                <a:off x="25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25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25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25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25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25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25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25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25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矩形 52"/>
              <p:cNvSpPr/>
              <p:nvPr/>
            </p:nvSpPr>
            <p:spPr>
              <a:xfrm>
                <a:off x="25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53"/>
              <p:cNvSpPr/>
              <p:nvPr/>
            </p:nvSpPr>
            <p:spPr>
              <a:xfrm>
                <a:off x="91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矩形 54"/>
              <p:cNvSpPr/>
              <p:nvPr/>
            </p:nvSpPr>
            <p:spPr>
              <a:xfrm>
                <a:off x="91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矩形 55"/>
              <p:cNvSpPr/>
              <p:nvPr/>
            </p:nvSpPr>
            <p:spPr>
              <a:xfrm>
                <a:off x="91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矩形 56"/>
              <p:cNvSpPr/>
              <p:nvPr/>
            </p:nvSpPr>
            <p:spPr>
              <a:xfrm>
                <a:off x="91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矩形 57"/>
              <p:cNvSpPr/>
              <p:nvPr/>
            </p:nvSpPr>
            <p:spPr>
              <a:xfrm>
                <a:off x="91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矩形 58"/>
              <p:cNvSpPr/>
              <p:nvPr/>
            </p:nvSpPr>
            <p:spPr>
              <a:xfrm>
                <a:off x="91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91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矩形 60"/>
              <p:cNvSpPr/>
              <p:nvPr/>
            </p:nvSpPr>
            <p:spPr>
              <a:xfrm>
                <a:off x="91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矩形 61"/>
              <p:cNvSpPr/>
              <p:nvPr/>
            </p:nvSpPr>
            <p:spPr>
              <a:xfrm>
                <a:off x="91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矩形 62"/>
              <p:cNvSpPr/>
              <p:nvPr/>
            </p:nvSpPr>
            <p:spPr>
              <a:xfrm>
                <a:off x="91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矩形 63"/>
              <p:cNvSpPr/>
              <p:nvPr/>
            </p:nvSpPr>
            <p:spPr>
              <a:xfrm>
                <a:off x="91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矩形 64"/>
              <p:cNvSpPr/>
              <p:nvPr/>
            </p:nvSpPr>
            <p:spPr>
              <a:xfrm>
                <a:off x="910" y="1023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矩形 67"/>
              <p:cNvSpPr/>
              <p:nvPr/>
            </p:nvSpPr>
            <p:spPr>
              <a:xfrm>
                <a:off x="157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68"/>
              <p:cNvSpPr/>
              <p:nvPr/>
            </p:nvSpPr>
            <p:spPr>
              <a:xfrm>
                <a:off x="157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矩形 69"/>
              <p:cNvSpPr/>
              <p:nvPr/>
            </p:nvSpPr>
            <p:spPr>
              <a:xfrm>
                <a:off x="157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矩形 70"/>
              <p:cNvSpPr/>
              <p:nvPr/>
            </p:nvSpPr>
            <p:spPr>
              <a:xfrm>
                <a:off x="157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矩形 71"/>
              <p:cNvSpPr/>
              <p:nvPr/>
            </p:nvSpPr>
            <p:spPr>
              <a:xfrm>
                <a:off x="157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矩形 72"/>
              <p:cNvSpPr/>
              <p:nvPr/>
            </p:nvSpPr>
            <p:spPr>
              <a:xfrm>
                <a:off x="157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矩形 73"/>
              <p:cNvSpPr/>
              <p:nvPr/>
            </p:nvSpPr>
            <p:spPr>
              <a:xfrm>
                <a:off x="157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矩形 74"/>
              <p:cNvSpPr/>
              <p:nvPr/>
            </p:nvSpPr>
            <p:spPr>
              <a:xfrm>
                <a:off x="157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p:cNvSpPr/>
              <p:nvPr/>
            </p:nvSpPr>
            <p:spPr>
              <a:xfrm>
                <a:off x="157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矩形 76"/>
              <p:cNvSpPr/>
              <p:nvPr/>
            </p:nvSpPr>
            <p:spPr>
              <a:xfrm>
                <a:off x="157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矩形 77"/>
              <p:cNvSpPr/>
              <p:nvPr/>
            </p:nvSpPr>
            <p:spPr>
              <a:xfrm>
                <a:off x="157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78"/>
              <p:cNvSpPr/>
              <p:nvPr/>
            </p:nvSpPr>
            <p:spPr>
              <a:xfrm>
                <a:off x="1570"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矩形 79"/>
              <p:cNvSpPr/>
              <p:nvPr/>
            </p:nvSpPr>
            <p:spPr>
              <a:xfrm>
                <a:off x="157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矩形 80"/>
              <p:cNvSpPr/>
              <p:nvPr/>
            </p:nvSpPr>
            <p:spPr>
              <a:xfrm>
                <a:off x="157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矩形 81"/>
              <p:cNvSpPr/>
              <p:nvPr/>
            </p:nvSpPr>
            <p:spPr>
              <a:xfrm>
                <a:off x="223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矩形 83"/>
              <p:cNvSpPr/>
              <p:nvPr/>
            </p:nvSpPr>
            <p:spPr>
              <a:xfrm>
                <a:off x="223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矩形 84"/>
              <p:cNvSpPr/>
              <p:nvPr/>
            </p:nvSpPr>
            <p:spPr>
              <a:xfrm>
                <a:off x="223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223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矩形 86"/>
              <p:cNvSpPr/>
              <p:nvPr/>
            </p:nvSpPr>
            <p:spPr>
              <a:xfrm>
                <a:off x="223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矩形 87"/>
              <p:cNvSpPr/>
              <p:nvPr/>
            </p:nvSpPr>
            <p:spPr>
              <a:xfrm>
                <a:off x="223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矩形 88"/>
              <p:cNvSpPr/>
              <p:nvPr/>
            </p:nvSpPr>
            <p:spPr>
              <a:xfrm>
                <a:off x="223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矩形 89"/>
              <p:cNvSpPr/>
              <p:nvPr/>
            </p:nvSpPr>
            <p:spPr>
              <a:xfrm>
                <a:off x="223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矩形 90"/>
              <p:cNvSpPr/>
              <p:nvPr/>
            </p:nvSpPr>
            <p:spPr>
              <a:xfrm>
                <a:off x="223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矩形 91"/>
              <p:cNvSpPr/>
              <p:nvPr/>
            </p:nvSpPr>
            <p:spPr>
              <a:xfrm>
                <a:off x="223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矩形 92"/>
              <p:cNvSpPr/>
              <p:nvPr/>
            </p:nvSpPr>
            <p:spPr>
              <a:xfrm>
                <a:off x="223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矩形 93"/>
              <p:cNvSpPr/>
              <p:nvPr/>
            </p:nvSpPr>
            <p:spPr>
              <a:xfrm>
                <a:off x="2230"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矩形 95"/>
              <p:cNvSpPr/>
              <p:nvPr/>
            </p:nvSpPr>
            <p:spPr>
              <a:xfrm>
                <a:off x="223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矩形 96"/>
              <p:cNvSpPr/>
              <p:nvPr/>
            </p:nvSpPr>
            <p:spPr>
              <a:xfrm>
                <a:off x="223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矩形 97"/>
              <p:cNvSpPr/>
              <p:nvPr/>
            </p:nvSpPr>
            <p:spPr>
              <a:xfrm>
                <a:off x="2230" y="1023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矩形 99"/>
              <p:cNvSpPr/>
              <p:nvPr/>
            </p:nvSpPr>
            <p:spPr>
              <a:xfrm>
                <a:off x="291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p:cNvSpPr/>
              <p:nvPr/>
            </p:nvSpPr>
            <p:spPr>
              <a:xfrm>
                <a:off x="291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a:off x="291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矩形 102"/>
              <p:cNvSpPr/>
              <p:nvPr/>
            </p:nvSpPr>
            <p:spPr>
              <a:xfrm>
                <a:off x="291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矩形 103"/>
              <p:cNvSpPr/>
              <p:nvPr/>
            </p:nvSpPr>
            <p:spPr>
              <a:xfrm>
                <a:off x="291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矩形 104"/>
              <p:cNvSpPr/>
              <p:nvPr/>
            </p:nvSpPr>
            <p:spPr>
              <a:xfrm>
                <a:off x="291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矩形 105"/>
              <p:cNvSpPr/>
              <p:nvPr/>
            </p:nvSpPr>
            <p:spPr>
              <a:xfrm>
                <a:off x="291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矩形 106"/>
              <p:cNvSpPr/>
              <p:nvPr/>
            </p:nvSpPr>
            <p:spPr>
              <a:xfrm>
                <a:off x="291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矩形 107"/>
              <p:cNvSpPr/>
              <p:nvPr/>
            </p:nvSpPr>
            <p:spPr>
              <a:xfrm>
                <a:off x="291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矩形 109"/>
              <p:cNvSpPr/>
              <p:nvPr/>
            </p:nvSpPr>
            <p:spPr>
              <a:xfrm>
                <a:off x="291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 name="矩形 110"/>
              <p:cNvSpPr/>
              <p:nvPr/>
            </p:nvSpPr>
            <p:spPr>
              <a:xfrm>
                <a:off x="291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矩形 111"/>
              <p:cNvSpPr/>
              <p:nvPr/>
            </p:nvSpPr>
            <p:spPr>
              <a:xfrm>
                <a:off x="291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矩形 114"/>
              <p:cNvSpPr/>
              <p:nvPr/>
            </p:nvSpPr>
            <p:spPr>
              <a:xfrm>
                <a:off x="291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矩形 115"/>
              <p:cNvSpPr/>
              <p:nvPr/>
            </p:nvSpPr>
            <p:spPr>
              <a:xfrm>
                <a:off x="2910" y="1023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p:cNvSpPr/>
              <p:nvPr/>
            </p:nvSpPr>
            <p:spPr>
              <a:xfrm>
                <a:off x="357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p:cNvSpPr/>
              <p:nvPr/>
            </p:nvSpPr>
            <p:spPr>
              <a:xfrm>
                <a:off x="357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矩形 118"/>
              <p:cNvSpPr/>
              <p:nvPr/>
            </p:nvSpPr>
            <p:spPr>
              <a:xfrm>
                <a:off x="357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 name="矩形 119"/>
              <p:cNvSpPr/>
              <p:nvPr/>
            </p:nvSpPr>
            <p:spPr>
              <a:xfrm>
                <a:off x="357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矩形 121"/>
              <p:cNvSpPr/>
              <p:nvPr/>
            </p:nvSpPr>
            <p:spPr>
              <a:xfrm>
                <a:off x="357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矩形 122"/>
              <p:cNvSpPr/>
              <p:nvPr/>
            </p:nvSpPr>
            <p:spPr>
              <a:xfrm>
                <a:off x="357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矩形 123"/>
              <p:cNvSpPr/>
              <p:nvPr/>
            </p:nvSpPr>
            <p:spPr>
              <a:xfrm>
                <a:off x="357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矩形 125"/>
              <p:cNvSpPr/>
              <p:nvPr/>
            </p:nvSpPr>
            <p:spPr>
              <a:xfrm>
                <a:off x="357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矩形 126"/>
              <p:cNvSpPr/>
              <p:nvPr/>
            </p:nvSpPr>
            <p:spPr>
              <a:xfrm>
                <a:off x="357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 name="矩形 128"/>
              <p:cNvSpPr/>
              <p:nvPr/>
            </p:nvSpPr>
            <p:spPr>
              <a:xfrm>
                <a:off x="357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矩形 131"/>
              <p:cNvSpPr/>
              <p:nvPr/>
            </p:nvSpPr>
            <p:spPr>
              <a:xfrm>
                <a:off x="3570"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矩形 132"/>
              <p:cNvSpPr/>
              <p:nvPr/>
            </p:nvSpPr>
            <p:spPr>
              <a:xfrm>
                <a:off x="357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矩形 133"/>
              <p:cNvSpPr/>
              <p:nvPr/>
            </p:nvSpPr>
            <p:spPr>
              <a:xfrm>
                <a:off x="4236"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矩形 134"/>
              <p:cNvSpPr/>
              <p:nvPr/>
            </p:nvSpPr>
            <p:spPr>
              <a:xfrm>
                <a:off x="4236"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7" name="矩形 136"/>
              <p:cNvSpPr/>
              <p:nvPr/>
            </p:nvSpPr>
            <p:spPr>
              <a:xfrm>
                <a:off x="4236"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8" name="矩形 137"/>
              <p:cNvSpPr/>
              <p:nvPr/>
            </p:nvSpPr>
            <p:spPr>
              <a:xfrm>
                <a:off x="4236"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矩形 139"/>
              <p:cNvSpPr/>
              <p:nvPr/>
            </p:nvSpPr>
            <p:spPr>
              <a:xfrm>
                <a:off x="4236"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矩形 140"/>
              <p:cNvSpPr/>
              <p:nvPr/>
            </p:nvSpPr>
            <p:spPr>
              <a:xfrm>
                <a:off x="4236"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矩形 141"/>
              <p:cNvSpPr/>
              <p:nvPr/>
            </p:nvSpPr>
            <p:spPr>
              <a:xfrm>
                <a:off x="4236"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矩形 142"/>
              <p:cNvSpPr/>
              <p:nvPr/>
            </p:nvSpPr>
            <p:spPr>
              <a:xfrm>
                <a:off x="4236"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p:cNvSpPr/>
              <p:nvPr/>
            </p:nvSpPr>
            <p:spPr>
              <a:xfrm>
                <a:off x="4236"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矩形 147"/>
              <p:cNvSpPr/>
              <p:nvPr/>
            </p:nvSpPr>
            <p:spPr>
              <a:xfrm>
                <a:off x="4896"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a:off x="4896"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4896"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p:cNvSpPr/>
              <p:nvPr/>
            </p:nvSpPr>
            <p:spPr>
              <a:xfrm>
                <a:off x="4896"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a:off x="4896"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矩形 152"/>
              <p:cNvSpPr/>
              <p:nvPr/>
            </p:nvSpPr>
            <p:spPr>
              <a:xfrm>
                <a:off x="4896"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矩形 153"/>
              <p:cNvSpPr/>
              <p:nvPr/>
            </p:nvSpPr>
            <p:spPr>
              <a:xfrm>
                <a:off x="4896"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矩形 154"/>
              <p:cNvSpPr/>
              <p:nvPr/>
            </p:nvSpPr>
            <p:spPr>
              <a:xfrm>
                <a:off x="4896"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nvSpPr>
            <p:spPr>
              <a:xfrm>
                <a:off x="4896"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nvSpPr>
            <p:spPr>
              <a:xfrm>
                <a:off x="4896"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a:off x="556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4" name="矩形 163"/>
              <p:cNvSpPr/>
              <p:nvPr/>
            </p:nvSpPr>
            <p:spPr>
              <a:xfrm>
                <a:off x="556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矩形 164"/>
              <p:cNvSpPr/>
              <p:nvPr/>
            </p:nvSpPr>
            <p:spPr>
              <a:xfrm>
                <a:off x="556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矩形 165"/>
              <p:cNvSpPr/>
              <p:nvPr/>
            </p:nvSpPr>
            <p:spPr>
              <a:xfrm>
                <a:off x="556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p:cNvSpPr/>
              <p:nvPr/>
            </p:nvSpPr>
            <p:spPr>
              <a:xfrm>
                <a:off x="556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矩形 168"/>
              <p:cNvSpPr/>
              <p:nvPr/>
            </p:nvSpPr>
            <p:spPr>
              <a:xfrm>
                <a:off x="556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矩形 169"/>
              <p:cNvSpPr/>
              <p:nvPr/>
            </p:nvSpPr>
            <p:spPr>
              <a:xfrm>
                <a:off x="556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矩形 171"/>
              <p:cNvSpPr/>
              <p:nvPr/>
            </p:nvSpPr>
            <p:spPr>
              <a:xfrm>
                <a:off x="556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5" name="矩形 174"/>
              <p:cNvSpPr/>
              <p:nvPr/>
            </p:nvSpPr>
            <p:spPr>
              <a:xfrm>
                <a:off x="622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6" name="矩形 175"/>
              <p:cNvSpPr/>
              <p:nvPr/>
            </p:nvSpPr>
            <p:spPr>
              <a:xfrm>
                <a:off x="622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7" name="矩形 176"/>
              <p:cNvSpPr/>
              <p:nvPr/>
            </p:nvSpPr>
            <p:spPr>
              <a:xfrm>
                <a:off x="622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8" name="矩形 177"/>
              <p:cNvSpPr/>
              <p:nvPr/>
            </p:nvSpPr>
            <p:spPr>
              <a:xfrm>
                <a:off x="622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矩形 178"/>
              <p:cNvSpPr/>
              <p:nvPr/>
            </p:nvSpPr>
            <p:spPr>
              <a:xfrm>
                <a:off x="622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0" name="矩形 179"/>
              <p:cNvSpPr/>
              <p:nvPr/>
            </p:nvSpPr>
            <p:spPr>
              <a:xfrm>
                <a:off x="622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1" name="矩形 180"/>
              <p:cNvSpPr/>
              <p:nvPr/>
            </p:nvSpPr>
            <p:spPr>
              <a:xfrm>
                <a:off x="693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2" name="矩形 181"/>
              <p:cNvSpPr/>
              <p:nvPr/>
            </p:nvSpPr>
            <p:spPr>
              <a:xfrm>
                <a:off x="693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3" name="矩形 182"/>
              <p:cNvSpPr/>
              <p:nvPr/>
            </p:nvSpPr>
            <p:spPr>
              <a:xfrm>
                <a:off x="693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6" name="矩形 195"/>
              <p:cNvSpPr/>
              <p:nvPr/>
            </p:nvSpPr>
            <p:spPr>
              <a:xfrm>
                <a:off x="759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7" name="矩形 196"/>
              <p:cNvSpPr/>
              <p:nvPr/>
            </p:nvSpPr>
            <p:spPr>
              <a:xfrm>
                <a:off x="759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2.3、</a:t>
            </a:r>
            <a:r>
              <a:rPr lang="zh-CN" altLang="en-US" sz="1800" b="1" dirty="0">
                <a:solidFill>
                  <a:srgbClr val="000000"/>
                </a:solidFill>
                <a:cs typeface="+mn-ea"/>
                <a:sym typeface="+mn-ea"/>
              </a:rPr>
              <a:t>机电</a:t>
            </a:r>
            <a:r>
              <a:rPr lang="en-US" altLang="zh-CN" sz="1800" b="1" dirty="0">
                <a:solidFill>
                  <a:srgbClr val="000000"/>
                </a:solidFill>
                <a:cs typeface="+mn-ea"/>
                <a:sym typeface="+mn-ea"/>
              </a:rPr>
              <a:t>规划</a:t>
            </a:r>
            <a:r>
              <a:rPr lang="zh-CN" altLang="en-US" sz="1800" b="1" dirty="0">
                <a:solidFill>
                  <a:srgbClr val="000000"/>
                </a:solidFill>
                <a:cs typeface="+mn-ea"/>
                <a:sym typeface="+mn-ea"/>
              </a:rPr>
              <a:t>（实例）</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8" name="文本框 7"/>
          <p:cNvSpPr txBox="1"/>
          <p:nvPr/>
        </p:nvSpPr>
        <p:spPr>
          <a:xfrm>
            <a:off x="3523615" y="3547110"/>
            <a:ext cx="2299970" cy="2030095"/>
          </a:xfrm>
          <a:prstGeom prst="rect">
            <a:avLst/>
          </a:prstGeom>
          <a:solidFill>
            <a:schemeClr val="bg1"/>
          </a:solidFill>
        </p:spPr>
        <p:txBody>
          <a:bodyPr wrap="square" rtlCol="0">
            <a:spAutoFit/>
          </a:bodyPr>
          <a:lstStyle/>
          <a:p>
            <a:pPr algn="l">
              <a:lnSpc>
                <a:spcPct val="150000"/>
              </a:lnSpc>
            </a:pPr>
            <a:r>
              <a:rPr lang="zh-CN" altLang="en-US" sz="1400" b="1" dirty="0" smtClean="0">
                <a:solidFill>
                  <a:srgbClr val="000000"/>
                </a:solidFill>
                <a:cs typeface="+mn-ea"/>
                <a:sym typeface="+mn-ea"/>
              </a:rPr>
              <a:t>卫生间管线未做规划</a:t>
            </a:r>
            <a:endParaRPr lang="zh-CN" altLang="en-US" sz="1400" dirty="0" smtClean="0">
              <a:solidFill>
                <a:srgbClr val="000000"/>
              </a:solidFill>
              <a:cs typeface="+mn-ea"/>
            </a:endParaRPr>
          </a:p>
          <a:p>
            <a:pPr algn="l">
              <a:lnSpc>
                <a:spcPct val="150000"/>
              </a:lnSpc>
            </a:pPr>
            <a:r>
              <a:rPr lang="zh-CN" altLang="en-US" sz="1400" dirty="0">
                <a:solidFill>
                  <a:srgbClr val="000000"/>
                </a:solidFill>
                <a:cs typeface="+mn-ea"/>
              </a:rPr>
              <a:t>原给排水管线未做综合规划设计，导致淋浴区给水管距离结构墙约</a:t>
            </a:r>
            <a:r>
              <a:rPr lang="en-US" altLang="zh-CN" sz="1400" dirty="0">
                <a:solidFill>
                  <a:srgbClr val="000000"/>
                </a:solidFill>
                <a:cs typeface="+mn-ea"/>
              </a:rPr>
              <a:t>350mm</a:t>
            </a:r>
            <a:r>
              <a:rPr lang="zh-CN" altLang="en-US" sz="1400" dirty="0">
                <a:solidFill>
                  <a:srgbClr val="000000"/>
                </a:solidFill>
                <a:cs typeface="+mn-ea"/>
              </a:rPr>
              <a:t>距离，精装需做管道包封处理，造成空间严重浪费。</a:t>
            </a:r>
          </a:p>
        </p:txBody>
      </p:sp>
      <p:pic>
        <p:nvPicPr>
          <p:cNvPr id="11" name="图片 10" descr="E:\金地品质管理\精装品质管控\精装管控实例图\微信图片_20180712154353.jpg微信图片_20180712154353"/>
          <p:cNvPicPr>
            <a:picLocks noChangeAspect="1"/>
          </p:cNvPicPr>
          <p:nvPr/>
        </p:nvPicPr>
        <p:blipFill>
          <a:blip r:embed="rId2"/>
          <a:srcRect/>
          <a:stretch>
            <a:fillRect/>
          </a:stretch>
        </p:blipFill>
        <p:spPr>
          <a:xfrm>
            <a:off x="1152525" y="2723515"/>
            <a:ext cx="2139950" cy="285369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2" name="图片 11" descr="E:\金地品质管理\精装品质管控\精装管控实例图\微信图片_20180713151746.jpg微信图片_20180713151746"/>
          <p:cNvPicPr>
            <a:picLocks noChangeAspect="1"/>
          </p:cNvPicPr>
          <p:nvPr/>
        </p:nvPicPr>
        <p:blipFill>
          <a:blip r:embed="rId3"/>
          <a:srcRect/>
          <a:stretch>
            <a:fillRect/>
          </a:stretch>
        </p:blipFill>
        <p:spPr>
          <a:xfrm>
            <a:off x="6670675" y="2609850"/>
            <a:ext cx="2036445" cy="285369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6" name="文本框 15"/>
          <p:cNvSpPr txBox="1"/>
          <p:nvPr/>
        </p:nvSpPr>
        <p:spPr>
          <a:xfrm>
            <a:off x="8994140" y="3433445"/>
            <a:ext cx="2299970" cy="2030095"/>
          </a:xfrm>
          <a:prstGeom prst="rect">
            <a:avLst/>
          </a:prstGeom>
          <a:solidFill>
            <a:schemeClr val="bg1"/>
          </a:solidFill>
        </p:spPr>
        <p:txBody>
          <a:bodyPr wrap="square" rtlCol="0">
            <a:spAutoFit/>
          </a:bodyPr>
          <a:lstStyle/>
          <a:p>
            <a:pPr algn="l">
              <a:lnSpc>
                <a:spcPct val="150000"/>
              </a:lnSpc>
            </a:pPr>
            <a:r>
              <a:rPr lang="zh-CN" altLang="en-US" sz="1400" b="1" dirty="0" smtClean="0">
                <a:solidFill>
                  <a:srgbClr val="000000"/>
                </a:solidFill>
                <a:cs typeface="+mn-ea"/>
                <a:sym typeface="+mn-ea"/>
              </a:rPr>
              <a:t>空调孔、插座、暖气未做规划</a:t>
            </a:r>
            <a:endParaRPr lang="zh-CN" altLang="en-US" sz="1400" dirty="0" smtClean="0">
              <a:solidFill>
                <a:srgbClr val="000000"/>
              </a:solidFill>
              <a:cs typeface="+mn-ea"/>
            </a:endParaRPr>
          </a:p>
          <a:p>
            <a:pPr algn="l">
              <a:lnSpc>
                <a:spcPct val="150000"/>
              </a:lnSpc>
            </a:pPr>
            <a:r>
              <a:rPr lang="zh-CN" sz="1400" dirty="0">
                <a:solidFill>
                  <a:srgbClr val="000000"/>
                </a:solidFill>
                <a:cs typeface="+mn-ea"/>
              </a:rPr>
              <a:t>原预留预埋的床头插座、暖气安装点位以及空调孔预留均未做综合规划设计，导致插座被暖气遮挡</a:t>
            </a:r>
          </a:p>
        </p:txBody>
      </p:sp>
      <p:sp>
        <p:nvSpPr>
          <p:cNvPr id="3" name="右箭头 2"/>
          <p:cNvSpPr/>
          <p:nvPr/>
        </p:nvSpPr>
        <p:spPr>
          <a:xfrm>
            <a:off x="1404620" y="4591050"/>
            <a:ext cx="503555" cy="144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右箭头 3"/>
          <p:cNvSpPr/>
          <p:nvPr/>
        </p:nvSpPr>
        <p:spPr>
          <a:xfrm>
            <a:off x="7111365" y="4184650"/>
            <a:ext cx="503555" cy="144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右箭头 5"/>
          <p:cNvSpPr/>
          <p:nvPr/>
        </p:nvSpPr>
        <p:spPr>
          <a:xfrm>
            <a:off x="7255510" y="4929505"/>
            <a:ext cx="503555" cy="144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2" name="标题 1"/>
          <p:cNvSpPr>
            <a:spLocks noGrp="1"/>
          </p:cNvSpPr>
          <p:nvPr>
            <p:ph type="title"/>
          </p:nvPr>
        </p:nvSpPr>
        <p:spPr>
          <a:xfrm>
            <a:off x="880110" y="2567940"/>
            <a:ext cx="2296160" cy="498475"/>
          </a:xfrm>
          <a:solidFill>
            <a:srgbClr val="F64C31"/>
          </a:solidFill>
        </p:spPr>
        <p:txBody>
          <a:bodyPr wrap="square"/>
          <a:lstStyle/>
          <a:p>
            <a:r>
              <a:rPr lang="zh-CN" altLang="en-US" sz="2400" dirty="0" smtClean="0"/>
              <a:t>二、精装启动</a:t>
            </a:r>
          </a:p>
        </p:txBody>
      </p:sp>
      <p:sp>
        <p:nvSpPr>
          <p:cNvPr id="4" name="内容占位符 3"/>
          <p:cNvSpPr txBox="1">
            <a:spLocks noGrp="1"/>
          </p:cNvSpPr>
          <p:nvPr>
            <p:ph type="body" sz="half" idx="2"/>
          </p:nvPr>
        </p:nvSpPr>
        <p:spPr>
          <a:xfrm>
            <a:off x="880110" y="3066415"/>
            <a:ext cx="2644140" cy="1522095"/>
          </a:xfrm>
          <a:prstGeom prst="rect">
            <a:avLst/>
          </a:prstGeom>
          <a:noFill/>
          <a:extLst>
            <a:ext uri="{909E8E84-426E-40DD-AFC4-6F175D3DCCD1}">
              <a14:hiddenFill xmlns:a14="http://schemas.microsoft.com/office/drawing/2010/main">
                <a:solidFill>
                  <a:schemeClr val="bg1"/>
                </a:solidFill>
              </a14:hiddenFill>
            </a:ext>
          </a:extLst>
        </p:spPr>
        <p:txBody>
          <a:bodyPr wrap="square" rtlCol="0">
            <a:noAutofit/>
          </a:bodyPr>
          <a:lstStyle/>
          <a:p>
            <a:pPr>
              <a:lnSpc>
                <a:spcPct val="150000"/>
              </a:lnSpc>
            </a:pPr>
            <a:r>
              <a:rPr lang="en-US" altLang="zh-CN" b="1" dirty="0" smtClean="0">
                <a:latin typeface="+mn-ea"/>
                <a:ea typeface="+mn-ea"/>
                <a:cs typeface="+mn-ea"/>
              </a:rPr>
              <a:t>1</a:t>
            </a:r>
            <a:r>
              <a:rPr lang="zh-CN" altLang="en-US" b="1" dirty="0" smtClean="0">
                <a:latin typeface="+mn-ea"/>
                <a:ea typeface="+mn-ea"/>
                <a:cs typeface="+mn-ea"/>
              </a:rPr>
              <a:t>、精装界面划分</a:t>
            </a:r>
            <a:endParaRPr lang="en-US" altLang="zh-CN" b="1" dirty="0" smtClean="0">
              <a:latin typeface="+mn-ea"/>
              <a:ea typeface="+mn-ea"/>
              <a:cs typeface="+mn-ea"/>
            </a:endParaRPr>
          </a:p>
          <a:p>
            <a:pPr>
              <a:lnSpc>
                <a:spcPct val="150000"/>
              </a:lnSpc>
            </a:pPr>
            <a:r>
              <a:rPr lang="en-US" altLang="zh-CN" b="1" dirty="0" smtClean="0">
                <a:solidFill>
                  <a:srgbClr val="000000"/>
                </a:solidFill>
                <a:latin typeface="+mn-ea"/>
                <a:ea typeface="+mn-ea"/>
                <a:cs typeface="+mn-ea"/>
              </a:rPr>
              <a:t>2</a:t>
            </a:r>
            <a:r>
              <a:rPr lang="zh-CN" altLang="en-US" b="1" dirty="0" smtClean="0">
                <a:solidFill>
                  <a:srgbClr val="000000"/>
                </a:solidFill>
                <a:latin typeface="+mn-ea"/>
                <a:ea typeface="+mn-ea"/>
                <a:cs typeface="+mn-ea"/>
              </a:rPr>
              <a:t>、</a:t>
            </a:r>
            <a:r>
              <a:rPr b="1" smtClean="0">
                <a:latin typeface="+mn-ea"/>
                <a:ea typeface="+mn-ea"/>
                <a:cs typeface="+mn-ea"/>
                <a:sym typeface="+mn-ea"/>
              </a:rPr>
              <a:t>审核精装扩初图</a:t>
            </a:r>
          </a:p>
          <a:p>
            <a:pPr>
              <a:lnSpc>
                <a:spcPct val="150000"/>
              </a:lnSpc>
            </a:pPr>
            <a:r>
              <a:rPr lang="en-US" altLang="zh-CN" b="1" dirty="0" smtClean="0">
                <a:solidFill>
                  <a:srgbClr val="000000"/>
                </a:solidFill>
                <a:latin typeface="+mn-ea"/>
                <a:ea typeface="+mn-ea"/>
                <a:cs typeface="+mn-ea"/>
              </a:rPr>
              <a:t>3</a:t>
            </a:r>
            <a:r>
              <a:rPr b="1" dirty="0" smtClean="0">
                <a:solidFill>
                  <a:srgbClr val="000000"/>
                </a:solidFill>
                <a:latin typeface="+mn-ea"/>
                <a:ea typeface="+mn-ea"/>
                <a:cs typeface="+mn-ea"/>
              </a:rPr>
              <a:t>、</a:t>
            </a:r>
            <a:r>
              <a:rPr b="1" smtClean="0">
                <a:solidFill>
                  <a:srgbClr val="000000"/>
                </a:solidFill>
                <a:cs typeface="+mn-ea"/>
                <a:sym typeface="+mn-ea"/>
              </a:rPr>
              <a:t>审核</a:t>
            </a:r>
            <a:r>
              <a:rPr b="1" dirty="0" smtClean="0">
                <a:solidFill>
                  <a:srgbClr val="000000"/>
                </a:solidFill>
                <a:latin typeface="+mn-ea"/>
                <a:ea typeface="+mn-ea"/>
                <a:cs typeface="+mn-ea"/>
              </a:rPr>
              <a:t>精装设计封样</a:t>
            </a:r>
          </a:p>
          <a:p>
            <a:pPr>
              <a:lnSpc>
                <a:spcPct val="150000"/>
              </a:lnSpc>
            </a:pPr>
            <a:endParaRPr b="1" dirty="0" smtClean="0">
              <a:solidFill>
                <a:srgbClr val="000000"/>
              </a:solidFill>
              <a:latin typeface="+mn-ea"/>
              <a:ea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二</a:t>
            </a:r>
            <a:r>
              <a:rPr lang="zh-CN" altLang="en-US" sz="2000" b="1" dirty="0" smtClean="0">
                <a:solidFill>
                  <a:srgbClr val="F64C31"/>
                </a:solidFill>
                <a:cs typeface="+mn-ea"/>
              </a:rPr>
              <a:t>、精装启动</a:t>
            </a:r>
          </a:p>
        </p:txBody>
      </p:sp>
      <p:sp>
        <p:nvSpPr>
          <p:cNvPr id="2" name="文本框 1"/>
          <p:cNvSpPr txBox="1"/>
          <p:nvPr/>
        </p:nvSpPr>
        <p:spPr>
          <a:xfrm>
            <a:off x="684287" y="228130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1</a:t>
            </a:r>
            <a:r>
              <a:rPr lang="zh-CN" altLang="en-US" sz="1800" b="1" dirty="0" smtClean="0">
                <a:solidFill>
                  <a:srgbClr val="000000"/>
                </a:solidFill>
                <a:cs typeface="+mn-ea"/>
              </a:rPr>
              <a:t>、精装界面划分</a:t>
            </a:r>
            <a:endParaRPr lang="en-US" altLang="zh-CN" sz="1800" b="1" dirty="0">
              <a:solidFill>
                <a:srgbClr val="000000"/>
              </a:solidFill>
              <a:cs typeface="+mn-ea"/>
            </a:endParaRPr>
          </a:p>
        </p:txBody>
      </p:sp>
      <p:sp>
        <p:nvSpPr>
          <p:cNvPr id="6" name="文本框 5"/>
          <p:cNvSpPr txBox="1"/>
          <p:nvPr/>
        </p:nvSpPr>
        <p:spPr>
          <a:xfrm>
            <a:off x="684530" y="2788920"/>
            <a:ext cx="10765155" cy="378460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latin typeface="+mn-ea"/>
                <a:cs typeface="+mn-ea"/>
              </a:rPr>
              <a:t>工作内容：</a:t>
            </a:r>
            <a:endParaRPr lang="en-US" altLang="zh-CN" sz="1600" b="1" dirty="0" smtClean="0">
              <a:solidFill>
                <a:srgbClr val="000000"/>
              </a:solidFill>
              <a:latin typeface="+mn-ea"/>
              <a:cs typeface="+mn-ea"/>
            </a:endParaRPr>
          </a:p>
          <a:p>
            <a:pPr>
              <a:lnSpc>
                <a:spcPct val="150000"/>
              </a:lnSpc>
            </a:pPr>
            <a:r>
              <a:rPr lang="zh-CN" altLang="en-US" sz="1600" dirty="0" smtClean="0">
                <a:solidFill>
                  <a:srgbClr val="000000"/>
                </a:solidFill>
                <a:latin typeface="+mn-ea"/>
                <a:cs typeface="+mn-ea"/>
              </a:rPr>
              <a:t>梳理土建与精装施工内容：</a:t>
            </a:r>
            <a:endParaRPr lang="en-US" altLang="zh-CN" sz="1600" dirty="0" smtClean="0">
              <a:solidFill>
                <a:srgbClr val="000000"/>
              </a:solidFill>
              <a:latin typeface="+mn-ea"/>
              <a:cs typeface="+mn-ea"/>
            </a:endParaRPr>
          </a:p>
          <a:p>
            <a:pPr>
              <a:lnSpc>
                <a:spcPct val="150000"/>
              </a:lnSpc>
            </a:pPr>
            <a:r>
              <a:rPr lang="en-US" altLang="zh-CN" sz="1600" dirty="0" smtClean="0">
                <a:solidFill>
                  <a:srgbClr val="000000"/>
                </a:solidFill>
                <a:latin typeface="+mn-ea"/>
                <a:cs typeface="+mn-ea"/>
              </a:rPr>
              <a:t>1</a:t>
            </a:r>
            <a:r>
              <a:rPr lang="zh-CN" altLang="en-US" sz="1600" dirty="0" smtClean="0">
                <a:solidFill>
                  <a:srgbClr val="000000"/>
                </a:solidFill>
                <a:latin typeface="+mn-ea"/>
                <a:cs typeface="+mn-ea"/>
              </a:rPr>
              <a:t>、审核土建各专业图纸与精装图纸施工是否存在重叠或施工死角漏项明确装饰工程施工界面</a:t>
            </a:r>
            <a:endParaRPr lang="en-US" altLang="zh-CN" sz="1600" dirty="0" smtClean="0">
              <a:solidFill>
                <a:srgbClr val="000000"/>
              </a:solidFill>
              <a:latin typeface="+mn-ea"/>
              <a:cs typeface="+mn-ea"/>
            </a:endParaRPr>
          </a:p>
          <a:p>
            <a:pPr>
              <a:lnSpc>
                <a:spcPct val="150000"/>
              </a:lnSpc>
            </a:pPr>
            <a:r>
              <a:rPr lang="en-US" altLang="zh-CN" sz="1600" dirty="0" smtClean="0">
                <a:solidFill>
                  <a:srgbClr val="000000"/>
                </a:solidFill>
                <a:latin typeface="+mn-ea"/>
                <a:cs typeface="+mn-ea"/>
              </a:rPr>
              <a:t>2</a:t>
            </a:r>
            <a:r>
              <a:rPr lang="zh-CN" altLang="en-US" sz="1600" dirty="0" smtClean="0">
                <a:solidFill>
                  <a:srgbClr val="000000"/>
                </a:solidFill>
                <a:latin typeface="+mn-ea"/>
                <a:cs typeface="+mn-ea"/>
              </a:rPr>
              <a:t>、审核户内、公区、地下室的给排水、暖通、机电等综合管线及点位落位图纸，明确隐蔽工程施工界面</a:t>
            </a:r>
            <a:r>
              <a:rPr lang="zh-CN" altLang="en-US" sz="1600" dirty="0" smtClean="0">
                <a:solidFill>
                  <a:srgbClr val="000000"/>
                </a:solidFill>
                <a:latin typeface="+mn-ea"/>
                <a:cs typeface="+mn-ea"/>
                <a:sym typeface="+mn-ea"/>
              </a:rPr>
              <a:t>。</a:t>
            </a:r>
            <a:endParaRPr lang="en-US" altLang="zh-CN" sz="1600" dirty="0" smtClean="0">
              <a:solidFill>
                <a:srgbClr val="000000"/>
              </a:solidFill>
              <a:latin typeface="+mn-ea"/>
              <a:cs typeface="+mn-ea"/>
            </a:endParaRPr>
          </a:p>
          <a:p>
            <a:pPr>
              <a:lnSpc>
                <a:spcPct val="150000"/>
              </a:lnSpc>
            </a:pPr>
            <a:r>
              <a:rPr lang="zh-CN" altLang="en-US" sz="1600" b="1" dirty="0" smtClean="0">
                <a:solidFill>
                  <a:srgbClr val="000000"/>
                </a:solidFill>
                <a:latin typeface="+mn-ea"/>
                <a:cs typeface="+mn-ea"/>
              </a:rPr>
              <a:t>工作目的：</a:t>
            </a:r>
            <a:endParaRPr lang="en-US" altLang="zh-CN" sz="1600" b="1" dirty="0">
              <a:solidFill>
                <a:srgbClr val="000000"/>
              </a:solidFill>
              <a:latin typeface="+mn-ea"/>
              <a:cs typeface="+mn-ea"/>
            </a:endParaRPr>
          </a:p>
          <a:p>
            <a:pPr>
              <a:lnSpc>
                <a:spcPct val="150000"/>
              </a:lnSpc>
            </a:pPr>
            <a:r>
              <a:rPr lang="zh-CN" altLang="en-US" sz="1600" dirty="0" smtClean="0">
                <a:solidFill>
                  <a:srgbClr val="000000"/>
                </a:solidFill>
                <a:latin typeface="+mn-ea"/>
                <a:cs typeface="+mn-ea"/>
              </a:rPr>
              <a:t>       因精装施工开始时是土建收尾阶段，必须考虑到土建在竣工备案后总包单位的相关专业分包单位处于结算开始期，会存在严重的配合不及时状况。</a:t>
            </a:r>
          </a:p>
          <a:p>
            <a:pPr>
              <a:lnSpc>
                <a:spcPct val="150000"/>
              </a:lnSpc>
            </a:pPr>
            <a:r>
              <a:rPr lang="zh-CN" altLang="en-US" sz="1600" dirty="0" smtClean="0">
                <a:solidFill>
                  <a:srgbClr val="000000"/>
                </a:solidFill>
                <a:latin typeface="+mn-ea"/>
                <a:cs typeface="+mn-ea"/>
              </a:rPr>
              <a:t>       </a:t>
            </a:r>
            <a:r>
              <a:rPr lang="zh-CN" altLang="en-US" sz="1600" dirty="0" smtClean="0">
                <a:solidFill>
                  <a:srgbClr val="000000"/>
                </a:solidFill>
                <a:latin typeface="+mn-ea"/>
                <a:cs typeface="+mn-ea"/>
                <a:sym typeface="+mn-ea"/>
              </a:rPr>
              <a:t>精装招标前期必须明确精装工程与土建工程的界面划分，避免在精装过程中发生上述原因造成工期延误，致使因抢工造成质量缺陷等严重问题。</a:t>
            </a:r>
            <a:endParaRPr lang="en-US" altLang="zh-CN" sz="1600" dirty="0" smtClean="0">
              <a:solidFill>
                <a:srgbClr val="000000"/>
              </a:solidFill>
              <a:latin typeface="+mn-ea"/>
              <a:cs typeface="+mn-ea"/>
            </a:endParaRPr>
          </a:p>
          <a:p>
            <a:pPr>
              <a:lnSpc>
                <a:spcPct val="150000"/>
              </a:lnSpc>
            </a:pPr>
            <a:r>
              <a:rPr lang="en-US" altLang="zh-CN" sz="1600" dirty="0">
                <a:solidFill>
                  <a:srgbClr val="000000"/>
                </a:solidFill>
                <a:latin typeface="+mn-ea"/>
                <a:cs typeface="+mn-ea"/>
              </a:rPr>
              <a:t>       </a:t>
            </a:r>
            <a:endParaRPr lang="zh-CN" altLang="en-US" sz="16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二</a:t>
            </a:r>
            <a:r>
              <a:rPr lang="zh-CN" altLang="en-US" sz="2000" b="1" dirty="0" smtClean="0">
                <a:solidFill>
                  <a:srgbClr val="F64C31"/>
                </a:solidFill>
                <a:cs typeface="+mn-ea"/>
              </a:rPr>
              <a:t>、精装启动</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1、精装界面划分</a:t>
            </a:r>
            <a:r>
              <a:rPr lang="zh-CN" altLang="en-US" sz="1800" b="1" dirty="0">
                <a:solidFill>
                  <a:srgbClr val="000000"/>
                </a:solidFill>
                <a:cs typeface="+mn-ea"/>
                <a:sym typeface="+mn-ea"/>
              </a:rPr>
              <a:t>（实例）</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11" name="图片 10" descr="E:\金地品质管理\精装品质管控\精装管控实例图\微信图片_20180712154353.jpg微信图片_20180712154353"/>
          <p:cNvPicPr>
            <a:picLocks noChangeAspect="1"/>
          </p:cNvPicPr>
          <p:nvPr/>
        </p:nvPicPr>
        <p:blipFill>
          <a:blip r:embed="rId2"/>
          <a:srcRect/>
          <a:stretch>
            <a:fillRect/>
          </a:stretch>
        </p:blipFill>
        <p:spPr>
          <a:xfrm>
            <a:off x="1143000" y="1710690"/>
            <a:ext cx="2139950" cy="285369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2" name="图片 11" descr="E:\金地品质管理\精装品质管控\精装管控实例图\微信图片_20180712152355.jpg微信图片_20180712152355"/>
          <p:cNvPicPr>
            <a:picLocks noChangeAspect="1"/>
          </p:cNvPicPr>
          <p:nvPr/>
        </p:nvPicPr>
        <p:blipFill>
          <a:blip r:embed="rId3"/>
          <a:srcRect/>
          <a:stretch>
            <a:fillRect/>
          </a:stretch>
        </p:blipFill>
        <p:spPr>
          <a:xfrm>
            <a:off x="4063683" y="1710690"/>
            <a:ext cx="1610360" cy="285369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6" name="文本框 15"/>
          <p:cNvSpPr txBox="1"/>
          <p:nvPr/>
        </p:nvSpPr>
        <p:spPr>
          <a:xfrm>
            <a:off x="6252210" y="1710690"/>
            <a:ext cx="5271135" cy="4939030"/>
          </a:xfrm>
          <a:prstGeom prst="rect">
            <a:avLst/>
          </a:prstGeom>
          <a:solidFill>
            <a:schemeClr val="bg1"/>
          </a:solidFill>
        </p:spPr>
        <p:txBody>
          <a:bodyPr wrap="square" rtlCol="0">
            <a:spAutoFit/>
          </a:bodyPr>
          <a:lstStyle/>
          <a:p>
            <a:pPr algn="l">
              <a:lnSpc>
                <a:spcPct val="150000"/>
              </a:lnSpc>
            </a:pPr>
            <a:r>
              <a:rPr lang="zh-CN" altLang="en-US" sz="1400" b="1" dirty="0" smtClean="0">
                <a:solidFill>
                  <a:srgbClr val="000000"/>
                </a:solidFill>
                <a:cs typeface="+mn-ea"/>
                <a:sym typeface="+mn-ea"/>
              </a:rPr>
              <a:t>暖气管，厨房、卫生间给水管：</a:t>
            </a:r>
          </a:p>
          <a:p>
            <a:pPr algn="l">
              <a:lnSpc>
                <a:spcPct val="150000"/>
              </a:lnSpc>
            </a:pPr>
            <a:r>
              <a:rPr lang="zh-CN" altLang="en-US" sz="1400" b="1" dirty="0" smtClean="0">
                <a:solidFill>
                  <a:srgbClr val="000000"/>
                </a:solidFill>
                <a:cs typeface="+mn-ea"/>
                <a:sym typeface="+mn-ea"/>
              </a:rPr>
              <a:t>对精装不力原因如下：</a:t>
            </a:r>
            <a:endParaRPr lang="zh-CN" altLang="en-US" sz="1400" dirty="0" smtClean="0">
              <a:solidFill>
                <a:srgbClr val="000000"/>
              </a:solidFill>
              <a:cs typeface="+mn-ea"/>
            </a:endParaRPr>
          </a:p>
          <a:p>
            <a:pPr algn="l">
              <a:lnSpc>
                <a:spcPct val="150000"/>
              </a:lnSpc>
            </a:pPr>
            <a:r>
              <a:rPr lang="zh-CN" sz="1400" dirty="0">
                <a:solidFill>
                  <a:srgbClr val="000000"/>
                </a:solidFill>
                <a:cs typeface="+mn-ea"/>
              </a:rPr>
              <a:t>因土建工程已经竣备，土建总包已经启动结算工作，现场的相关图纸调整均不愿做。</a:t>
            </a:r>
          </a:p>
          <a:p>
            <a:pPr algn="l">
              <a:lnSpc>
                <a:spcPct val="150000"/>
              </a:lnSpc>
            </a:pPr>
            <a:r>
              <a:rPr lang="en-US" altLang="zh-CN" sz="1400" b="1" dirty="0">
                <a:solidFill>
                  <a:srgbClr val="000000"/>
                </a:solidFill>
                <a:cs typeface="+mn-ea"/>
              </a:rPr>
              <a:t>1</a:t>
            </a:r>
            <a:r>
              <a:rPr lang="zh-CN" altLang="en-US" sz="1400" b="1" dirty="0">
                <a:solidFill>
                  <a:srgbClr val="000000"/>
                </a:solidFill>
                <a:cs typeface="+mn-ea"/>
              </a:rPr>
              <a:t>、成本增加：</a:t>
            </a:r>
            <a:r>
              <a:rPr lang="zh-CN" sz="1400" dirty="0">
                <a:solidFill>
                  <a:srgbClr val="000000"/>
                </a:solidFill>
                <a:cs typeface="+mn-ea"/>
              </a:rPr>
              <a:t>致使其分包单位依据原建筑暖通设计图进行施工，使其路由施工随意性严重，不符合精装需求，</a:t>
            </a:r>
            <a:r>
              <a:rPr lang="zh-CN" sz="1400" b="1" dirty="0">
                <a:solidFill>
                  <a:srgbClr val="000000"/>
                </a:solidFill>
                <a:cs typeface="+mn-ea"/>
              </a:rPr>
              <a:t>左二图</a:t>
            </a:r>
            <a:r>
              <a:rPr lang="zh-CN" sz="1400" dirty="0">
                <a:solidFill>
                  <a:srgbClr val="000000"/>
                </a:solidFill>
                <a:cs typeface="+mn-ea"/>
              </a:rPr>
              <a:t>为建筑墙内有钢筋为保证结构安全无法断筋。</a:t>
            </a:r>
          </a:p>
          <a:p>
            <a:pPr algn="l">
              <a:lnSpc>
                <a:spcPct val="150000"/>
              </a:lnSpc>
            </a:pPr>
            <a:r>
              <a:rPr lang="zh-CN" sz="1400" b="1" dirty="0">
                <a:solidFill>
                  <a:srgbClr val="000000"/>
                </a:solidFill>
                <a:cs typeface="+mn-ea"/>
              </a:rPr>
              <a:t>暖气管被迫露出墙体，精装只能增加成本做面层石膏板等包封措施</a:t>
            </a:r>
            <a:r>
              <a:rPr lang="zh-CN" sz="1400" dirty="0">
                <a:solidFill>
                  <a:srgbClr val="000000"/>
                </a:solidFill>
                <a:cs typeface="+mn-ea"/>
              </a:rPr>
              <a:t>。</a:t>
            </a:r>
          </a:p>
          <a:p>
            <a:pPr algn="l">
              <a:lnSpc>
                <a:spcPct val="150000"/>
              </a:lnSpc>
            </a:pPr>
            <a:r>
              <a:rPr lang="en-US" altLang="zh-CN" sz="1400" b="1" dirty="0">
                <a:solidFill>
                  <a:srgbClr val="000000"/>
                </a:solidFill>
                <a:cs typeface="+mn-ea"/>
              </a:rPr>
              <a:t>2</a:t>
            </a:r>
            <a:r>
              <a:rPr lang="zh-CN" altLang="en-US" sz="1400" b="1" dirty="0">
                <a:solidFill>
                  <a:srgbClr val="000000"/>
                </a:solidFill>
                <a:cs typeface="+mn-ea"/>
              </a:rPr>
              <a:t>、工期延误：</a:t>
            </a:r>
            <a:r>
              <a:rPr lang="zh-CN" altLang="en-US" sz="1400" dirty="0">
                <a:solidFill>
                  <a:srgbClr val="000000"/>
                </a:solidFill>
                <a:cs typeface="+mn-ea"/>
              </a:rPr>
              <a:t>因总包各分包专业经历了竣备到精装进场的空档期，他们为节约劳动力成本，在此期间劳动力已经出现大部分撤场情况，精装进场后的施工配合工作会出现严重的劳动力不足问题，致使精装施工出现严重的滞后。</a:t>
            </a:r>
          </a:p>
          <a:p>
            <a:pPr algn="l">
              <a:lnSpc>
                <a:spcPct val="150000"/>
              </a:lnSpc>
            </a:pPr>
            <a:r>
              <a:rPr lang="zh-CN" altLang="en-US" sz="1400" b="1" dirty="0">
                <a:solidFill>
                  <a:srgbClr val="000000"/>
                </a:solidFill>
                <a:cs typeface="+mn-ea"/>
              </a:rPr>
              <a:t>造成精装工期紧张会发生抢工质量风险以及精装分包单位抢工费用的争议，发生额外成本。</a:t>
            </a:r>
          </a:p>
        </p:txBody>
      </p:sp>
      <p:sp>
        <p:nvSpPr>
          <p:cNvPr id="3" name="文本框 2"/>
          <p:cNvSpPr txBox="1"/>
          <p:nvPr/>
        </p:nvSpPr>
        <p:spPr>
          <a:xfrm>
            <a:off x="1143000" y="4950460"/>
            <a:ext cx="4530725" cy="1060450"/>
          </a:xfrm>
          <a:prstGeom prst="rect">
            <a:avLst/>
          </a:prstGeom>
          <a:solidFill>
            <a:schemeClr val="bg1"/>
          </a:solidFill>
        </p:spPr>
        <p:txBody>
          <a:bodyPr wrap="square" rtlCol="0">
            <a:spAutoFit/>
          </a:bodyPr>
          <a:lstStyle/>
          <a:p>
            <a:pPr algn="l">
              <a:lnSpc>
                <a:spcPct val="150000"/>
              </a:lnSpc>
            </a:pPr>
            <a:r>
              <a:rPr lang="zh-CN" altLang="en-US" sz="1400" b="1" dirty="0" smtClean="0">
                <a:solidFill>
                  <a:schemeClr val="accent1"/>
                </a:solidFill>
                <a:cs typeface="+mn-ea"/>
                <a:sym typeface="+mn-ea"/>
              </a:rPr>
              <a:t>解决办法：</a:t>
            </a:r>
            <a:r>
              <a:rPr lang="zh-CN" altLang="en-US" sz="1400" dirty="0" smtClean="0">
                <a:solidFill>
                  <a:schemeClr val="accent1"/>
                </a:solidFill>
                <a:cs typeface="+mn-ea"/>
                <a:sym typeface="+mn-ea"/>
              </a:rPr>
              <a:t>总包界面规划，暖气管线、给水管线施工至入户预留接驳点位，户内管线敷设均划分给精装单位进行施工。</a:t>
            </a:r>
          </a:p>
        </p:txBody>
      </p:sp>
      <p:sp>
        <p:nvSpPr>
          <p:cNvPr id="6" name="右箭头 5"/>
          <p:cNvSpPr/>
          <p:nvPr/>
        </p:nvSpPr>
        <p:spPr>
          <a:xfrm>
            <a:off x="1404620" y="3582670"/>
            <a:ext cx="503555" cy="165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右箭头 7"/>
          <p:cNvSpPr/>
          <p:nvPr/>
        </p:nvSpPr>
        <p:spPr>
          <a:xfrm>
            <a:off x="4122420" y="2625725"/>
            <a:ext cx="503555" cy="165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二</a:t>
            </a:r>
            <a:r>
              <a:rPr lang="zh-CN" altLang="en-US" sz="2000" b="1" dirty="0" smtClean="0">
                <a:solidFill>
                  <a:srgbClr val="F64C31"/>
                </a:solidFill>
                <a:cs typeface="+mn-ea"/>
              </a:rPr>
              <a:t>、精装启动</a:t>
            </a:r>
          </a:p>
        </p:txBody>
      </p:sp>
      <p:sp>
        <p:nvSpPr>
          <p:cNvPr id="2" name="文本框 1"/>
          <p:cNvSpPr txBox="1"/>
          <p:nvPr/>
        </p:nvSpPr>
        <p:spPr>
          <a:xfrm>
            <a:off x="684287" y="70269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2</a:t>
            </a:r>
            <a:r>
              <a:rPr lang="zh-CN" altLang="en-US" sz="1800" b="1" dirty="0" smtClean="0">
                <a:solidFill>
                  <a:srgbClr val="000000"/>
                </a:solidFill>
                <a:cs typeface="+mn-ea"/>
              </a:rPr>
              <a:t>、</a:t>
            </a:r>
            <a:r>
              <a:rPr sz="1800" b="1" smtClean="0">
                <a:latin typeface="+mn-ea"/>
                <a:cs typeface="+mn-ea"/>
                <a:sym typeface="+mn-ea"/>
              </a:rPr>
              <a:t>审核</a:t>
            </a:r>
            <a:r>
              <a:rPr lang="zh-CN" altLang="en-US" sz="1800" b="1" dirty="0" smtClean="0">
                <a:solidFill>
                  <a:srgbClr val="000000"/>
                </a:solidFill>
                <a:cs typeface="+mn-ea"/>
              </a:rPr>
              <a:t>精装扩初图</a:t>
            </a:r>
            <a:endParaRPr lang="en-US" altLang="zh-CN" sz="1800" b="1" dirty="0">
              <a:solidFill>
                <a:srgbClr val="000000"/>
              </a:solidFill>
              <a:cs typeface="+mn-ea"/>
            </a:endParaRPr>
          </a:p>
        </p:txBody>
      </p:sp>
      <p:sp>
        <p:nvSpPr>
          <p:cNvPr id="6" name="文本框 5"/>
          <p:cNvSpPr txBox="1"/>
          <p:nvPr/>
        </p:nvSpPr>
        <p:spPr>
          <a:xfrm>
            <a:off x="684530" y="1282065"/>
            <a:ext cx="10765155" cy="493903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en-US" altLang="zh-CN" sz="1400" dirty="0" smtClean="0">
                <a:solidFill>
                  <a:srgbClr val="000000"/>
                </a:solidFill>
                <a:latin typeface="+mn-ea"/>
                <a:cs typeface="+mn-ea"/>
              </a:rPr>
              <a:t>1</a:t>
            </a:r>
            <a:r>
              <a:rPr lang="zh-CN" altLang="en-US" sz="1400" dirty="0" smtClean="0">
                <a:solidFill>
                  <a:srgbClr val="000000"/>
                </a:solidFill>
                <a:latin typeface="+mn-ea"/>
                <a:cs typeface="+mn-ea"/>
              </a:rPr>
              <a:t>、审核精装作业面的完整性：</a:t>
            </a:r>
          </a:p>
          <a:p>
            <a:pPr>
              <a:lnSpc>
                <a:spcPct val="150000"/>
              </a:lnSpc>
            </a:pPr>
            <a:r>
              <a:rPr lang="zh-CN" sz="1400" dirty="0" smtClean="0">
                <a:solidFill>
                  <a:srgbClr val="000000"/>
                </a:solidFill>
                <a:latin typeface="+mn-ea"/>
                <a:cs typeface="+mn-ea"/>
                <a:sym typeface="+mn-ea"/>
              </a:rPr>
              <a:t>       由工程管理部精装组，</a:t>
            </a:r>
            <a:r>
              <a:rPr sz="1400" dirty="0" smtClean="0">
                <a:solidFill>
                  <a:srgbClr val="000000"/>
                </a:solidFill>
                <a:latin typeface="+mn-ea"/>
                <a:cs typeface="+mn-ea"/>
                <a:sym typeface="+mn-ea"/>
              </a:rPr>
              <a:t>组织</a:t>
            </a:r>
            <a:r>
              <a:rPr lang="zh-CN" sz="1400" dirty="0" smtClean="0">
                <a:solidFill>
                  <a:srgbClr val="000000"/>
                </a:solidFill>
                <a:latin typeface="+mn-ea"/>
                <a:cs typeface="+mn-ea"/>
                <a:sym typeface="+mn-ea"/>
              </a:rPr>
              <a:t>项目公司、设计部进行精装作业面与现场土建结构进行实际比对，梳理出土建遗留、漏落或者封堵、收口以及土建施工无法达到的美观性质量要求的工作面，由设计部协调设计单位进行节点补充或优化。</a:t>
            </a:r>
          </a:p>
          <a:p>
            <a:pPr>
              <a:lnSpc>
                <a:spcPct val="150000"/>
              </a:lnSpc>
            </a:pPr>
            <a:r>
              <a:rPr lang="zh-CN" sz="1400" b="1" dirty="0" smtClean="0">
                <a:solidFill>
                  <a:srgbClr val="000000"/>
                </a:solidFill>
                <a:latin typeface="+mn-ea"/>
                <a:cs typeface="+mn-ea"/>
                <a:sym typeface="+mn-ea"/>
              </a:rPr>
              <a:t>（如：未未来项目的公共区域窗子与赠送平台的层间封堵）</a:t>
            </a:r>
            <a:endParaRPr lang="zh-CN" altLang="en-US" sz="1400" dirty="0" smtClean="0">
              <a:solidFill>
                <a:srgbClr val="000000"/>
              </a:solidFill>
              <a:latin typeface="+mn-ea"/>
              <a:cs typeface="+mn-ea"/>
            </a:endParaRPr>
          </a:p>
          <a:p>
            <a:pPr>
              <a:lnSpc>
                <a:spcPct val="150000"/>
              </a:lnSpc>
            </a:pPr>
            <a:r>
              <a:rPr lang="en-US" altLang="zh-CN" sz="1400" dirty="0" smtClean="0">
                <a:solidFill>
                  <a:srgbClr val="000000"/>
                </a:solidFill>
                <a:latin typeface="+mn-ea"/>
                <a:cs typeface="+mn-ea"/>
              </a:rPr>
              <a:t>2</a:t>
            </a:r>
            <a:r>
              <a:rPr lang="zh-CN" altLang="en-US" sz="1400" dirty="0" smtClean="0">
                <a:solidFill>
                  <a:srgbClr val="000000"/>
                </a:solidFill>
                <a:latin typeface="+mn-ea"/>
                <a:cs typeface="+mn-ea"/>
              </a:rPr>
              <a:t>、优化节点做法：</a:t>
            </a:r>
            <a:endParaRPr lang="en-US" altLang="zh-CN" sz="1400" dirty="0" smtClean="0">
              <a:solidFill>
                <a:srgbClr val="000000"/>
              </a:solidFill>
              <a:latin typeface="+mn-ea"/>
              <a:cs typeface="+mn-ea"/>
            </a:endParaRPr>
          </a:p>
          <a:p>
            <a:pPr>
              <a:lnSpc>
                <a:spcPct val="150000"/>
              </a:lnSpc>
            </a:pPr>
            <a:r>
              <a:rPr lang="zh-CN" sz="1400" dirty="0" smtClean="0">
                <a:solidFill>
                  <a:srgbClr val="000000"/>
                </a:solidFill>
                <a:latin typeface="+mn-ea"/>
                <a:cs typeface="+mn-ea"/>
              </a:rPr>
              <a:t>       由工程管理部精装组，</a:t>
            </a:r>
            <a:r>
              <a:rPr sz="1400" dirty="0" smtClean="0">
                <a:solidFill>
                  <a:srgbClr val="000000"/>
                </a:solidFill>
                <a:latin typeface="+mn-ea"/>
                <a:cs typeface="+mn-ea"/>
              </a:rPr>
              <a:t>组织</a:t>
            </a:r>
            <a:r>
              <a:rPr lang="zh-CN" sz="1400" dirty="0" smtClean="0">
                <a:solidFill>
                  <a:srgbClr val="000000"/>
                </a:solidFill>
                <a:latin typeface="+mn-ea"/>
                <a:cs typeface="+mn-ea"/>
              </a:rPr>
              <a:t>项目公司、</a:t>
            </a:r>
            <a:r>
              <a:rPr sz="1400" dirty="0" smtClean="0">
                <a:solidFill>
                  <a:srgbClr val="000000"/>
                </a:solidFill>
                <a:latin typeface="+mn-ea"/>
                <a:cs typeface="+mn-ea"/>
              </a:rPr>
              <a:t>成本部、设计部</a:t>
            </a:r>
            <a:r>
              <a:rPr lang="zh-CN" sz="1400" dirty="0" smtClean="0">
                <a:solidFill>
                  <a:srgbClr val="000000"/>
                </a:solidFill>
                <a:latin typeface="+mn-ea"/>
                <a:cs typeface="+mn-ea"/>
              </a:rPr>
              <a:t>进行</a:t>
            </a:r>
            <a:r>
              <a:rPr sz="1400" dirty="0" smtClean="0">
                <a:solidFill>
                  <a:srgbClr val="000000"/>
                </a:solidFill>
                <a:latin typeface="+mn-ea"/>
                <a:cs typeface="+mn-ea"/>
              </a:rPr>
              <a:t>图纸</a:t>
            </a:r>
            <a:r>
              <a:rPr sz="1400" dirty="0" smtClean="0">
                <a:solidFill>
                  <a:srgbClr val="000000"/>
                </a:solidFill>
                <a:latin typeface="+mn-ea"/>
                <a:cs typeface="+mn-ea"/>
                <a:sym typeface="+mn-ea"/>
              </a:rPr>
              <a:t>优化</a:t>
            </a:r>
            <a:r>
              <a:rPr sz="1400" dirty="0" smtClean="0">
                <a:solidFill>
                  <a:srgbClr val="000000"/>
                </a:solidFill>
                <a:latin typeface="+mn-ea"/>
                <a:cs typeface="+mn-ea"/>
              </a:rPr>
              <a:t>，针对不合理图纸节点</a:t>
            </a:r>
            <a:r>
              <a:rPr lang="zh-CN" sz="1400" dirty="0" smtClean="0">
                <a:solidFill>
                  <a:srgbClr val="000000"/>
                </a:solidFill>
                <a:latin typeface="+mn-ea"/>
                <a:cs typeface="+mn-ea"/>
              </a:rPr>
              <a:t>进行</a:t>
            </a:r>
            <a:r>
              <a:rPr sz="1400" dirty="0" smtClean="0">
                <a:solidFill>
                  <a:srgbClr val="000000"/>
                </a:solidFill>
                <a:latin typeface="+mn-ea"/>
                <a:cs typeface="+mn-ea"/>
              </a:rPr>
              <a:t>调整，针对</a:t>
            </a:r>
            <a:r>
              <a:rPr lang="zh-CN" sz="1400" dirty="0" smtClean="0">
                <a:solidFill>
                  <a:srgbClr val="000000"/>
                </a:solidFill>
                <a:latin typeface="+mn-ea"/>
                <a:cs typeface="+mn-ea"/>
              </a:rPr>
              <a:t>工程过程中的</a:t>
            </a:r>
            <a:r>
              <a:rPr sz="1400" dirty="0" smtClean="0">
                <a:solidFill>
                  <a:srgbClr val="000000"/>
                </a:solidFill>
                <a:latin typeface="+mn-ea"/>
                <a:cs typeface="+mn-ea"/>
              </a:rPr>
              <a:t>工序重点和难点及注意事项、特殊工艺要求，</a:t>
            </a:r>
            <a:r>
              <a:rPr lang="zh-CN" sz="1400" dirty="0" smtClean="0">
                <a:solidFill>
                  <a:srgbClr val="000000"/>
                </a:solidFill>
                <a:latin typeface="+mn-ea"/>
                <a:cs typeface="+mn-ea"/>
              </a:rPr>
              <a:t>进行</a:t>
            </a:r>
            <a:r>
              <a:rPr sz="1400" dirty="0" smtClean="0">
                <a:solidFill>
                  <a:srgbClr val="000000"/>
                </a:solidFill>
                <a:latin typeface="+mn-ea"/>
                <a:cs typeface="+mn-ea"/>
              </a:rPr>
              <a:t>做法以及新材料使用等</a:t>
            </a:r>
            <a:r>
              <a:rPr lang="zh-CN" sz="1400" dirty="0" smtClean="0">
                <a:solidFill>
                  <a:srgbClr val="000000"/>
                </a:solidFill>
                <a:latin typeface="+mn-ea"/>
                <a:cs typeface="+mn-ea"/>
              </a:rPr>
              <a:t>优化调整</a:t>
            </a:r>
            <a:r>
              <a:rPr lang="zh-CN" sz="1400" b="1" dirty="0" smtClean="0">
                <a:solidFill>
                  <a:srgbClr val="000000"/>
                </a:solidFill>
                <a:latin typeface="+mn-ea"/>
                <a:cs typeface="+mn-ea"/>
              </a:rPr>
              <a:t>（如：</a:t>
            </a:r>
            <a:r>
              <a:rPr lang="en-US" altLang="zh-CN" sz="1400" b="1" dirty="0" smtClean="0">
                <a:solidFill>
                  <a:srgbClr val="000000"/>
                </a:solidFill>
                <a:latin typeface="+mn-ea"/>
                <a:cs typeface="+mn-ea"/>
              </a:rPr>
              <a:t>LOFT</a:t>
            </a:r>
            <a:r>
              <a:rPr lang="zh-CN" altLang="en-US" sz="1400" b="1" dirty="0" smtClean="0">
                <a:solidFill>
                  <a:srgbClr val="000000"/>
                </a:solidFill>
                <a:latin typeface="+mn-ea"/>
                <a:cs typeface="+mn-ea"/>
              </a:rPr>
              <a:t>原石膏板吊顶调整为竹纤维成品吊顶，降低了结构特殊性引起的吊顶开裂风险以及综合成本节约</a:t>
            </a:r>
            <a:r>
              <a:rPr lang="zh-CN" sz="1400" b="1" dirty="0" smtClean="0">
                <a:solidFill>
                  <a:srgbClr val="000000"/>
                </a:solidFill>
                <a:latin typeface="+mn-ea"/>
                <a:cs typeface="+mn-ea"/>
              </a:rPr>
              <a:t>）</a:t>
            </a:r>
            <a:r>
              <a:rPr sz="1400" dirty="0" smtClean="0">
                <a:solidFill>
                  <a:srgbClr val="000000"/>
                </a:solidFill>
                <a:latin typeface="+mn-ea"/>
                <a:cs typeface="+mn-ea"/>
              </a:rPr>
              <a:t>，</a:t>
            </a:r>
            <a:r>
              <a:rPr lang="zh-CN" sz="1400" dirty="0" smtClean="0">
                <a:solidFill>
                  <a:srgbClr val="000000"/>
                </a:solidFill>
                <a:latin typeface="+mn-ea"/>
                <a:cs typeface="+mn-ea"/>
              </a:rPr>
              <a:t>组织项目公司、营销部、客服部进行最终定稿，然后</a:t>
            </a:r>
            <a:r>
              <a:rPr sz="1400" dirty="0" smtClean="0">
                <a:solidFill>
                  <a:srgbClr val="000000"/>
                </a:solidFill>
                <a:latin typeface="+mn-ea"/>
                <a:cs typeface="+mn-ea"/>
              </a:rPr>
              <a:t>经设计部</a:t>
            </a:r>
            <a:r>
              <a:rPr lang="zh-CN" sz="1400" dirty="0" smtClean="0">
                <a:solidFill>
                  <a:srgbClr val="000000"/>
                </a:solidFill>
                <a:latin typeface="+mn-ea"/>
                <a:cs typeface="+mn-ea"/>
              </a:rPr>
              <a:t>组织设计单位进行招标图纸调整出图后</a:t>
            </a:r>
            <a:r>
              <a:rPr sz="1400" dirty="0" smtClean="0">
                <a:solidFill>
                  <a:srgbClr val="000000"/>
                </a:solidFill>
                <a:latin typeface="+mn-ea"/>
                <a:cs typeface="+mn-ea"/>
              </a:rPr>
              <a:t>移交招采部门</a:t>
            </a:r>
            <a:r>
              <a:rPr lang="zh-CN" sz="1400" dirty="0" smtClean="0">
                <a:solidFill>
                  <a:srgbClr val="000000"/>
                </a:solidFill>
                <a:latin typeface="+mn-ea"/>
                <a:cs typeface="+mn-ea"/>
              </a:rPr>
              <a:t>进行招标工作</a:t>
            </a:r>
            <a:r>
              <a:rPr sz="1400" dirty="0" smtClean="0">
                <a:solidFill>
                  <a:srgbClr val="000000"/>
                </a:solidFill>
                <a:latin typeface="+mn-ea"/>
                <a:cs typeface="+mn-ea"/>
              </a:rPr>
              <a:t>。</a:t>
            </a:r>
          </a:p>
          <a:p>
            <a:pPr>
              <a:lnSpc>
                <a:spcPct val="150000"/>
              </a:lnSpc>
            </a:pPr>
            <a:r>
              <a:rPr lang="en-US" sz="1400" dirty="0" smtClean="0">
                <a:solidFill>
                  <a:srgbClr val="000000"/>
                </a:solidFill>
                <a:latin typeface="+mn-ea"/>
                <a:cs typeface="+mn-ea"/>
              </a:rPr>
              <a:t>3</a:t>
            </a:r>
            <a:r>
              <a:rPr lang="zh-CN" altLang="en-US" sz="1400" dirty="0" smtClean="0">
                <a:solidFill>
                  <a:srgbClr val="000000"/>
                </a:solidFill>
                <a:latin typeface="+mn-ea"/>
                <a:cs typeface="+mn-ea"/>
              </a:rPr>
              <a:t>、优化功能合理化：</a:t>
            </a:r>
          </a:p>
          <a:p>
            <a:pPr>
              <a:lnSpc>
                <a:spcPct val="150000"/>
              </a:lnSpc>
            </a:pPr>
            <a:r>
              <a:rPr lang="zh-CN" sz="1400" dirty="0" smtClean="0">
                <a:solidFill>
                  <a:srgbClr val="000000"/>
                </a:solidFill>
                <a:latin typeface="+mn-ea"/>
                <a:cs typeface="+mn-ea"/>
              </a:rPr>
              <a:t>       优化精装设计过程中出现的功能浪费问题，降低客户投诉风险，提高交房率，提升品牌口碑。</a:t>
            </a:r>
            <a:r>
              <a:rPr lang="zh-CN" sz="1400" b="1" dirty="0" smtClean="0">
                <a:solidFill>
                  <a:srgbClr val="000000"/>
                </a:solidFill>
                <a:latin typeface="+mn-ea"/>
                <a:cs typeface="+mn-ea"/>
              </a:rPr>
              <a:t>（如：未未来项目</a:t>
            </a:r>
            <a:r>
              <a:rPr lang="en-US" altLang="zh-CN" sz="1400" b="1" dirty="0" smtClean="0">
                <a:solidFill>
                  <a:srgbClr val="000000"/>
                </a:solidFill>
                <a:latin typeface="+mn-ea"/>
                <a:cs typeface="+mn-ea"/>
              </a:rPr>
              <a:t>27</a:t>
            </a:r>
            <a:r>
              <a:rPr lang="zh-CN" altLang="en-US" sz="1400" b="1" dirty="0" smtClean="0">
                <a:solidFill>
                  <a:srgbClr val="000000"/>
                </a:solidFill>
                <a:latin typeface="+mn-ea"/>
                <a:cs typeface="+mn-ea"/>
              </a:rPr>
              <a:t>平米公寓的榻榻米空间浪费，后经精装组进行优化增加了榻榻米空间的储物功能，更加符合科学筑家理念</a:t>
            </a:r>
            <a:r>
              <a:rPr lang="zh-CN" sz="1400" b="1" dirty="0" smtClean="0">
                <a:solidFill>
                  <a:srgbClr val="000000"/>
                </a:solidFill>
                <a:latin typeface="+mn-ea"/>
                <a:cs typeface="+mn-ea"/>
              </a:rPr>
              <a:t>）</a:t>
            </a:r>
            <a:endParaRPr sz="1400" dirty="0" smtClean="0">
              <a:solidFill>
                <a:srgbClr val="000000"/>
              </a:solidFill>
              <a:latin typeface="+mn-ea"/>
              <a:cs typeface="+mn-ea"/>
            </a:endParaRP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围绕科学筑家理念，让产品的使用功能更加符合人性化需求，让我们的产品变成精品，不放过任何一个可提升品牌口碑的细节。</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lvl="0" algn="l">
              <a:lnSpc>
                <a:spcPct val="150000"/>
              </a:lnSpc>
            </a:pPr>
            <a:r>
              <a:rPr lang="zh-CN" altLang="en-US" sz="2000" b="1" dirty="0">
                <a:solidFill>
                  <a:srgbClr val="F64C31"/>
                </a:solidFill>
                <a:cs typeface="+mn-ea"/>
                <a:sym typeface="+mn-ea"/>
              </a:rPr>
              <a:t>二、精装启动</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smtClean="0">
                <a:solidFill>
                  <a:srgbClr val="000000"/>
                </a:solidFill>
                <a:cs typeface="+mn-ea"/>
                <a:sym typeface="+mn-ea"/>
              </a:rPr>
              <a:t>2.2.1</a:t>
            </a:r>
            <a:r>
              <a:rPr lang="zh-CN" altLang="en-US" sz="1800" b="1" dirty="0" smtClean="0">
                <a:solidFill>
                  <a:srgbClr val="000000"/>
                </a:solidFill>
                <a:cs typeface="+mn-ea"/>
                <a:sym typeface="+mn-ea"/>
              </a:rPr>
              <a:t>、审核精装扩初图（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10" name="图片 9" descr="E:\金地品质管理\精装品质管控\精装管控实例图\微信图片_20180712154423.jpg微信图片_20180712154423"/>
          <p:cNvPicPr>
            <a:picLocks noChangeAspect="1"/>
          </p:cNvPicPr>
          <p:nvPr/>
        </p:nvPicPr>
        <p:blipFill>
          <a:blip r:embed="rId2"/>
          <a:srcRect/>
          <a:stretch>
            <a:fillRect/>
          </a:stretch>
        </p:blipFill>
        <p:spPr>
          <a:xfrm>
            <a:off x="756295" y="1711008"/>
            <a:ext cx="2139950" cy="285305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3" name="图片 12" descr="E:\金地品质管理\精装品质管控\精装管控实例图\微信图片_20180712154428.jpg微信图片_20180712154428"/>
          <p:cNvPicPr>
            <a:picLocks noChangeAspect="1"/>
          </p:cNvPicPr>
          <p:nvPr/>
        </p:nvPicPr>
        <p:blipFill>
          <a:blip r:embed="rId3"/>
          <a:srcRect/>
          <a:stretch>
            <a:fillRect/>
          </a:stretch>
        </p:blipFill>
        <p:spPr>
          <a:xfrm>
            <a:off x="756295" y="4919980"/>
            <a:ext cx="2140585" cy="120840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4" name="文本框 13"/>
          <p:cNvSpPr txBox="1"/>
          <p:nvPr/>
        </p:nvSpPr>
        <p:spPr>
          <a:xfrm>
            <a:off x="7885087" y="2276742"/>
            <a:ext cx="3744416" cy="3970318"/>
          </a:xfrm>
          <a:prstGeom prst="rect">
            <a:avLst/>
          </a:prstGeom>
          <a:noFill/>
        </p:spPr>
        <p:txBody>
          <a:bodyPr wrap="square" rtlCol="0">
            <a:spAutoFit/>
          </a:bodyPr>
          <a:lstStyle/>
          <a:p>
            <a:pPr algn="l">
              <a:lnSpc>
                <a:spcPct val="150000"/>
              </a:lnSpc>
            </a:pPr>
            <a:r>
              <a:rPr lang="zh-CN" sz="1400" b="1" dirty="0" smtClean="0">
                <a:solidFill>
                  <a:srgbClr val="000000"/>
                </a:solidFill>
                <a:latin typeface="+mn-ea"/>
                <a:cs typeface="+mn-ea"/>
                <a:sym typeface="+mn-ea"/>
              </a:rPr>
              <a:t>公共区域窗子与赠送平台的层间封堵</a:t>
            </a:r>
            <a:r>
              <a:rPr lang="zh-CN" altLang="en-US" sz="1400" b="1" dirty="0">
                <a:solidFill>
                  <a:srgbClr val="000000"/>
                </a:solidFill>
                <a:cs typeface="+mn-ea"/>
              </a:rPr>
              <a:t>实例</a:t>
            </a:r>
          </a:p>
          <a:p>
            <a:pPr algn="l">
              <a:lnSpc>
                <a:spcPct val="150000"/>
              </a:lnSpc>
            </a:pPr>
            <a:r>
              <a:rPr lang="zh-CN" altLang="en-US" sz="1400" dirty="0">
                <a:solidFill>
                  <a:srgbClr val="000000"/>
                </a:solidFill>
                <a:cs typeface="+mn-ea"/>
              </a:rPr>
              <a:t>       此部位为精装前期所发生的无法预知作业面，土建、幕墙门窗以及钢结构改造等相关单位均无法施工的空白区。</a:t>
            </a:r>
          </a:p>
          <a:p>
            <a:pPr algn="l">
              <a:lnSpc>
                <a:spcPct val="150000"/>
              </a:lnSpc>
            </a:pPr>
            <a:r>
              <a:rPr lang="zh-CN" altLang="en-US" sz="1400" dirty="0">
                <a:solidFill>
                  <a:srgbClr val="000000"/>
                </a:solidFill>
                <a:cs typeface="+mn-ea"/>
              </a:rPr>
              <a:t>       原因：在精装招标前或者对于精装现场专业性不强的非精装人员来说，及其容易漏掉，致使在精装招标时无法将此部位作业面包含到精装施工内容中，导致在精装施工过程中发生增项问题。</a:t>
            </a:r>
          </a:p>
          <a:p>
            <a:pPr algn="l">
              <a:lnSpc>
                <a:spcPct val="150000"/>
              </a:lnSpc>
            </a:pPr>
            <a:r>
              <a:rPr lang="zh-CN" altLang="en-US" sz="1400" dirty="0">
                <a:solidFill>
                  <a:srgbClr val="000000"/>
                </a:solidFill>
                <a:cs typeface="+mn-ea"/>
              </a:rPr>
              <a:t>       且因此部位工作量较少但是施工难度较大，施工单位会以此为由提高施工成本而发生商务争议，亦会因此造成工期延误等系列问题。</a:t>
            </a:r>
          </a:p>
        </p:txBody>
      </p:sp>
      <p:sp>
        <p:nvSpPr>
          <p:cNvPr id="15" name="上下箭头 14"/>
          <p:cNvSpPr/>
          <p:nvPr/>
        </p:nvSpPr>
        <p:spPr>
          <a:xfrm rot="720000">
            <a:off x="1711970" y="2804160"/>
            <a:ext cx="146050" cy="139763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下箭头 16"/>
          <p:cNvSpPr/>
          <p:nvPr/>
        </p:nvSpPr>
        <p:spPr>
          <a:xfrm>
            <a:off x="1881515" y="5382895"/>
            <a:ext cx="144145" cy="3600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6394" y="1711008"/>
            <a:ext cx="3829939" cy="287245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9" name="文本框 18"/>
          <p:cNvSpPr txBox="1"/>
          <p:nvPr/>
        </p:nvSpPr>
        <p:spPr>
          <a:xfrm>
            <a:off x="3753966" y="4924436"/>
            <a:ext cx="2868930" cy="458459"/>
          </a:xfrm>
          <a:prstGeom prst="rect">
            <a:avLst/>
          </a:prstGeom>
          <a:solidFill>
            <a:schemeClr val="bg1"/>
          </a:solidFill>
        </p:spPr>
        <p:txBody>
          <a:bodyPr wrap="square" rtlCol="0">
            <a:spAutoFit/>
          </a:bodyPr>
          <a:lstStyle>
            <a:defPPr>
              <a:defRPr lang="zh-CN"/>
            </a:defPPr>
            <a:lvl1pPr algn="ctr">
              <a:lnSpc>
                <a:spcPct val="150000"/>
              </a:lnSpc>
              <a:defRPr sz="1800" b="1">
                <a:solidFill>
                  <a:srgbClr val="000000"/>
                </a:solidFill>
                <a:cs typeface="+mn-ea"/>
              </a:defRPr>
            </a:lvl1pPr>
          </a:lstStyle>
          <a:p>
            <a:r>
              <a:rPr lang="zh-CN" altLang="en-US" dirty="0" smtClean="0"/>
              <a:t>铝塑板包封</a:t>
            </a:r>
            <a:endParaRPr lang="en-US" altLang="zh-CN" dirty="0"/>
          </a:p>
        </p:txBody>
      </p:sp>
    </p:spTree>
  </p:cSld>
  <p:clrMapOvr>
    <a:masterClrMapping/>
  </p:clrMapOvr>
  <p:transition>
    <p:zoom dir="in"/>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lvl="0" algn="l">
              <a:lnSpc>
                <a:spcPct val="150000"/>
              </a:lnSpc>
            </a:pPr>
            <a:r>
              <a:rPr lang="zh-CN" altLang="en-US" sz="2000" b="1" dirty="0">
                <a:solidFill>
                  <a:srgbClr val="F64C31"/>
                </a:solidFill>
                <a:cs typeface="+mn-ea"/>
                <a:sym typeface="+mn-ea"/>
              </a:rPr>
              <a:t>二、精装启动</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2.2.2</a:t>
            </a:r>
            <a:r>
              <a:rPr lang="zh-CN" altLang="en-US" sz="1800" b="1" dirty="0" smtClean="0">
                <a:solidFill>
                  <a:srgbClr val="000000"/>
                </a:solidFill>
                <a:cs typeface="+mn-ea"/>
                <a:sym typeface="+mn-ea"/>
              </a:rPr>
              <a:t>、审核精装扩初图（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6" name="文本框 15"/>
          <p:cNvSpPr txBox="1"/>
          <p:nvPr/>
        </p:nvSpPr>
        <p:spPr>
          <a:xfrm>
            <a:off x="4001135" y="4191635"/>
            <a:ext cx="7397750" cy="170688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gn="l">
              <a:lnSpc>
                <a:spcPct val="150000"/>
              </a:lnSpc>
            </a:pPr>
            <a:r>
              <a:rPr lang="en-US" altLang="zh-CN" sz="1400" b="1" dirty="0" smtClean="0">
                <a:solidFill>
                  <a:srgbClr val="000000"/>
                </a:solidFill>
                <a:latin typeface="+mn-ea"/>
                <a:cs typeface="+mn-ea"/>
                <a:sym typeface="+mn-ea"/>
              </a:rPr>
              <a:t>LOFT</a:t>
            </a:r>
            <a:r>
              <a:rPr lang="zh-CN" altLang="en-US" sz="1400" b="1" dirty="0" smtClean="0">
                <a:solidFill>
                  <a:srgbClr val="000000"/>
                </a:solidFill>
                <a:latin typeface="+mn-ea"/>
                <a:cs typeface="+mn-ea"/>
                <a:sym typeface="+mn-ea"/>
              </a:rPr>
              <a:t>原石膏板吊顶优化为竹纤维成品吊顶</a:t>
            </a:r>
            <a:r>
              <a:rPr lang="zh-CN" altLang="en-US" sz="1400" b="1" dirty="0">
                <a:solidFill>
                  <a:srgbClr val="000000"/>
                </a:solidFill>
                <a:cs typeface="+mn-ea"/>
              </a:rPr>
              <a:t>实例</a:t>
            </a:r>
          </a:p>
          <a:p>
            <a:pPr algn="l">
              <a:lnSpc>
                <a:spcPct val="150000"/>
              </a:lnSpc>
            </a:pPr>
            <a:r>
              <a:rPr lang="zh-CN" altLang="en-US" sz="1400" dirty="0">
                <a:solidFill>
                  <a:srgbClr val="000000"/>
                </a:solidFill>
                <a:cs typeface="+mn-ea"/>
              </a:rPr>
              <a:t>       </a:t>
            </a:r>
            <a:r>
              <a:rPr lang="zh-CN" altLang="en-US" sz="1400" b="1" dirty="0">
                <a:solidFill>
                  <a:srgbClr val="000000"/>
                </a:solidFill>
                <a:cs typeface="+mn-ea"/>
              </a:rPr>
              <a:t>因</a:t>
            </a:r>
            <a:r>
              <a:rPr lang="en-US" altLang="zh-CN" sz="1400" b="1" dirty="0">
                <a:solidFill>
                  <a:srgbClr val="000000"/>
                </a:solidFill>
                <a:cs typeface="+mn-ea"/>
              </a:rPr>
              <a:t>LOFT</a:t>
            </a:r>
            <a:r>
              <a:rPr lang="zh-CN" altLang="en-US" sz="1400" b="1" dirty="0">
                <a:solidFill>
                  <a:srgbClr val="000000"/>
                </a:solidFill>
                <a:cs typeface="+mn-ea"/>
              </a:rPr>
              <a:t>的结构特殊性</a:t>
            </a:r>
            <a:r>
              <a:rPr lang="zh-CN" altLang="en-US" sz="1400" dirty="0">
                <a:solidFill>
                  <a:srgbClr val="000000"/>
                </a:solidFill>
                <a:cs typeface="+mn-ea"/>
              </a:rPr>
              <a:t>，原石膏板吊顶会因钢结构的韧性发生震动而开裂的质量风险，依据项目的实际情况进行优化及</a:t>
            </a:r>
            <a:r>
              <a:rPr lang="zh-CN" altLang="en-US" sz="1400" dirty="0">
                <a:solidFill>
                  <a:srgbClr val="000000"/>
                </a:solidFill>
                <a:cs typeface="+mn-ea"/>
                <a:sym typeface="+mn-ea"/>
              </a:rPr>
              <a:t>新型材料的使用可以有效的控制开裂风险。</a:t>
            </a:r>
          </a:p>
          <a:p>
            <a:pPr algn="l">
              <a:lnSpc>
                <a:spcPct val="150000"/>
              </a:lnSpc>
            </a:pPr>
            <a:r>
              <a:rPr lang="zh-CN" altLang="en-US" sz="1400" dirty="0">
                <a:solidFill>
                  <a:srgbClr val="000000"/>
                </a:solidFill>
                <a:cs typeface="+mn-ea"/>
              </a:rPr>
              <a:t>       另外，因竹纤维成品吊顶板材，其施工的工序难度要比传统石膏板吊顶难度低，施工周期短等特点，在整个项目进展推进上能够节省大部分时间成本。</a:t>
            </a:r>
          </a:p>
        </p:txBody>
      </p:sp>
      <p:pic>
        <p:nvPicPr>
          <p:cNvPr id="90" name="图片 89"/>
          <p:cNvPicPr>
            <a:picLocks noChangeAspect="1"/>
          </p:cNvPicPr>
          <p:nvPr/>
        </p:nvPicPr>
        <p:blipFill>
          <a:blip r:embed="rId2"/>
          <a:stretch>
            <a:fillRect/>
          </a:stretch>
        </p:blipFill>
        <p:spPr>
          <a:xfrm>
            <a:off x="791210" y="1707515"/>
            <a:ext cx="2789555" cy="160020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25" name="图片 124"/>
          <p:cNvPicPr>
            <a:picLocks noChangeAspect="1"/>
          </p:cNvPicPr>
          <p:nvPr/>
        </p:nvPicPr>
        <p:blipFill>
          <a:blip r:embed="rId3"/>
          <a:srcRect/>
          <a:stretch>
            <a:fillRect/>
          </a:stretch>
        </p:blipFill>
        <p:spPr>
          <a:xfrm>
            <a:off x="791210" y="4281170"/>
            <a:ext cx="2790190" cy="161734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3" name="下箭头 2"/>
          <p:cNvSpPr/>
          <p:nvPr/>
        </p:nvSpPr>
        <p:spPr>
          <a:xfrm>
            <a:off x="1836420" y="3726180"/>
            <a:ext cx="576580" cy="2165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0" name="组合 249"/>
          <p:cNvGrpSpPr/>
          <p:nvPr/>
        </p:nvGrpSpPr>
        <p:grpSpPr>
          <a:xfrm>
            <a:off x="607060" y="708660"/>
            <a:ext cx="2496820" cy="5835015"/>
            <a:chOff x="250" y="88"/>
            <a:chExt cx="4424" cy="10338"/>
          </a:xfrm>
          <a:gradFill>
            <a:gsLst>
              <a:gs pos="0">
                <a:schemeClr val="accent1">
                  <a:lumMod val="5000"/>
                  <a:lumOff val="95000"/>
                </a:schemeClr>
              </a:gs>
              <a:gs pos="30000">
                <a:schemeClr val="accent3">
                  <a:lumMod val="60000"/>
                  <a:lumOff val="40000"/>
                </a:schemeClr>
              </a:gs>
              <a:gs pos="63000">
                <a:schemeClr val="accent1">
                  <a:lumMod val="45000"/>
                  <a:lumOff val="55000"/>
                </a:schemeClr>
              </a:gs>
              <a:gs pos="91000">
                <a:schemeClr val="bg1">
                  <a:lumMod val="50000"/>
                  <a:alpha val="72000"/>
                </a:schemeClr>
              </a:gs>
            </a:gsLst>
            <a:lin ang="18900000" scaled="0"/>
          </a:gradFill>
        </p:grpSpPr>
        <p:grpSp>
          <p:nvGrpSpPr>
            <p:cNvPr id="249" name="组合 248"/>
            <p:cNvGrpSpPr/>
            <p:nvPr/>
          </p:nvGrpSpPr>
          <p:grpSpPr>
            <a:xfrm>
              <a:off x="250" y="6104"/>
              <a:ext cx="4425" cy="4323"/>
              <a:chOff x="250" y="6188"/>
              <a:chExt cx="4425" cy="4323"/>
            </a:xfrm>
            <a:grpFill/>
          </p:grpSpPr>
          <p:sp>
            <p:nvSpPr>
              <p:cNvPr id="5" name="矩形 4"/>
              <p:cNvSpPr/>
              <p:nvPr/>
            </p:nvSpPr>
            <p:spPr>
              <a:xfrm>
                <a:off x="250"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0"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250"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0"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50"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250"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250"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p:cNvSpPr/>
              <p:nvPr/>
            </p:nvSpPr>
            <p:spPr>
              <a:xfrm>
                <a:off x="625"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矩形 66"/>
              <p:cNvSpPr/>
              <p:nvPr/>
            </p:nvSpPr>
            <p:spPr>
              <a:xfrm>
                <a:off x="625"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25"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矩形 94"/>
              <p:cNvSpPr/>
              <p:nvPr/>
            </p:nvSpPr>
            <p:spPr>
              <a:xfrm>
                <a:off x="625"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矩形 98"/>
              <p:cNvSpPr/>
              <p:nvPr/>
            </p:nvSpPr>
            <p:spPr>
              <a:xfrm>
                <a:off x="625"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矩形 108"/>
              <p:cNvSpPr/>
              <p:nvPr/>
            </p:nvSpPr>
            <p:spPr>
              <a:xfrm>
                <a:off x="625"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 name="矩形 112"/>
              <p:cNvSpPr/>
              <p:nvPr/>
            </p:nvSpPr>
            <p:spPr>
              <a:xfrm>
                <a:off x="625"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矩形 113"/>
              <p:cNvSpPr/>
              <p:nvPr/>
            </p:nvSpPr>
            <p:spPr>
              <a:xfrm>
                <a:off x="625"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矩形 120"/>
              <p:cNvSpPr/>
              <p:nvPr/>
            </p:nvSpPr>
            <p:spPr>
              <a:xfrm>
                <a:off x="999"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矩形 124"/>
              <p:cNvSpPr/>
              <p:nvPr/>
            </p:nvSpPr>
            <p:spPr>
              <a:xfrm>
                <a:off x="999"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矩形 127"/>
              <p:cNvSpPr/>
              <p:nvPr/>
            </p:nvSpPr>
            <p:spPr>
              <a:xfrm>
                <a:off x="999"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矩形 129"/>
              <p:cNvSpPr/>
              <p:nvPr/>
            </p:nvSpPr>
            <p:spPr>
              <a:xfrm>
                <a:off x="999"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矩形 130"/>
              <p:cNvSpPr/>
              <p:nvPr/>
            </p:nvSpPr>
            <p:spPr>
              <a:xfrm>
                <a:off x="999"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矩形 135"/>
              <p:cNvSpPr/>
              <p:nvPr/>
            </p:nvSpPr>
            <p:spPr>
              <a:xfrm>
                <a:off x="999"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矩形 138"/>
              <p:cNvSpPr/>
              <p:nvPr/>
            </p:nvSpPr>
            <p:spPr>
              <a:xfrm>
                <a:off x="999"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矩形 143"/>
              <p:cNvSpPr/>
              <p:nvPr/>
            </p:nvSpPr>
            <p:spPr>
              <a:xfrm>
                <a:off x="999"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矩形 144"/>
              <p:cNvSpPr/>
              <p:nvPr/>
            </p:nvSpPr>
            <p:spPr>
              <a:xfrm>
                <a:off x="999"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p:cNvSpPr/>
              <p:nvPr/>
            </p:nvSpPr>
            <p:spPr>
              <a:xfrm>
                <a:off x="999"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矩形 157"/>
              <p:cNvSpPr/>
              <p:nvPr/>
            </p:nvSpPr>
            <p:spPr>
              <a:xfrm>
                <a:off x="1374"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矩形 158"/>
              <p:cNvSpPr/>
              <p:nvPr/>
            </p:nvSpPr>
            <p:spPr>
              <a:xfrm>
                <a:off x="1374"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160"/>
              <p:cNvSpPr/>
              <p:nvPr/>
            </p:nvSpPr>
            <p:spPr>
              <a:xfrm>
                <a:off x="1374"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矩形 161"/>
              <p:cNvSpPr/>
              <p:nvPr/>
            </p:nvSpPr>
            <p:spPr>
              <a:xfrm>
                <a:off x="1374"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3" name="矩形 162"/>
              <p:cNvSpPr/>
              <p:nvPr/>
            </p:nvSpPr>
            <p:spPr>
              <a:xfrm>
                <a:off x="1374"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矩形 166"/>
              <p:cNvSpPr/>
              <p:nvPr/>
            </p:nvSpPr>
            <p:spPr>
              <a:xfrm>
                <a:off x="1374"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矩形 170"/>
              <p:cNvSpPr/>
              <p:nvPr/>
            </p:nvSpPr>
            <p:spPr>
              <a:xfrm>
                <a:off x="1374"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矩形 172"/>
              <p:cNvSpPr/>
              <p:nvPr/>
            </p:nvSpPr>
            <p:spPr>
              <a:xfrm>
                <a:off x="1374"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p:cNvSpPr/>
              <p:nvPr/>
            </p:nvSpPr>
            <p:spPr>
              <a:xfrm>
                <a:off x="1374"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4" name="矩形 183"/>
              <p:cNvSpPr/>
              <p:nvPr/>
            </p:nvSpPr>
            <p:spPr>
              <a:xfrm>
                <a:off x="1760"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5" name="矩形 184"/>
              <p:cNvSpPr/>
              <p:nvPr/>
            </p:nvSpPr>
            <p:spPr>
              <a:xfrm>
                <a:off x="1760"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7" name="矩形 186"/>
              <p:cNvSpPr/>
              <p:nvPr/>
            </p:nvSpPr>
            <p:spPr>
              <a:xfrm>
                <a:off x="1760"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8" name="矩形 187"/>
              <p:cNvSpPr/>
              <p:nvPr/>
            </p:nvSpPr>
            <p:spPr>
              <a:xfrm>
                <a:off x="1760"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1" name="矩形 190"/>
              <p:cNvSpPr/>
              <p:nvPr/>
            </p:nvSpPr>
            <p:spPr>
              <a:xfrm>
                <a:off x="1760"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2" name="矩形 191"/>
              <p:cNvSpPr/>
              <p:nvPr/>
            </p:nvSpPr>
            <p:spPr>
              <a:xfrm>
                <a:off x="1760"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8" name="矩形 197"/>
              <p:cNvSpPr/>
              <p:nvPr/>
            </p:nvSpPr>
            <p:spPr>
              <a:xfrm>
                <a:off x="2135"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9" name="矩形 198"/>
              <p:cNvSpPr/>
              <p:nvPr/>
            </p:nvSpPr>
            <p:spPr>
              <a:xfrm>
                <a:off x="2135"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1" name="矩形 200"/>
              <p:cNvSpPr/>
              <p:nvPr/>
            </p:nvSpPr>
            <p:spPr>
              <a:xfrm>
                <a:off x="2135"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矩形 201"/>
              <p:cNvSpPr/>
              <p:nvPr/>
            </p:nvSpPr>
            <p:spPr>
              <a:xfrm>
                <a:off x="2135"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3" name="矩形 202"/>
              <p:cNvSpPr/>
              <p:nvPr/>
            </p:nvSpPr>
            <p:spPr>
              <a:xfrm>
                <a:off x="2135"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矩形 203"/>
              <p:cNvSpPr/>
              <p:nvPr/>
            </p:nvSpPr>
            <p:spPr>
              <a:xfrm>
                <a:off x="2135"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5" name="矩形 204"/>
              <p:cNvSpPr/>
              <p:nvPr/>
            </p:nvSpPr>
            <p:spPr>
              <a:xfrm>
                <a:off x="2135"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6" name="矩形 205"/>
              <p:cNvSpPr/>
              <p:nvPr/>
            </p:nvSpPr>
            <p:spPr>
              <a:xfrm>
                <a:off x="2135"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7" name="矩形 206"/>
              <p:cNvSpPr/>
              <p:nvPr/>
            </p:nvSpPr>
            <p:spPr>
              <a:xfrm>
                <a:off x="2135"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 name="矩形 209"/>
              <p:cNvSpPr/>
              <p:nvPr/>
            </p:nvSpPr>
            <p:spPr>
              <a:xfrm>
                <a:off x="2513"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2" name="矩形 211"/>
              <p:cNvSpPr/>
              <p:nvPr/>
            </p:nvSpPr>
            <p:spPr>
              <a:xfrm>
                <a:off x="2513"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3" name="矩形 212"/>
              <p:cNvSpPr/>
              <p:nvPr/>
            </p:nvSpPr>
            <p:spPr>
              <a:xfrm>
                <a:off x="2513"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矩形 213"/>
              <p:cNvSpPr/>
              <p:nvPr/>
            </p:nvSpPr>
            <p:spPr>
              <a:xfrm>
                <a:off x="2513"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5" name="矩形 214"/>
              <p:cNvSpPr/>
              <p:nvPr/>
            </p:nvSpPr>
            <p:spPr>
              <a:xfrm>
                <a:off x="2513"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6" name="矩形 215"/>
              <p:cNvSpPr/>
              <p:nvPr/>
            </p:nvSpPr>
            <p:spPr>
              <a:xfrm>
                <a:off x="2513" y="903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7" name="矩形 216"/>
              <p:cNvSpPr/>
              <p:nvPr/>
            </p:nvSpPr>
            <p:spPr>
              <a:xfrm>
                <a:off x="2513"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8" name="矩形 217"/>
              <p:cNvSpPr/>
              <p:nvPr/>
            </p:nvSpPr>
            <p:spPr>
              <a:xfrm>
                <a:off x="2513"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0" name="矩形 219"/>
              <p:cNvSpPr/>
              <p:nvPr/>
            </p:nvSpPr>
            <p:spPr>
              <a:xfrm>
                <a:off x="2888"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1" name="矩形 220"/>
              <p:cNvSpPr/>
              <p:nvPr/>
            </p:nvSpPr>
            <p:spPr>
              <a:xfrm>
                <a:off x="2888"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2" name="矩形 221"/>
              <p:cNvSpPr/>
              <p:nvPr/>
            </p:nvSpPr>
            <p:spPr>
              <a:xfrm>
                <a:off x="2888"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3" name="矩形 222"/>
              <p:cNvSpPr/>
              <p:nvPr/>
            </p:nvSpPr>
            <p:spPr>
              <a:xfrm>
                <a:off x="2888"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4" name="矩形 223"/>
              <p:cNvSpPr/>
              <p:nvPr/>
            </p:nvSpPr>
            <p:spPr>
              <a:xfrm>
                <a:off x="2888"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5" name="矩形 224"/>
              <p:cNvSpPr/>
              <p:nvPr/>
            </p:nvSpPr>
            <p:spPr>
              <a:xfrm>
                <a:off x="2888"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6" name="矩形 225"/>
              <p:cNvSpPr/>
              <p:nvPr/>
            </p:nvSpPr>
            <p:spPr>
              <a:xfrm>
                <a:off x="2888"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7" name="矩形 226"/>
              <p:cNvSpPr/>
              <p:nvPr/>
            </p:nvSpPr>
            <p:spPr>
              <a:xfrm>
                <a:off x="2888" y="984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8" name="矩形 227"/>
              <p:cNvSpPr/>
              <p:nvPr/>
            </p:nvSpPr>
            <p:spPr>
              <a:xfrm>
                <a:off x="2888" y="10254"/>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0" name="矩形 229"/>
              <p:cNvSpPr/>
              <p:nvPr/>
            </p:nvSpPr>
            <p:spPr>
              <a:xfrm>
                <a:off x="3265"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1" name="矩形 230"/>
              <p:cNvSpPr/>
              <p:nvPr/>
            </p:nvSpPr>
            <p:spPr>
              <a:xfrm>
                <a:off x="3265"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2" name="矩形 231"/>
              <p:cNvSpPr/>
              <p:nvPr/>
            </p:nvSpPr>
            <p:spPr>
              <a:xfrm>
                <a:off x="3265"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3" name="矩形 232"/>
              <p:cNvSpPr/>
              <p:nvPr/>
            </p:nvSpPr>
            <p:spPr>
              <a:xfrm>
                <a:off x="3265" y="740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p:cNvSpPr/>
              <p:nvPr/>
            </p:nvSpPr>
            <p:spPr>
              <a:xfrm>
                <a:off x="3265"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p:cNvSpPr/>
              <p:nvPr/>
            </p:nvSpPr>
            <p:spPr>
              <a:xfrm>
                <a:off x="3265"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6" name="矩形 235"/>
              <p:cNvSpPr/>
              <p:nvPr/>
            </p:nvSpPr>
            <p:spPr>
              <a:xfrm>
                <a:off x="3265"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7" name="矩形 236"/>
              <p:cNvSpPr/>
              <p:nvPr/>
            </p:nvSpPr>
            <p:spPr>
              <a:xfrm>
                <a:off x="3265" y="944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8" name="矩形 237"/>
              <p:cNvSpPr/>
              <p:nvPr/>
            </p:nvSpPr>
            <p:spPr>
              <a:xfrm>
                <a:off x="3639"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9" name="矩形 238"/>
              <p:cNvSpPr/>
              <p:nvPr/>
            </p:nvSpPr>
            <p:spPr>
              <a:xfrm>
                <a:off x="3639"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0" name="矩形 239"/>
              <p:cNvSpPr/>
              <p:nvPr/>
            </p:nvSpPr>
            <p:spPr>
              <a:xfrm>
                <a:off x="3639"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1" name="矩形 240"/>
              <p:cNvSpPr/>
              <p:nvPr/>
            </p:nvSpPr>
            <p:spPr>
              <a:xfrm>
                <a:off x="3639" y="781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2" name="矩形 241"/>
              <p:cNvSpPr/>
              <p:nvPr/>
            </p:nvSpPr>
            <p:spPr>
              <a:xfrm>
                <a:off x="3639" y="8221"/>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3" name="矩形 242"/>
              <p:cNvSpPr/>
              <p:nvPr/>
            </p:nvSpPr>
            <p:spPr>
              <a:xfrm>
                <a:off x="3639" y="8628"/>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4" name="矩形 243"/>
              <p:cNvSpPr/>
              <p:nvPr/>
            </p:nvSpPr>
            <p:spPr>
              <a:xfrm>
                <a:off x="4043"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5" name="矩形 244"/>
              <p:cNvSpPr/>
              <p:nvPr/>
            </p:nvSpPr>
            <p:spPr>
              <a:xfrm>
                <a:off x="4043"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6" name="矩形 245"/>
              <p:cNvSpPr/>
              <p:nvPr/>
            </p:nvSpPr>
            <p:spPr>
              <a:xfrm>
                <a:off x="4043" y="7002"/>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7" name="矩形 246"/>
              <p:cNvSpPr/>
              <p:nvPr/>
            </p:nvSpPr>
            <p:spPr>
              <a:xfrm>
                <a:off x="4417" y="6188"/>
                <a:ext cx="258" cy="2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8" name="矩形 247"/>
              <p:cNvSpPr/>
              <p:nvPr/>
            </p:nvSpPr>
            <p:spPr>
              <a:xfrm>
                <a:off x="4417" y="6595"/>
                <a:ext cx="258" cy="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11" name="组合 210"/>
            <p:cNvGrpSpPr/>
            <p:nvPr/>
          </p:nvGrpSpPr>
          <p:grpSpPr>
            <a:xfrm>
              <a:off x="250" y="88"/>
              <a:ext cx="4425" cy="5949"/>
              <a:chOff x="250" y="208"/>
              <a:chExt cx="7794" cy="10477"/>
            </a:xfrm>
            <a:grpFill/>
          </p:grpSpPr>
          <p:sp>
            <p:nvSpPr>
              <p:cNvPr id="44" name="矩形 43"/>
              <p:cNvSpPr/>
              <p:nvPr/>
            </p:nvSpPr>
            <p:spPr>
              <a:xfrm>
                <a:off x="25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25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25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25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25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25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25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25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25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矩形 52"/>
              <p:cNvSpPr/>
              <p:nvPr/>
            </p:nvSpPr>
            <p:spPr>
              <a:xfrm>
                <a:off x="25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53"/>
              <p:cNvSpPr/>
              <p:nvPr/>
            </p:nvSpPr>
            <p:spPr>
              <a:xfrm>
                <a:off x="91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矩形 54"/>
              <p:cNvSpPr/>
              <p:nvPr/>
            </p:nvSpPr>
            <p:spPr>
              <a:xfrm>
                <a:off x="91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矩形 55"/>
              <p:cNvSpPr/>
              <p:nvPr/>
            </p:nvSpPr>
            <p:spPr>
              <a:xfrm>
                <a:off x="91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矩形 56"/>
              <p:cNvSpPr/>
              <p:nvPr/>
            </p:nvSpPr>
            <p:spPr>
              <a:xfrm>
                <a:off x="91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矩形 57"/>
              <p:cNvSpPr/>
              <p:nvPr/>
            </p:nvSpPr>
            <p:spPr>
              <a:xfrm>
                <a:off x="91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矩形 58"/>
              <p:cNvSpPr/>
              <p:nvPr/>
            </p:nvSpPr>
            <p:spPr>
              <a:xfrm>
                <a:off x="91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91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矩形 60"/>
              <p:cNvSpPr/>
              <p:nvPr/>
            </p:nvSpPr>
            <p:spPr>
              <a:xfrm>
                <a:off x="91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矩形 61"/>
              <p:cNvSpPr/>
              <p:nvPr/>
            </p:nvSpPr>
            <p:spPr>
              <a:xfrm>
                <a:off x="91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矩形 62"/>
              <p:cNvSpPr/>
              <p:nvPr/>
            </p:nvSpPr>
            <p:spPr>
              <a:xfrm>
                <a:off x="91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矩形 63"/>
              <p:cNvSpPr/>
              <p:nvPr/>
            </p:nvSpPr>
            <p:spPr>
              <a:xfrm>
                <a:off x="91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矩形 64"/>
              <p:cNvSpPr/>
              <p:nvPr/>
            </p:nvSpPr>
            <p:spPr>
              <a:xfrm>
                <a:off x="910" y="1023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矩形 67"/>
              <p:cNvSpPr/>
              <p:nvPr/>
            </p:nvSpPr>
            <p:spPr>
              <a:xfrm>
                <a:off x="157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68"/>
              <p:cNvSpPr/>
              <p:nvPr/>
            </p:nvSpPr>
            <p:spPr>
              <a:xfrm>
                <a:off x="157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矩形 69"/>
              <p:cNvSpPr/>
              <p:nvPr/>
            </p:nvSpPr>
            <p:spPr>
              <a:xfrm>
                <a:off x="157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矩形 70"/>
              <p:cNvSpPr/>
              <p:nvPr/>
            </p:nvSpPr>
            <p:spPr>
              <a:xfrm>
                <a:off x="157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矩形 71"/>
              <p:cNvSpPr/>
              <p:nvPr/>
            </p:nvSpPr>
            <p:spPr>
              <a:xfrm>
                <a:off x="157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矩形 72"/>
              <p:cNvSpPr/>
              <p:nvPr/>
            </p:nvSpPr>
            <p:spPr>
              <a:xfrm>
                <a:off x="157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矩形 73"/>
              <p:cNvSpPr/>
              <p:nvPr/>
            </p:nvSpPr>
            <p:spPr>
              <a:xfrm>
                <a:off x="157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矩形 74"/>
              <p:cNvSpPr/>
              <p:nvPr/>
            </p:nvSpPr>
            <p:spPr>
              <a:xfrm>
                <a:off x="157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p:cNvSpPr/>
              <p:nvPr/>
            </p:nvSpPr>
            <p:spPr>
              <a:xfrm>
                <a:off x="157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矩形 76"/>
              <p:cNvSpPr/>
              <p:nvPr/>
            </p:nvSpPr>
            <p:spPr>
              <a:xfrm>
                <a:off x="157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矩形 77"/>
              <p:cNvSpPr/>
              <p:nvPr/>
            </p:nvSpPr>
            <p:spPr>
              <a:xfrm>
                <a:off x="157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78"/>
              <p:cNvSpPr/>
              <p:nvPr/>
            </p:nvSpPr>
            <p:spPr>
              <a:xfrm>
                <a:off x="1570"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矩形 79"/>
              <p:cNvSpPr/>
              <p:nvPr/>
            </p:nvSpPr>
            <p:spPr>
              <a:xfrm>
                <a:off x="157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矩形 80"/>
              <p:cNvSpPr/>
              <p:nvPr/>
            </p:nvSpPr>
            <p:spPr>
              <a:xfrm>
                <a:off x="157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矩形 81"/>
              <p:cNvSpPr/>
              <p:nvPr/>
            </p:nvSpPr>
            <p:spPr>
              <a:xfrm>
                <a:off x="223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矩形 83"/>
              <p:cNvSpPr/>
              <p:nvPr/>
            </p:nvSpPr>
            <p:spPr>
              <a:xfrm>
                <a:off x="223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矩形 84"/>
              <p:cNvSpPr/>
              <p:nvPr/>
            </p:nvSpPr>
            <p:spPr>
              <a:xfrm>
                <a:off x="223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223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矩形 86"/>
              <p:cNvSpPr/>
              <p:nvPr/>
            </p:nvSpPr>
            <p:spPr>
              <a:xfrm>
                <a:off x="223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矩形 87"/>
              <p:cNvSpPr/>
              <p:nvPr/>
            </p:nvSpPr>
            <p:spPr>
              <a:xfrm>
                <a:off x="223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矩形 88"/>
              <p:cNvSpPr/>
              <p:nvPr/>
            </p:nvSpPr>
            <p:spPr>
              <a:xfrm>
                <a:off x="223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矩形 89"/>
              <p:cNvSpPr/>
              <p:nvPr/>
            </p:nvSpPr>
            <p:spPr>
              <a:xfrm>
                <a:off x="223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矩形 90"/>
              <p:cNvSpPr/>
              <p:nvPr/>
            </p:nvSpPr>
            <p:spPr>
              <a:xfrm>
                <a:off x="223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矩形 91"/>
              <p:cNvSpPr/>
              <p:nvPr/>
            </p:nvSpPr>
            <p:spPr>
              <a:xfrm>
                <a:off x="223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矩形 92"/>
              <p:cNvSpPr/>
              <p:nvPr/>
            </p:nvSpPr>
            <p:spPr>
              <a:xfrm>
                <a:off x="223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矩形 93"/>
              <p:cNvSpPr/>
              <p:nvPr/>
            </p:nvSpPr>
            <p:spPr>
              <a:xfrm>
                <a:off x="2230"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矩形 95"/>
              <p:cNvSpPr/>
              <p:nvPr/>
            </p:nvSpPr>
            <p:spPr>
              <a:xfrm>
                <a:off x="223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矩形 96"/>
              <p:cNvSpPr/>
              <p:nvPr/>
            </p:nvSpPr>
            <p:spPr>
              <a:xfrm>
                <a:off x="223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矩形 97"/>
              <p:cNvSpPr/>
              <p:nvPr/>
            </p:nvSpPr>
            <p:spPr>
              <a:xfrm>
                <a:off x="2230" y="1023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矩形 99"/>
              <p:cNvSpPr/>
              <p:nvPr/>
            </p:nvSpPr>
            <p:spPr>
              <a:xfrm>
                <a:off x="291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p:cNvSpPr/>
              <p:nvPr/>
            </p:nvSpPr>
            <p:spPr>
              <a:xfrm>
                <a:off x="291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a:off x="291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矩形 102"/>
              <p:cNvSpPr/>
              <p:nvPr/>
            </p:nvSpPr>
            <p:spPr>
              <a:xfrm>
                <a:off x="291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矩形 103"/>
              <p:cNvSpPr/>
              <p:nvPr/>
            </p:nvSpPr>
            <p:spPr>
              <a:xfrm>
                <a:off x="291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矩形 104"/>
              <p:cNvSpPr/>
              <p:nvPr/>
            </p:nvSpPr>
            <p:spPr>
              <a:xfrm>
                <a:off x="291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矩形 105"/>
              <p:cNvSpPr/>
              <p:nvPr/>
            </p:nvSpPr>
            <p:spPr>
              <a:xfrm>
                <a:off x="291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矩形 106"/>
              <p:cNvSpPr/>
              <p:nvPr/>
            </p:nvSpPr>
            <p:spPr>
              <a:xfrm>
                <a:off x="291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矩形 107"/>
              <p:cNvSpPr/>
              <p:nvPr/>
            </p:nvSpPr>
            <p:spPr>
              <a:xfrm>
                <a:off x="291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矩形 109"/>
              <p:cNvSpPr/>
              <p:nvPr/>
            </p:nvSpPr>
            <p:spPr>
              <a:xfrm>
                <a:off x="2910"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 name="矩形 110"/>
              <p:cNvSpPr/>
              <p:nvPr/>
            </p:nvSpPr>
            <p:spPr>
              <a:xfrm>
                <a:off x="291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矩形 111"/>
              <p:cNvSpPr/>
              <p:nvPr/>
            </p:nvSpPr>
            <p:spPr>
              <a:xfrm>
                <a:off x="291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矩形 114"/>
              <p:cNvSpPr/>
              <p:nvPr/>
            </p:nvSpPr>
            <p:spPr>
              <a:xfrm>
                <a:off x="2910" y="951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矩形 115"/>
              <p:cNvSpPr/>
              <p:nvPr/>
            </p:nvSpPr>
            <p:spPr>
              <a:xfrm>
                <a:off x="2910" y="1023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p:cNvSpPr/>
              <p:nvPr/>
            </p:nvSpPr>
            <p:spPr>
              <a:xfrm>
                <a:off x="357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p:cNvSpPr/>
              <p:nvPr/>
            </p:nvSpPr>
            <p:spPr>
              <a:xfrm>
                <a:off x="357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矩形 118"/>
              <p:cNvSpPr/>
              <p:nvPr/>
            </p:nvSpPr>
            <p:spPr>
              <a:xfrm>
                <a:off x="357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 name="矩形 119"/>
              <p:cNvSpPr/>
              <p:nvPr/>
            </p:nvSpPr>
            <p:spPr>
              <a:xfrm>
                <a:off x="357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矩形 121"/>
              <p:cNvSpPr/>
              <p:nvPr/>
            </p:nvSpPr>
            <p:spPr>
              <a:xfrm>
                <a:off x="357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矩形 122"/>
              <p:cNvSpPr/>
              <p:nvPr/>
            </p:nvSpPr>
            <p:spPr>
              <a:xfrm>
                <a:off x="357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矩形 123"/>
              <p:cNvSpPr/>
              <p:nvPr/>
            </p:nvSpPr>
            <p:spPr>
              <a:xfrm>
                <a:off x="357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矩形 125"/>
              <p:cNvSpPr/>
              <p:nvPr/>
            </p:nvSpPr>
            <p:spPr>
              <a:xfrm>
                <a:off x="3570"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矩形 126"/>
              <p:cNvSpPr/>
              <p:nvPr/>
            </p:nvSpPr>
            <p:spPr>
              <a:xfrm>
                <a:off x="357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 name="矩形 128"/>
              <p:cNvSpPr/>
              <p:nvPr/>
            </p:nvSpPr>
            <p:spPr>
              <a:xfrm>
                <a:off x="3570"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矩形 131"/>
              <p:cNvSpPr/>
              <p:nvPr/>
            </p:nvSpPr>
            <p:spPr>
              <a:xfrm>
                <a:off x="3570"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矩形 132"/>
              <p:cNvSpPr/>
              <p:nvPr/>
            </p:nvSpPr>
            <p:spPr>
              <a:xfrm>
                <a:off x="3570" y="880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矩形 133"/>
              <p:cNvSpPr/>
              <p:nvPr/>
            </p:nvSpPr>
            <p:spPr>
              <a:xfrm>
                <a:off x="4236"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矩形 134"/>
              <p:cNvSpPr/>
              <p:nvPr/>
            </p:nvSpPr>
            <p:spPr>
              <a:xfrm>
                <a:off x="4236"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7" name="矩形 136"/>
              <p:cNvSpPr/>
              <p:nvPr/>
            </p:nvSpPr>
            <p:spPr>
              <a:xfrm>
                <a:off x="4236"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8" name="矩形 137"/>
              <p:cNvSpPr/>
              <p:nvPr/>
            </p:nvSpPr>
            <p:spPr>
              <a:xfrm>
                <a:off x="4236"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矩形 139"/>
              <p:cNvSpPr/>
              <p:nvPr/>
            </p:nvSpPr>
            <p:spPr>
              <a:xfrm>
                <a:off x="4236"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矩形 140"/>
              <p:cNvSpPr/>
              <p:nvPr/>
            </p:nvSpPr>
            <p:spPr>
              <a:xfrm>
                <a:off x="4236" y="522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矩形 141"/>
              <p:cNvSpPr/>
              <p:nvPr/>
            </p:nvSpPr>
            <p:spPr>
              <a:xfrm>
                <a:off x="4236"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矩形 142"/>
              <p:cNvSpPr/>
              <p:nvPr/>
            </p:nvSpPr>
            <p:spPr>
              <a:xfrm>
                <a:off x="4236"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p:cNvSpPr/>
              <p:nvPr/>
            </p:nvSpPr>
            <p:spPr>
              <a:xfrm>
                <a:off x="4236"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矩形 147"/>
              <p:cNvSpPr/>
              <p:nvPr/>
            </p:nvSpPr>
            <p:spPr>
              <a:xfrm>
                <a:off x="4896"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a:off x="4896"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4896"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p:cNvSpPr/>
              <p:nvPr/>
            </p:nvSpPr>
            <p:spPr>
              <a:xfrm>
                <a:off x="4896"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a:off x="4896"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矩形 152"/>
              <p:cNvSpPr/>
              <p:nvPr/>
            </p:nvSpPr>
            <p:spPr>
              <a:xfrm>
                <a:off x="4896"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矩形 153"/>
              <p:cNvSpPr/>
              <p:nvPr/>
            </p:nvSpPr>
            <p:spPr>
              <a:xfrm>
                <a:off x="4896"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矩形 154"/>
              <p:cNvSpPr/>
              <p:nvPr/>
            </p:nvSpPr>
            <p:spPr>
              <a:xfrm>
                <a:off x="4896" y="665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nvSpPr>
            <p:spPr>
              <a:xfrm>
                <a:off x="4896" y="736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nvSpPr>
            <p:spPr>
              <a:xfrm>
                <a:off x="4896" y="808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a:off x="556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4" name="矩形 163"/>
              <p:cNvSpPr/>
              <p:nvPr/>
            </p:nvSpPr>
            <p:spPr>
              <a:xfrm>
                <a:off x="556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矩形 164"/>
              <p:cNvSpPr/>
              <p:nvPr/>
            </p:nvSpPr>
            <p:spPr>
              <a:xfrm>
                <a:off x="556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矩形 165"/>
              <p:cNvSpPr/>
              <p:nvPr/>
            </p:nvSpPr>
            <p:spPr>
              <a:xfrm>
                <a:off x="5560" y="235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p:cNvSpPr/>
              <p:nvPr/>
            </p:nvSpPr>
            <p:spPr>
              <a:xfrm>
                <a:off x="556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矩形 168"/>
              <p:cNvSpPr/>
              <p:nvPr/>
            </p:nvSpPr>
            <p:spPr>
              <a:xfrm>
                <a:off x="556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矩形 169"/>
              <p:cNvSpPr/>
              <p:nvPr/>
            </p:nvSpPr>
            <p:spPr>
              <a:xfrm>
                <a:off x="556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矩形 171"/>
              <p:cNvSpPr/>
              <p:nvPr/>
            </p:nvSpPr>
            <p:spPr>
              <a:xfrm>
                <a:off x="5560" y="5937"/>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5" name="矩形 174"/>
              <p:cNvSpPr/>
              <p:nvPr/>
            </p:nvSpPr>
            <p:spPr>
              <a:xfrm>
                <a:off x="622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6" name="矩形 175"/>
              <p:cNvSpPr/>
              <p:nvPr/>
            </p:nvSpPr>
            <p:spPr>
              <a:xfrm>
                <a:off x="622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7" name="矩形 176"/>
              <p:cNvSpPr/>
              <p:nvPr/>
            </p:nvSpPr>
            <p:spPr>
              <a:xfrm>
                <a:off x="622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8" name="矩形 177"/>
              <p:cNvSpPr/>
              <p:nvPr/>
            </p:nvSpPr>
            <p:spPr>
              <a:xfrm>
                <a:off x="6220" y="3073"/>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矩形 178"/>
              <p:cNvSpPr/>
              <p:nvPr/>
            </p:nvSpPr>
            <p:spPr>
              <a:xfrm>
                <a:off x="6220" y="3789"/>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0" name="矩形 179"/>
              <p:cNvSpPr/>
              <p:nvPr/>
            </p:nvSpPr>
            <p:spPr>
              <a:xfrm>
                <a:off x="6220" y="450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1" name="矩形 180"/>
              <p:cNvSpPr/>
              <p:nvPr/>
            </p:nvSpPr>
            <p:spPr>
              <a:xfrm>
                <a:off x="693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2" name="矩形 181"/>
              <p:cNvSpPr/>
              <p:nvPr/>
            </p:nvSpPr>
            <p:spPr>
              <a:xfrm>
                <a:off x="693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3" name="矩形 182"/>
              <p:cNvSpPr/>
              <p:nvPr/>
            </p:nvSpPr>
            <p:spPr>
              <a:xfrm>
                <a:off x="6930" y="1641"/>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6" name="矩形 195"/>
              <p:cNvSpPr/>
              <p:nvPr/>
            </p:nvSpPr>
            <p:spPr>
              <a:xfrm>
                <a:off x="7590" y="208"/>
                <a:ext cx="454" cy="4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7" name="矩形 196"/>
              <p:cNvSpPr/>
              <p:nvPr/>
            </p:nvSpPr>
            <p:spPr>
              <a:xfrm>
                <a:off x="7590" y="925"/>
                <a:ext cx="454" cy="4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pSp>
        <p:nvGrpSpPr>
          <p:cNvPr id="186" name="组合 185"/>
          <p:cNvGrpSpPr/>
          <p:nvPr/>
        </p:nvGrpSpPr>
        <p:grpSpPr>
          <a:xfrm>
            <a:off x="2490470" y="1889125"/>
            <a:ext cx="3313430" cy="3242310"/>
            <a:chOff x="6973" y="2975"/>
            <a:chExt cx="5218" cy="5106"/>
          </a:xfrm>
        </p:grpSpPr>
        <p:sp>
          <p:nvSpPr>
            <p:cNvPr id="27" name="Diamond 4"/>
            <p:cNvSpPr/>
            <p:nvPr/>
          </p:nvSpPr>
          <p:spPr bwMode="auto">
            <a:xfrm>
              <a:off x="7480" y="3471"/>
              <a:ext cx="4204" cy="4115"/>
            </a:xfrm>
            <a:prstGeom prst="diamond">
              <a:avLst/>
            </a:prstGeom>
            <a:solidFill>
              <a:schemeClr val="tx2">
                <a:lumMod val="20000"/>
                <a:lumOff val="80000"/>
              </a:schemeClr>
            </a:solidFill>
            <a:ln w="19050">
              <a:noFill/>
              <a:round/>
            </a:ln>
          </p:spPr>
          <p:txBody>
            <a:bodyPr anchor="ctr"/>
            <a:lstStyle/>
            <a:p>
              <a:pPr algn="ctr">
                <a:defRPr/>
              </a:pPr>
              <a:endParaRPr>
                <a:solidFill>
                  <a:prstClr val="black"/>
                </a:solidFill>
              </a:endParaRPr>
            </a:p>
          </p:txBody>
        </p:sp>
        <p:sp>
          <p:nvSpPr>
            <p:cNvPr id="26" name="Diamond 3"/>
            <p:cNvSpPr/>
            <p:nvPr/>
          </p:nvSpPr>
          <p:spPr bwMode="auto">
            <a:xfrm>
              <a:off x="6973" y="2975"/>
              <a:ext cx="5218" cy="5107"/>
            </a:xfrm>
            <a:prstGeom prst="diamond">
              <a:avLst/>
            </a:prstGeom>
            <a:solidFill>
              <a:schemeClr val="tx2">
                <a:lumMod val="20000"/>
                <a:lumOff val="80000"/>
                <a:alpha val="35000"/>
              </a:schemeClr>
            </a:solidFill>
            <a:ln w="19050">
              <a:noFill/>
              <a:round/>
            </a:ln>
          </p:spPr>
          <p:txBody>
            <a:bodyPr anchor="ctr"/>
            <a:lstStyle/>
            <a:p>
              <a:pPr algn="ctr">
                <a:defRPr/>
              </a:pPr>
              <a:endParaRPr>
                <a:solidFill>
                  <a:prstClr val="black"/>
                </a:solidFill>
              </a:endParaRPr>
            </a:p>
          </p:txBody>
        </p:sp>
      </p:grpSp>
      <p:grpSp>
        <p:nvGrpSpPr>
          <p:cNvPr id="3" name="PA_组合 2"/>
          <p:cNvGrpSpPr/>
          <p:nvPr>
            <p:custDataLst>
              <p:tags r:id="rId1"/>
            </p:custDataLst>
          </p:nvPr>
        </p:nvGrpSpPr>
        <p:grpSpPr>
          <a:xfrm>
            <a:off x="2521585" y="2631758"/>
            <a:ext cx="1757680" cy="1757680"/>
            <a:chOff x="990600" y="2044717"/>
            <a:chExt cx="2768566" cy="2768566"/>
          </a:xfrm>
          <a:solidFill>
            <a:srgbClr val="F64C31"/>
          </a:solidFill>
        </p:grpSpPr>
        <p:sp>
          <p:nvSpPr>
            <p:cNvPr id="22" name="Diamond 5"/>
            <p:cNvSpPr/>
            <p:nvPr/>
          </p:nvSpPr>
          <p:spPr bwMode="auto">
            <a:xfrm>
              <a:off x="990600" y="2044717"/>
              <a:ext cx="2768566" cy="2768566"/>
            </a:xfrm>
            <a:prstGeom prst="diamond">
              <a:avLst/>
            </a:prstGeom>
            <a:grpFill/>
            <a:ln w="50800">
              <a:noFill/>
              <a:round/>
            </a:ln>
          </p:spPr>
          <p:txBody>
            <a:bodyPr anchor="ctr"/>
            <a:lstStyle/>
            <a:p>
              <a:pPr algn="ctr">
                <a:defRPr/>
              </a:pPr>
              <a:endParaRPr>
                <a:solidFill>
                  <a:prstClr val="black"/>
                </a:solidFill>
              </a:endParaRPr>
            </a:p>
          </p:txBody>
        </p:sp>
        <p:grpSp>
          <p:nvGrpSpPr>
            <p:cNvPr id="23" name="Group 9"/>
            <p:cNvGrpSpPr/>
            <p:nvPr/>
          </p:nvGrpSpPr>
          <p:grpSpPr>
            <a:xfrm>
              <a:off x="1329472" y="2813680"/>
              <a:ext cx="1963401" cy="1131232"/>
              <a:chOff x="2245515" y="2407478"/>
              <a:chExt cx="1963401" cy="1131232"/>
            </a:xfrm>
            <a:grpFill/>
          </p:grpSpPr>
          <p:sp>
            <p:nvSpPr>
              <p:cNvPr id="24" name="TextBox 7"/>
              <p:cNvSpPr txBox="1"/>
              <p:nvPr/>
            </p:nvSpPr>
            <p:spPr>
              <a:xfrm>
                <a:off x="2360404" y="2407478"/>
                <a:ext cx="1800200" cy="677107"/>
              </a:xfrm>
              <a:prstGeom prst="rect">
                <a:avLst/>
              </a:prstGeom>
              <a:noFill/>
              <a:extLst>
                <a:ext uri="{909E8E84-426E-40DD-AFC4-6F175D3DCCD1}">
                  <a14:hiddenFill xmlns:a14="http://schemas.microsoft.com/office/drawing/2010/main">
                    <a:grpFill/>
                  </a14:hiddenFill>
                </a:ext>
              </a:extLst>
            </p:spPr>
            <p:txBody>
              <a:bodyPr wrap="square" lIns="0" tIns="0" rIns="0" bIns="0">
                <a:normAutofit fontScale="97500"/>
              </a:bodyPr>
              <a:lstStyle/>
              <a:p>
                <a:pPr algn="ctr">
                  <a:defRPr/>
                </a:pPr>
                <a:r>
                  <a:rPr lang="zh-CN" altLang="en-US" sz="2800" dirty="0">
                    <a:solidFill>
                      <a:prstClr val="white"/>
                    </a:solidFill>
                  </a:rPr>
                  <a:t>目 录</a:t>
                </a:r>
              </a:p>
            </p:txBody>
          </p:sp>
          <p:sp>
            <p:nvSpPr>
              <p:cNvPr id="25" name="TextBox 8"/>
              <p:cNvSpPr txBox="1"/>
              <p:nvPr/>
            </p:nvSpPr>
            <p:spPr>
              <a:xfrm>
                <a:off x="2245515" y="3139628"/>
                <a:ext cx="1963401" cy="399082"/>
              </a:xfrm>
              <a:prstGeom prst="rect">
                <a:avLst/>
              </a:prstGeom>
              <a:noFill/>
              <a:extLst>
                <a:ext uri="{909E8E84-426E-40DD-AFC4-6F175D3DCCD1}">
                  <a14:hiddenFill xmlns:a14="http://schemas.microsoft.com/office/drawing/2010/main">
                    <a:grpFill/>
                  </a14:hiddenFill>
                </a:ext>
              </a:extLst>
            </p:spPr>
            <p:txBody>
              <a:bodyPr wrap="square" lIns="0" tIns="0" rIns="0" bIns="0">
                <a:noAutofit/>
              </a:bodyPr>
              <a:lstStyle/>
              <a:p>
                <a:pPr algn="ctr">
                  <a:defRPr/>
                </a:pPr>
                <a:r>
                  <a:rPr lang="en-US" altLang="zh-CN" sz="1200">
                    <a:solidFill>
                      <a:prstClr val="white"/>
                    </a:solidFill>
                  </a:rPr>
                  <a:t>CONTENTS</a:t>
                </a:r>
              </a:p>
            </p:txBody>
          </p:sp>
        </p:grpSp>
      </p:grpSp>
      <p:sp>
        <p:nvSpPr>
          <p:cNvPr id="39" name="文本框 38"/>
          <p:cNvSpPr txBox="1"/>
          <p:nvPr/>
        </p:nvSpPr>
        <p:spPr>
          <a:xfrm>
            <a:off x="248285" y="77470"/>
            <a:ext cx="2131060" cy="47815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90000"/>
              </a:lnSpc>
            </a:pPr>
            <a:r>
              <a:rPr lang="zh-CN" altLang="en-US" sz="2800" b="1" dirty="0" smtClean="0">
                <a:solidFill>
                  <a:srgbClr val="F64C31"/>
                </a:solidFill>
                <a:cs typeface="+mn-ea"/>
              </a:rPr>
              <a:t>科学筑家</a:t>
            </a:r>
          </a:p>
        </p:txBody>
      </p:sp>
      <p:grpSp>
        <p:nvGrpSpPr>
          <p:cNvPr id="269" name="组合 268"/>
          <p:cNvGrpSpPr/>
          <p:nvPr/>
        </p:nvGrpSpPr>
        <p:grpSpPr>
          <a:xfrm>
            <a:off x="5710555" y="930275"/>
            <a:ext cx="6045200" cy="5610860"/>
            <a:chOff x="8993" y="1239"/>
            <a:chExt cx="9520" cy="8836"/>
          </a:xfrm>
        </p:grpSpPr>
        <p:grpSp>
          <p:nvGrpSpPr>
            <p:cNvPr id="189" name="组合 188"/>
            <p:cNvGrpSpPr/>
            <p:nvPr/>
          </p:nvGrpSpPr>
          <p:grpSpPr>
            <a:xfrm>
              <a:off x="9019" y="1239"/>
              <a:ext cx="9494" cy="7620"/>
              <a:chOff x="9019" y="1513"/>
              <a:chExt cx="9391" cy="8358"/>
            </a:xfrm>
          </p:grpSpPr>
          <p:sp>
            <p:nvSpPr>
              <p:cNvPr id="8" name="PA_菱形 11"/>
              <p:cNvSpPr/>
              <p:nvPr>
                <p:custDataLst>
                  <p:tags r:id="rId3"/>
                </p:custDataLst>
              </p:nvPr>
            </p:nvSpPr>
            <p:spPr bwMode="auto">
              <a:xfrm>
                <a:off x="9019" y="1515"/>
                <a:ext cx="1451" cy="1451"/>
              </a:xfrm>
              <a:prstGeom prst="diamond">
                <a:avLst/>
              </a:prstGeom>
              <a:solidFill>
                <a:schemeClr val="accent2"/>
              </a:soli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1</a:t>
                </a:r>
              </a:p>
            </p:txBody>
          </p:sp>
          <p:sp>
            <p:nvSpPr>
              <p:cNvPr id="9" name="PA_菱形 12"/>
              <p:cNvSpPr/>
              <p:nvPr>
                <p:custDataLst>
                  <p:tags r:id="rId4"/>
                </p:custDataLst>
              </p:nvPr>
            </p:nvSpPr>
            <p:spPr bwMode="auto">
              <a:xfrm>
                <a:off x="9019" y="2896"/>
                <a:ext cx="1451" cy="1451"/>
              </a:xfrm>
              <a:prstGeom prst="diamond">
                <a:avLst/>
              </a:prstGeom>
              <a:solidFill>
                <a:schemeClr val="accent3"/>
              </a:soli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2</a:t>
                </a:r>
              </a:p>
            </p:txBody>
          </p:sp>
          <p:sp>
            <p:nvSpPr>
              <p:cNvPr id="10" name="PA_菱形 13"/>
              <p:cNvSpPr/>
              <p:nvPr>
                <p:custDataLst>
                  <p:tags r:id="rId5"/>
                </p:custDataLst>
              </p:nvPr>
            </p:nvSpPr>
            <p:spPr bwMode="auto">
              <a:xfrm>
                <a:off x="9019" y="4277"/>
                <a:ext cx="1451" cy="1451"/>
              </a:xfrm>
              <a:prstGeom prst="diamond">
                <a:avLst/>
              </a:prstGeom>
              <a:solidFill>
                <a:schemeClr val="accent4"/>
              </a:soli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3</a:t>
                </a:r>
              </a:p>
            </p:txBody>
          </p:sp>
          <p:sp>
            <p:nvSpPr>
              <p:cNvPr id="11" name="PA_菱形 14"/>
              <p:cNvSpPr/>
              <p:nvPr>
                <p:custDataLst>
                  <p:tags r:id="rId6"/>
                </p:custDataLst>
              </p:nvPr>
            </p:nvSpPr>
            <p:spPr bwMode="auto">
              <a:xfrm>
                <a:off x="9019" y="5658"/>
                <a:ext cx="1451" cy="1451"/>
              </a:xfrm>
              <a:prstGeom prst="diamond">
                <a:avLst/>
              </a:prstGeom>
              <a:solidFill>
                <a:schemeClr val="accent5"/>
              </a:soli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4</a:t>
                </a:r>
              </a:p>
            </p:txBody>
          </p:sp>
          <p:grpSp>
            <p:nvGrpSpPr>
              <p:cNvPr id="12" name="PA_组合 21"/>
              <p:cNvGrpSpPr/>
              <p:nvPr>
                <p:custDataLst>
                  <p:tags r:id="rId7"/>
                </p:custDataLst>
              </p:nvPr>
            </p:nvGrpSpPr>
            <p:grpSpPr>
              <a:xfrm>
                <a:off x="10060" y="1513"/>
                <a:ext cx="6923" cy="1294"/>
                <a:chOff x="4758410" y="370062"/>
                <a:chExt cx="4764058" cy="1026510"/>
              </a:xfrm>
            </p:grpSpPr>
            <p:sp>
              <p:nvSpPr>
                <p:cNvPr id="20" name="TextBox 19"/>
                <p:cNvSpPr txBox="1"/>
                <p:nvPr/>
              </p:nvSpPr>
              <p:spPr>
                <a:xfrm>
                  <a:off x="4758410" y="370062"/>
                  <a:ext cx="4369236" cy="513255"/>
                </a:xfrm>
                <a:prstGeom prst="rect">
                  <a:avLst/>
                </a:prstGeom>
                <a:noFill/>
              </p:spPr>
              <p:txBody>
                <a:bodyPr wrap="none" lIns="360000" tIns="0" rIns="0" bIns="0" anchor="b" anchorCtr="0">
                  <a:normAutofit/>
                </a:bodyPr>
                <a:lstStyle/>
                <a:p>
                  <a:pPr>
                    <a:defRPr/>
                  </a:pPr>
                  <a:r>
                    <a:rPr lang="zh-CN" altLang="en-US" sz="1600" b="1">
                      <a:solidFill>
                        <a:srgbClr val="4472C4">
                          <a:lumMod val="100000"/>
                        </a:srgbClr>
                      </a:solidFill>
                    </a:rPr>
                    <a:t>项目前期</a:t>
                  </a:r>
                </a:p>
              </p:txBody>
            </p:sp>
            <p:sp>
              <p:nvSpPr>
                <p:cNvPr id="21" name="TextBox 20"/>
                <p:cNvSpPr txBox="1"/>
                <p:nvPr/>
              </p:nvSpPr>
              <p:spPr>
                <a:xfrm>
                  <a:off x="4758410" y="883317"/>
                  <a:ext cx="4764058" cy="513255"/>
                </a:xfrm>
                <a:prstGeom prst="rect">
                  <a:avLst/>
                </a:prstGeom>
              </p:spPr>
              <p:txBody>
                <a:bodyPr vert="horz" wrap="square" lIns="360000" tIns="0" rIns="0" bIns="0" anchor="ctr" anchorCtr="0"/>
                <a:lstStyle/>
                <a:p>
                  <a:pPr>
                    <a:lnSpc>
                      <a:spcPct val="120000"/>
                    </a:lnSpc>
                    <a:defRPr/>
                  </a:pPr>
                  <a:r>
                    <a:rPr lang="en-US" altLang="zh-CN" sz="1400">
                      <a:solidFill>
                        <a:prstClr val="black">
                          <a:lumMod val="100000"/>
                        </a:prstClr>
                      </a:solidFill>
                    </a:rPr>
                    <a:t>1</a:t>
                  </a:r>
                  <a:r>
                    <a:rPr lang="zh-CN" altLang="en-US" sz="1400">
                      <a:solidFill>
                        <a:prstClr val="black">
                          <a:lumMod val="100000"/>
                        </a:prstClr>
                      </a:solidFill>
                    </a:rPr>
                    <a:t>、结构规划    </a:t>
                  </a:r>
                  <a:r>
                    <a:rPr lang="en-US" altLang="zh-CN" sz="1400">
                      <a:solidFill>
                        <a:prstClr val="black">
                          <a:lumMod val="100000"/>
                        </a:prstClr>
                      </a:solidFill>
                    </a:rPr>
                    <a:t>2</a:t>
                  </a:r>
                  <a:r>
                    <a:rPr lang="zh-CN" altLang="en-US" sz="1400">
                      <a:solidFill>
                        <a:prstClr val="black">
                          <a:lumMod val="100000"/>
                        </a:prstClr>
                      </a:solidFill>
                    </a:rPr>
                    <a:t>、机电规划</a:t>
                  </a:r>
                </a:p>
              </p:txBody>
            </p:sp>
          </p:grpSp>
          <p:grpSp>
            <p:nvGrpSpPr>
              <p:cNvPr id="13" name="PA_组合 22"/>
              <p:cNvGrpSpPr/>
              <p:nvPr>
                <p:custDataLst>
                  <p:tags r:id="rId8"/>
                </p:custDataLst>
              </p:nvPr>
            </p:nvGrpSpPr>
            <p:grpSpPr>
              <a:xfrm>
                <a:off x="10060" y="2940"/>
                <a:ext cx="8092" cy="1258"/>
                <a:chOff x="3943834" y="480703"/>
                <a:chExt cx="5149394" cy="997951"/>
              </a:xfrm>
            </p:grpSpPr>
            <p:sp>
              <p:nvSpPr>
                <p:cNvPr id="18" name="TextBox 23"/>
                <p:cNvSpPr txBox="1"/>
                <p:nvPr/>
              </p:nvSpPr>
              <p:spPr>
                <a:xfrm>
                  <a:off x="3943834" y="480703"/>
                  <a:ext cx="4070594" cy="466451"/>
                </a:xfrm>
                <a:prstGeom prst="rect">
                  <a:avLst/>
                </a:prstGeom>
                <a:noFill/>
              </p:spPr>
              <p:txBody>
                <a:bodyPr wrap="none" lIns="360000" tIns="0" rIns="0" bIns="0" anchor="b" anchorCtr="0">
                  <a:normAutofit/>
                </a:bodyPr>
                <a:lstStyle/>
                <a:p>
                  <a:pPr>
                    <a:defRPr/>
                  </a:pPr>
                  <a:r>
                    <a:rPr lang="zh-CN" altLang="en-US" sz="1600" b="1">
                      <a:solidFill>
                        <a:srgbClr val="ED7D31">
                          <a:lumMod val="100000"/>
                        </a:srgbClr>
                      </a:solidFill>
                    </a:rPr>
                    <a:t>精装启动</a:t>
                  </a:r>
                </a:p>
              </p:txBody>
            </p:sp>
            <p:sp>
              <p:nvSpPr>
                <p:cNvPr id="19" name="TextBox 24"/>
                <p:cNvSpPr txBox="1"/>
                <p:nvPr/>
              </p:nvSpPr>
              <p:spPr>
                <a:xfrm>
                  <a:off x="3943834" y="947154"/>
                  <a:ext cx="5149394" cy="531500"/>
                </a:xfrm>
                <a:prstGeom prst="rect">
                  <a:avLst/>
                </a:prstGeom>
              </p:spPr>
              <p:txBody>
                <a:bodyPr vert="horz" wrap="square" lIns="360000" tIns="0" rIns="0" bIns="0" anchor="ctr" anchorCtr="0"/>
                <a:lstStyle/>
                <a:p>
                  <a:pPr>
                    <a:lnSpc>
                      <a:spcPct val="120000"/>
                    </a:lnSpc>
                    <a:defRPr/>
                  </a:pPr>
                  <a:r>
                    <a:rPr lang="en-US" altLang="zh-CN" sz="1400">
                      <a:solidFill>
                        <a:prstClr val="black">
                          <a:lumMod val="100000"/>
                        </a:prstClr>
                      </a:solidFill>
                    </a:rPr>
                    <a:t>1</a:t>
                  </a:r>
                  <a:r>
                    <a:rPr lang="zh-CN" altLang="en-US" sz="1400">
                      <a:solidFill>
                        <a:prstClr val="black">
                          <a:lumMod val="100000"/>
                        </a:prstClr>
                      </a:solidFill>
                    </a:rPr>
                    <a:t>、精装界面划分  </a:t>
                  </a:r>
                  <a:r>
                    <a:rPr lang="en-US" altLang="zh-CN" sz="1400">
                      <a:solidFill>
                        <a:prstClr val="black">
                          <a:lumMod val="100000"/>
                        </a:prstClr>
                      </a:solidFill>
                    </a:rPr>
                    <a:t>2</a:t>
                  </a:r>
                  <a:r>
                    <a:rPr lang="zh-CN" altLang="en-US" sz="1400">
                      <a:solidFill>
                        <a:prstClr val="black">
                          <a:lumMod val="100000"/>
                        </a:prstClr>
                      </a:solidFill>
                    </a:rPr>
                    <a:t>、审核精装扩初图  </a:t>
                  </a:r>
                  <a:r>
                    <a:rPr lang="en-US" altLang="zh-CN" sz="1400">
                      <a:solidFill>
                        <a:prstClr val="black">
                          <a:lumMod val="100000"/>
                        </a:prstClr>
                      </a:solidFill>
                    </a:rPr>
                    <a:t>3</a:t>
                  </a:r>
                  <a:r>
                    <a:rPr lang="zh-CN" altLang="en-US" sz="1400">
                      <a:solidFill>
                        <a:prstClr val="black">
                          <a:lumMod val="100000"/>
                        </a:prstClr>
                      </a:solidFill>
                    </a:rPr>
                    <a:t>、审核精装设计封样</a:t>
                  </a:r>
                </a:p>
              </p:txBody>
            </p:sp>
          </p:grpSp>
          <p:grpSp>
            <p:nvGrpSpPr>
              <p:cNvPr id="14" name="PA_组合 25"/>
              <p:cNvGrpSpPr/>
              <p:nvPr>
                <p:custDataLst>
                  <p:tags r:id="rId9"/>
                </p:custDataLst>
              </p:nvPr>
            </p:nvGrpSpPr>
            <p:grpSpPr>
              <a:xfrm>
                <a:off x="10060" y="4084"/>
                <a:ext cx="7043" cy="1419"/>
                <a:chOff x="4302842" y="213366"/>
                <a:chExt cx="6170747" cy="1125671"/>
              </a:xfrm>
            </p:grpSpPr>
            <p:sp>
              <p:nvSpPr>
                <p:cNvPr id="16" name="TextBox 26"/>
                <p:cNvSpPr txBox="1"/>
                <p:nvPr/>
              </p:nvSpPr>
              <p:spPr>
                <a:xfrm>
                  <a:off x="4302842" y="213366"/>
                  <a:ext cx="3964163" cy="554506"/>
                </a:xfrm>
                <a:prstGeom prst="rect">
                  <a:avLst/>
                </a:prstGeom>
                <a:noFill/>
              </p:spPr>
              <p:txBody>
                <a:bodyPr wrap="none" lIns="360000" tIns="0" rIns="0" bIns="0" anchor="b" anchorCtr="0">
                  <a:normAutofit/>
                </a:bodyPr>
                <a:lstStyle/>
                <a:p>
                  <a:pPr>
                    <a:defRPr/>
                  </a:pPr>
                  <a:r>
                    <a:rPr lang="zh-CN" altLang="en-US" sz="1600" b="1">
                      <a:solidFill>
                        <a:schemeClr val="tx1"/>
                      </a:solidFill>
                    </a:rPr>
                    <a:t>招标阶段</a:t>
                  </a:r>
                </a:p>
              </p:txBody>
            </p:sp>
            <p:sp>
              <p:nvSpPr>
                <p:cNvPr id="17" name="TextBox 27"/>
                <p:cNvSpPr txBox="1"/>
                <p:nvPr/>
              </p:nvSpPr>
              <p:spPr>
                <a:xfrm>
                  <a:off x="4302842" y="767872"/>
                  <a:ext cx="6170747" cy="571165"/>
                </a:xfrm>
                <a:prstGeom prst="rect">
                  <a:avLst/>
                </a:prstGeom>
              </p:spPr>
              <p:txBody>
                <a:bodyPr vert="horz" wrap="square" lIns="360000" tIns="0" rIns="0" bIns="0" anchor="ctr" anchorCtr="0"/>
                <a:lstStyle/>
                <a:p>
                  <a:pPr>
                    <a:lnSpc>
                      <a:spcPct val="120000"/>
                    </a:lnSpc>
                    <a:defRPr/>
                  </a:pPr>
                  <a:r>
                    <a:rPr lang="en-US" altLang="zh-CN" sz="1400">
                      <a:solidFill>
                        <a:prstClr val="black">
                          <a:lumMod val="100000"/>
                        </a:prstClr>
                      </a:solidFill>
                    </a:rPr>
                    <a:t>1</a:t>
                  </a:r>
                  <a:r>
                    <a:rPr lang="zh-CN" altLang="en-US" sz="1400">
                      <a:solidFill>
                        <a:prstClr val="black">
                          <a:lumMod val="100000"/>
                        </a:prstClr>
                      </a:solidFill>
                    </a:rPr>
                    <a:t>、精装招标技术文件   </a:t>
                  </a:r>
                  <a:r>
                    <a:rPr lang="en-US" altLang="zh-CN" sz="1400">
                      <a:solidFill>
                        <a:prstClr val="black">
                          <a:lumMod val="100000"/>
                        </a:prstClr>
                      </a:solidFill>
                    </a:rPr>
                    <a:t>2</a:t>
                  </a:r>
                  <a:r>
                    <a:rPr lang="zh-CN" altLang="en-US" sz="1400">
                      <a:solidFill>
                        <a:prstClr val="black">
                          <a:lumMod val="100000"/>
                        </a:prstClr>
                      </a:solidFill>
                    </a:rPr>
                    <a:t>、单位入围   </a:t>
                  </a:r>
                  <a:r>
                    <a:rPr lang="en-US" altLang="zh-CN" sz="1400">
                      <a:solidFill>
                        <a:prstClr val="black">
                          <a:lumMod val="100000"/>
                        </a:prstClr>
                      </a:solidFill>
                    </a:rPr>
                    <a:t>3</a:t>
                  </a:r>
                  <a:r>
                    <a:rPr lang="zh-CN" altLang="en-US" sz="1400">
                      <a:solidFill>
                        <a:prstClr val="black">
                          <a:lumMod val="100000"/>
                        </a:prstClr>
                      </a:solidFill>
                    </a:rPr>
                    <a:t>、评标述标</a:t>
                  </a:r>
                </a:p>
              </p:txBody>
            </p:sp>
          </p:grpSp>
          <p:grpSp>
            <p:nvGrpSpPr>
              <p:cNvPr id="15" name="PA_组合 28"/>
              <p:cNvGrpSpPr/>
              <p:nvPr>
                <p:custDataLst>
                  <p:tags r:id="rId10"/>
                </p:custDataLst>
              </p:nvPr>
            </p:nvGrpSpPr>
            <p:grpSpPr>
              <a:xfrm>
                <a:off x="10060" y="5872"/>
                <a:ext cx="8350" cy="1326"/>
                <a:chOff x="3943834" y="545752"/>
                <a:chExt cx="7314360" cy="1051895"/>
              </a:xfrm>
            </p:grpSpPr>
            <p:sp>
              <p:nvSpPr>
                <p:cNvPr id="28" name="TextBox 29"/>
                <p:cNvSpPr txBox="1"/>
                <p:nvPr/>
              </p:nvSpPr>
              <p:spPr>
                <a:xfrm>
                  <a:off x="3943834" y="545752"/>
                  <a:ext cx="4138900" cy="401402"/>
                </a:xfrm>
                <a:prstGeom prst="rect">
                  <a:avLst/>
                </a:prstGeom>
                <a:noFill/>
              </p:spPr>
              <p:txBody>
                <a:bodyPr wrap="none" lIns="360000" tIns="0" rIns="0" bIns="0" anchor="b" anchorCtr="0">
                  <a:normAutofit/>
                </a:bodyPr>
                <a:lstStyle/>
                <a:p>
                  <a:pPr>
                    <a:defRPr/>
                  </a:pPr>
                  <a:r>
                    <a:rPr lang="zh-CN" altLang="en-US" sz="1600" b="1">
                      <a:solidFill>
                        <a:srgbClr val="FFC000">
                          <a:lumMod val="100000"/>
                        </a:srgbClr>
                      </a:solidFill>
                    </a:rPr>
                    <a:t>精装进场</a:t>
                  </a:r>
                </a:p>
              </p:txBody>
            </p:sp>
            <p:sp>
              <p:nvSpPr>
                <p:cNvPr id="29" name="TextBox 30"/>
                <p:cNvSpPr txBox="1"/>
                <p:nvPr/>
              </p:nvSpPr>
              <p:spPr>
                <a:xfrm>
                  <a:off x="3943834" y="947154"/>
                  <a:ext cx="7314360" cy="650493"/>
                </a:xfrm>
                <a:prstGeom prst="rect">
                  <a:avLst/>
                </a:prstGeom>
              </p:spPr>
              <p:txBody>
                <a:bodyPr vert="horz" wrap="square" lIns="360000" tIns="0" rIns="0" bIns="0" anchor="ctr" anchorCtr="0"/>
                <a:lstStyle/>
                <a:p>
                  <a:pPr>
                    <a:lnSpc>
                      <a:spcPct val="120000"/>
                    </a:lnSpc>
                    <a:defRPr/>
                  </a:pPr>
                  <a:r>
                    <a:rPr lang="en-US" altLang="zh-CN" sz="1400">
                      <a:solidFill>
                        <a:prstClr val="black">
                          <a:lumMod val="100000"/>
                        </a:prstClr>
                      </a:solidFill>
                    </a:rPr>
                    <a:t>1</a:t>
                  </a:r>
                  <a:r>
                    <a:rPr lang="zh-CN" altLang="en-US" sz="1400">
                      <a:solidFill>
                        <a:prstClr val="black">
                          <a:lumMod val="100000"/>
                        </a:prstClr>
                      </a:solidFill>
                    </a:rPr>
                    <a:t>、设计交底  </a:t>
                  </a:r>
                  <a:r>
                    <a:rPr lang="en-US" altLang="zh-CN" sz="1400">
                      <a:solidFill>
                        <a:prstClr val="black">
                          <a:lumMod val="100000"/>
                        </a:prstClr>
                      </a:solidFill>
                    </a:rPr>
                    <a:t>2</a:t>
                  </a:r>
                  <a:r>
                    <a:rPr lang="zh-CN" altLang="en-US" sz="1400">
                      <a:solidFill>
                        <a:prstClr val="black">
                          <a:lumMod val="100000"/>
                        </a:prstClr>
                      </a:solidFill>
                    </a:rPr>
                    <a:t>、图纸深化  </a:t>
                  </a:r>
                  <a:r>
                    <a:rPr lang="en-US" altLang="zh-CN" sz="1400">
                      <a:solidFill>
                        <a:prstClr val="black">
                          <a:lumMod val="100000"/>
                        </a:prstClr>
                      </a:solidFill>
                    </a:rPr>
                    <a:t>3</a:t>
                  </a:r>
                  <a:r>
                    <a:rPr lang="zh-CN" altLang="en-US" sz="1400">
                      <a:solidFill>
                        <a:prstClr val="black">
                          <a:lumMod val="100000"/>
                        </a:prstClr>
                      </a:solidFill>
                    </a:rPr>
                    <a:t>、技术交底  </a:t>
                  </a:r>
                  <a:r>
                    <a:rPr lang="en-US" altLang="zh-CN" sz="1400">
                      <a:solidFill>
                        <a:prstClr val="black">
                          <a:lumMod val="100000"/>
                        </a:prstClr>
                      </a:solidFill>
                    </a:rPr>
                    <a:t>4</a:t>
                  </a:r>
                  <a:r>
                    <a:rPr lang="zh-CN" altLang="en-US" sz="1400">
                      <a:solidFill>
                        <a:prstClr val="black">
                          <a:lumMod val="100000"/>
                        </a:prstClr>
                      </a:solidFill>
                    </a:rPr>
                    <a:t>、套方放线 </a:t>
                  </a:r>
                </a:p>
              </p:txBody>
            </p:sp>
          </p:grpSp>
          <p:sp>
            <p:nvSpPr>
              <p:cNvPr id="30" name="PA_菱形 14"/>
              <p:cNvSpPr/>
              <p:nvPr>
                <p:custDataLst>
                  <p:tags r:id="rId11"/>
                </p:custDataLst>
              </p:nvPr>
            </p:nvSpPr>
            <p:spPr bwMode="auto">
              <a:xfrm>
                <a:off x="9019" y="7039"/>
                <a:ext cx="1451" cy="1451"/>
              </a:xfrm>
              <a:prstGeom prst="diamond">
                <a:avLst/>
              </a:prstGeom>
              <a:gradFill>
                <a:gsLst>
                  <a:gs pos="0">
                    <a:srgbClr val="14CD68"/>
                  </a:gs>
                  <a:gs pos="100000">
                    <a:srgbClr val="035C7D"/>
                  </a:gs>
                </a:gsLst>
                <a:lin ang="5400000" scaled="0"/>
              </a:gra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5</a:t>
                </a:r>
              </a:p>
            </p:txBody>
          </p:sp>
          <p:grpSp>
            <p:nvGrpSpPr>
              <p:cNvPr id="31" name="PA_组合 28"/>
              <p:cNvGrpSpPr/>
              <p:nvPr>
                <p:custDataLst>
                  <p:tags r:id="rId12"/>
                </p:custDataLst>
              </p:nvPr>
            </p:nvGrpSpPr>
            <p:grpSpPr>
              <a:xfrm>
                <a:off x="10060" y="7203"/>
                <a:ext cx="7011" cy="1292"/>
                <a:chOff x="3943834" y="460077"/>
                <a:chExt cx="6142824" cy="1024924"/>
              </a:xfrm>
            </p:grpSpPr>
            <p:sp>
              <p:nvSpPr>
                <p:cNvPr id="32" name="TextBox 29"/>
                <p:cNvSpPr txBox="1"/>
                <p:nvPr/>
              </p:nvSpPr>
              <p:spPr>
                <a:xfrm>
                  <a:off x="3943834" y="460077"/>
                  <a:ext cx="4152403" cy="487077"/>
                </a:xfrm>
                <a:prstGeom prst="rect">
                  <a:avLst/>
                </a:prstGeom>
                <a:noFill/>
              </p:spPr>
              <p:txBody>
                <a:bodyPr wrap="none" lIns="360000" tIns="0" rIns="0" bIns="0" anchor="b" anchorCtr="0">
                  <a:normAutofit/>
                </a:bodyPr>
                <a:lstStyle/>
                <a:p>
                  <a:pPr>
                    <a:defRPr/>
                  </a:pPr>
                  <a:r>
                    <a:rPr lang="zh-CN" altLang="en-US" sz="1600" b="1">
                      <a:solidFill>
                        <a:srgbClr val="5A0074"/>
                      </a:solidFill>
                    </a:rPr>
                    <a:t>精装过程</a:t>
                  </a:r>
                </a:p>
              </p:txBody>
            </p:sp>
            <p:sp>
              <p:nvSpPr>
                <p:cNvPr id="33" name="TextBox 30"/>
                <p:cNvSpPr txBox="1"/>
                <p:nvPr/>
              </p:nvSpPr>
              <p:spPr>
                <a:xfrm>
                  <a:off x="3943834" y="947154"/>
                  <a:ext cx="6142824" cy="537847"/>
                </a:xfrm>
                <a:prstGeom prst="rect">
                  <a:avLst/>
                </a:prstGeom>
              </p:spPr>
              <p:txBody>
                <a:bodyPr vert="horz" wrap="square" lIns="360000" tIns="0" rIns="0" bIns="0" anchor="ctr" anchorCtr="0"/>
                <a:lstStyle/>
                <a:p>
                  <a:pPr>
                    <a:lnSpc>
                      <a:spcPct val="120000"/>
                    </a:lnSpc>
                    <a:defRPr/>
                  </a:pPr>
                  <a:r>
                    <a:rPr lang="en-US" altLang="zh-CN" sz="1400">
                      <a:solidFill>
                        <a:prstClr val="black">
                          <a:lumMod val="100000"/>
                        </a:prstClr>
                      </a:solidFill>
                    </a:rPr>
                    <a:t>1</a:t>
                  </a:r>
                  <a:r>
                    <a:rPr lang="zh-CN" altLang="en-US" sz="1400">
                      <a:solidFill>
                        <a:prstClr val="black">
                          <a:lumMod val="100000"/>
                        </a:prstClr>
                      </a:solidFill>
                    </a:rPr>
                    <a:t>、</a:t>
                  </a:r>
                  <a:r>
                    <a:rPr lang="zh-CN" altLang="en-US" sz="1400">
                      <a:solidFill>
                        <a:prstClr val="black">
                          <a:lumMod val="100000"/>
                        </a:prstClr>
                      </a:solidFill>
                      <a:sym typeface="+mn-ea"/>
                    </a:rPr>
                    <a:t>土建移交  </a:t>
                  </a:r>
                  <a:r>
                    <a:rPr lang="en-US" altLang="zh-CN" sz="1400">
                      <a:solidFill>
                        <a:prstClr val="black">
                          <a:lumMod val="100000"/>
                        </a:prstClr>
                      </a:solidFill>
                      <a:sym typeface="+mn-ea"/>
                    </a:rPr>
                    <a:t>2</a:t>
                  </a:r>
                  <a:r>
                    <a:rPr lang="zh-CN" altLang="en-US" sz="1400">
                      <a:solidFill>
                        <a:prstClr val="black">
                          <a:lumMod val="100000"/>
                        </a:prstClr>
                      </a:solidFill>
                      <a:sym typeface="+mn-ea"/>
                    </a:rPr>
                    <a:t>、样板引路  </a:t>
                  </a:r>
                  <a:r>
                    <a:rPr lang="en-US" altLang="zh-CN" sz="1400">
                      <a:solidFill>
                        <a:prstClr val="black">
                          <a:lumMod val="100000"/>
                        </a:prstClr>
                      </a:solidFill>
                      <a:sym typeface="+mn-ea"/>
                    </a:rPr>
                    <a:t>3</a:t>
                  </a:r>
                  <a:r>
                    <a:rPr lang="zh-CN" altLang="en-US" sz="1400">
                      <a:solidFill>
                        <a:prstClr val="black">
                          <a:lumMod val="100000"/>
                        </a:prstClr>
                      </a:solidFill>
                      <a:sym typeface="+mn-ea"/>
                    </a:rPr>
                    <a:t>、品质管控</a:t>
                  </a:r>
                  <a:endParaRPr lang="zh-CN" altLang="en-US" sz="1400">
                    <a:solidFill>
                      <a:prstClr val="black">
                        <a:lumMod val="100000"/>
                      </a:prstClr>
                    </a:solidFill>
                  </a:endParaRPr>
                </a:p>
              </p:txBody>
            </p:sp>
          </p:grpSp>
          <p:sp>
            <p:nvSpPr>
              <p:cNvPr id="34" name="PA_菱形 14"/>
              <p:cNvSpPr/>
              <p:nvPr>
                <p:custDataLst>
                  <p:tags r:id="rId13"/>
                </p:custDataLst>
              </p:nvPr>
            </p:nvSpPr>
            <p:spPr bwMode="auto">
              <a:xfrm>
                <a:off x="9019" y="8420"/>
                <a:ext cx="1451" cy="1451"/>
              </a:xfrm>
              <a:prstGeom prst="diamond">
                <a:avLst/>
              </a:prstGeom>
              <a:solidFill>
                <a:srgbClr val="0070C0"/>
              </a:soli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6</a:t>
                </a:r>
              </a:p>
            </p:txBody>
          </p:sp>
          <p:grpSp>
            <p:nvGrpSpPr>
              <p:cNvPr id="35" name="PA_组合 28"/>
              <p:cNvGrpSpPr/>
              <p:nvPr>
                <p:custDataLst>
                  <p:tags r:id="rId14"/>
                </p:custDataLst>
              </p:nvPr>
            </p:nvGrpSpPr>
            <p:grpSpPr>
              <a:xfrm>
                <a:off x="10060" y="8579"/>
                <a:ext cx="7044" cy="1124"/>
                <a:chOff x="3943834" y="366470"/>
                <a:chExt cx="5330293" cy="891625"/>
              </a:xfrm>
            </p:grpSpPr>
            <p:sp>
              <p:nvSpPr>
                <p:cNvPr id="36" name="TextBox 29"/>
                <p:cNvSpPr txBox="1"/>
                <p:nvPr/>
              </p:nvSpPr>
              <p:spPr>
                <a:xfrm>
                  <a:off x="3943834" y="366470"/>
                  <a:ext cx="4125398" cy="401402"/>
                </a:xfrm>
                <a:prstGeom prst="rect">
                  <a:avLst/>
                </a:prstGeom>
                <a:noFill/>
              </p:spPr>
              <p:txBody>
                <a:bodyPr wrap="none" lIns="360000" tIns="0" rIns="0" bIns="0" anchor="b" anchorCtr="0">
                  <a:normAutofit/>
                </a:bodyPr>
                <a:lstStyle/>
                <a:p>
                  <a:pPr>
                    <a:defRPr/>
                  </a:pPr>
                  <a:r>
                    <a:rPr lang="zh-CN" altLang="en-US" sz="1600" b="1">
                      <a:solidFill>
                        <a:schemeClr val="accent1"/>
                      </a:solidFill>
                    </a:rPr>
                    <a:t>安全文明</a:t>
                  </a:r>
                </a:p>
              </p:txBody>
            </p:sp>
            <p:sp>
              <p:nvSpPr>
                <p:cNvPr id="37" name="TextBox 30"/>
                <p:cNvSpPr txBox="1"/>
                <p:nvPr/>
              </p:nvSpPr>
              <p:spPr>
                <a:xfrm>
                  <a:off x="3943834" y="639333"/>
                  <a:ext cx="5330293" cy="618762"/>
                </a:xfrm>
                <a:prstGeom prst="rect">
                  <a:avLst/>
                </a:prstGeom>
              </p:spPr>
              <p:txBody>
                <a:bodyPr vert="horz" wrap="square" lIns="360000" tIns="0" rIns="0" bIns="0" anchor="ctr" anchorCtr="0">
                  <a:noAutofit/>
                </a:bodyPr>
                <a:lstStyle/>
                <a:p>
                  <a:pPr>
                    <a:lnSpc>
                      <a:spcPct val="120000"/>
                    </a:lnSpc>
                    <a:defRPr/>
                  </a:pPr>
                  <a:r>
                    <a:rPr lang="en-US" altLang="zh-CN" sz="1400">
                      <a:solidFill>
                        <a:prstClr val="black">
                          <a:lumMod val="100000"/>
                        </a:prstClr>
                      </a:solidFill>
                      <a:sym typeface="+mn-ea"/>
                    </a:rPr>
                    <a:t>1</a:t>
                  </a:r>
                  <a:r>
                    <a:rPr lang="zh-CN" altLang="en-US" sz="1400">
                      <a:solidFill>
                        <a:prstClr val="black">
                          <a:lumMod val="100000"/>
                        </a:prstClr>
                      </a:solidFill>
                      <a:sym typeface="+mn-ea"/>
                    </a:rPr>
                    <a:t>、安全管理  </a:t>
                  </a:r>
                  <a:r>
                    <a:rPr lang="en-US" altLang="zh-CN" sz="1400">
                      <a:solidFill>
                        <a:prstClr val="black">
                          <a:lumMod val="100000"/>
                        </a:prstClr>
                      </a:solidFill>
                      <a:sym typeface="+mn-ea"/>
                    </a:rPr>
                    <a:t>2</a:t>
                  </a:r>
                  <a:r>
                    <a:rPr lang="zh-CN" altLang="en-US" sz="1400">
                      <a:solidFill>
                        <a:prstClr val="black">
                          <a:lumMod val="100000"/>
                        </a:prstClr>
                      </a:solidFill>
                      <a:sym typeface="+mn-ea"/>
                    </a:rPr>
                    <a:t>、文明施工  </a:t>
                  </a:r>
                  <a:r>
                    <a:rPr lang="en-US" altLang="zh-CN" sz="1400">
                      <a:solidFill>
                        <a:prstClr val="black">
                          <a:lumMod val="100000"/>
                        </a:prstClr>
                      </a:solidFill>
                      <a:sym typeface="+mn-ea"/>
                    </a:rPr>
                    <a:t>3</a:t>
                  </a:r>
                  <a:r>
                    <a:rPr lang="zh-CN" altLang="en-US" sz="1400">
                      <a:solidFill>
                        <a:prstClr val="black">
                          <a:lumMod val="100000"/>
                        </a:prstClr>
                      </a:solidFill>
                      <a:sym typeface="+mn-ea"/>
                    </a:rPr>
                    <a:t>、成品保护</a:t>
                  </a:r>
                  <a:endParaRPr lang="zh-CN" altLang="en-US" sz="1400">
                    <a:solidFill>
                      <a:prstClr val="black">
                        <a:lumMod val="100000"/>
                      </a:prstClr>
                    </a:solidFill>
                  </a:endParaRPr>
                </a:p>
              </p:txBody>
            </p:sp>
          </p:grpSp>
        </p:grpSp>
        <p:sp>
          <p:nvSpPr>
            <p:cNvPr id="2" name="PA_菱形 14"/>
            <p:cNvSpPr/>
            <p:nvPr>
              <p:custDataLst>
                <p:tags r:id="rId2"/>
              </p:custDataLst>
            </p:nvPr>
          </p:nvSpPr>
          <p:spPr bwMode="auto">
            <a:xfrm>
              <a:off x="8993" y="8753"/>
              <a:ext cx="1467" cy="1323"/>
            </a:xfrm>
            <a:prstGeom prst="diamond">
              <a:avLst/>
            </a:prstGeom>
            <a:solidFill>
              <a:srgbClr val="F64C31"/>
            </a:solidFill>
            <a:ln w="19050">
              <a:noFill/>
              <a:round/>
            </a:ln>
          </p:spPr>
          <p:txBody>
            <a:bodyPr vert="horz" wrap="none" lIns="91440" tIns="45720" rIns="91440" bIns="45720" anchor="ctr" anchorCtr="1" compatLnSpc="1">
              <a:normAutofit fontScale="95000" lnSpcReduction="10000"/>
            </a:bodyPr>
            <a:lstStyle/>
            <a:p>
              <a:pPr algn="ctr">
                <a:defRPr/>
              </a:pPr>
              <a:r>
                <a:rPr lang="en-US" altLang="zh-CN" sz="2400" b="1">
                  <a:solidFill>
                    <a:prstClr val="white"/>
                  </a:solidFill>
                  <a:latin typeface="+mn-ea"/>
                </a:rPr>
                <a:t>07</a:t>
              </a:r>
            </a:p>
          </p:txBody>
        </p:sp>
        <p:sp>
          <p:nvSpPr>
            <p:cNvPr id="4" name="TextBox 29"/>
            <p:cNvSpPr txBox="1"/>
            <p:nvPr/>
          </p:nvSpPr>
          <p:spPr>
            <a:xfrm>
              <a:off x="10045" y="9124"/>
              <a:ext cx="5512" cy="461"/>
            </a:xfrm>
            <a:prstGeom prst="rect">
              <a:avLst/>
            </a:prstGeom>
            <a:noFill/>
          </p:spPr>
          <p:txBody>
            <a:bodyPr wrap="none" lIns="360000" tIns="0" rIns="0" bIns="0" anchor="b" anchorCtr="0">
              <a:normAutofit/>
            </a:bodyPr>
            <a:lstStyle/>
            <a:p>
              <a:pPr>
                <a:defRPr/>
              </a:pPr>
              <a:r>
                <a:rPr lang="zh-CN" altLang="en-US" sz="1600" b="1">
                  <a:solidFill>
                    <a:srgbClr val="0070C0"/>
                  </a:solidFill>
                </a:rPr>
                <a:t>客户敏感点</a:t>
              </a:r>
            </a:p>
          </p:txBody>
        </p:sp>
      </p:gr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53"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26" presetClass="emph" presetSubtype="0" fill="hold" nodeType="withEffect">
                                  <p:stCondLst>
                                    <p:cond delay="0"/>
                                  </p:stCondLst>
                                  <p:childTnLst>
                                    <p:animEffect transition="out" filter="fade">
                                      <p:cBhvr>
                                        <p:cTn id="14" dur="250" tmFilter="0, 0; .2, .5; .8, .5; 1, 0"/>
                                        <p:tgtEl>
                                          <p:spTgt spid="3"/>
                                        </p:tgtEl>
                                      </p:cBhvr>
                                    </p:animEffect>
                                    <p:animScale>
                                      <p:cBhvr>
                                        <p:cTn id="15" dur="125" autoRev="1" fill="hold"/>
                                        <p:tgtEl>
                                          <p:spTgt spid="3"/>
                                        </p:tgtEl>
                                      </p:cBhvr>
                                      <p:by x="105000" y="105000"/>
                                    </p:animScale>
                                  </p:childTnLst>
                                </p:cTn>
                              </p:par>
                              <p:par>
                                <p:cTn id="16" presetID="6" presetClass="emph" presetSubtype="0" decel="100000" autoRev="1" fill="hold" nodeType="withEffect">
                                  <p:stCondLst>
                                    <p:cond delay="250"/>
                                  </p:stCondLst>
                                  <p:childTnLst>
                                    <p:animScale>
                                      <p:cBhvr>
                                        <p:cTn id="17" dur="250" fill="hold"/>
                                        <p:tgtEl>
                                          <p:spTgt spid="3"/>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lvl="0" algn="l">
              <a:lnSpc>
                <a:spcPct val="150000"/>
              </a:lnSpc>
            </a:pPr>
            <a:r>
              <a:rPr lang="zh-CN" altLang="en-US" sz="2000" b="1" dirty="0">
                <a:solidFill>
                  <a:srgbClr val="F64C31"/>
                </a:solidFill>
                <a:cs typeface="+mn-ea"/>
                <a:sym typeface="+mn-ea"/>
              </a:rPr>
              <a:t>二、精装启动</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2.2.3</a:t>
            </a:r>
            <a:r>
              <a:rPr lang="zh-CN" altLang="en-US" sz="1800" b="1" dirty="0" smtClean="0">
                <a:solidFill>
                  <a:srgbClr val="000000"/>
                </a:solidFill>
                <a:cs typeface="+mn-ea"/>
                <a:sym typeface="+mn-ea"/>
              </a:rPr>
              <a:t>、审核精装扩初图（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11" name="图片 10" descr="E:\金地品质管理\精装品质管控\精装管控实例图\微信图片_20180716111124.jpg微信图片_20180716111124"/>
          <p:cNvPicPr>
            <a:picLocks noChangeAspect="1"/>
          </p:cNvPicPr>
          <p:nvPr/>
        </p:nvPicPr>
        <p:blipFill>
          <a:blip r:embed="rId2"/>
          <a:srcRect/>
          <a:stretch>
            <a:fillRect/>
          </a:stretch>
        </p:blipFill>
        <p:spPr>
          <a:xfrm>
            <a:off x="1143000" y="1566545"/>
            <a:ext cx="3670300" cy="198564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2" name="图片 11" descr="E:\金地品质管理\精装品质管控\精装管控实例图\微信图片_20180716113842.jpg微信图片_20180716113842"/>
          <p:cNvPicPr>
            <a:picLocks noChangeAspect="1"/>
          </p:cNvPicPr>
          <p:nvPr/>
        </p:nvPicPr>
        <p:blipFill>
          <a:blip r:embed="rId3"/>
          <a:srcRect/>
          <a:stretch>
            <a:fillRect/>
          </a:stretch>
        </p:blipFill>
        <p:spPr>
          <a:xfrm>
            <a:off x="5816600" y="1566545"/>
            <a:ext cx="4476115" cy="252793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6" name="文本框 15"/>
          <p:cNvSpPr txBox="1"/>
          <p:nvPr/>
        </p:nvSpPr>
        <p:spPr>
          <a:xfrm>
            <a:off x="5760085" y="4550410"/>
            <a:ext cx="5771515" cy="170688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gn="l">
              <a:lnSpc>
                <a:spcPct val="150000"/>
              </a:lnSpc>
            </a:pPr>
            <a:r>
              <a:rPr lang="zh-CN" sz="1400" b="1" dirty="0" smtClean="0">
                <a:solidFill>
                  <a:srgbClr val="000000"/>
                </a:solidFill>
                <a:latin typeface="+mn-ea"/>
                <a:cs typeface="+mn-ea"/>
                <a:sym typeface="+mn-ea"/>
              </a:rPr>
              <a:t>榻榻米空间功能</a:t>
            </a:r>
            <a:r>
              <a:rPr lang="zh-CN" altLang="en-US" sz="1400" b="1" dirty="0">
                <a:solidFill>
                  <a:srgbClr val="000000"/>
                </a:solidFill>
                <a:cs typeface="+mn-ea"/>
              </a:rPr>
              <a:t>实例</a:t>
            </a:r>
          </a:p>
          <a:p>
            <a:pPr algn="l">
              <a:lnSpc>
                <a:spcPct val="150000"/>
              </a:lnSpc>
            </a:pPr>
            <a:r>
              <a:rPr lang="zh-CN" altLang="en-US" sz="1400" dirty="0">
                <a:solidFill>
                  <a:srgbClr val="000000"/>
                </a:solidFill>
                <a:cs typeface="+mn-ea"/>
              </a:rPr>
              <a:t>      因设计初期未考虑到实际使用的功能性问题，致使</a:t>
            </a:r>
            <a:r>
              <a:rPr lang="zh-CN" sz="1400" dirty="0" smtClean="0">
                <a:solidFill>
                  <a:srgbClr val="000000"/>
                </a:solidFill>
                <a:latin typeface="+mn-ea"/>
                <a:cs typeface="+mn-ea"/>
                <a:sym typeface="+mn-ea"/>
              </a:rPr>
              <a:t>出现了使用功能的空间浪费，对后期交付业主后存在设计缺陷的投诉风险。</a:t>
            </a:r>
          </a:p>
          <a:p>
            <a:pPr algn="l">
              <a:lnSpc>
                <a:spcPct val="150000"/>
              </a:lnSpc>
            </a:pPr>
            <a:r>
              <a:rPr lang="zh-CN" altLang="en-US" sz="1400" b="1" dirty="0" smtClean="0">
                <a:solidFill>
                  <a:srgbClr val="000000"/>
                </a:solidFill>
                <a:latin typeface="+mn-ea"/>
                <a:cs typeface="+mn-ea"/>
                <a:sym typeface="+mn-ea"/>
              </a:rPr>
              <a:t>     经过精装组进行优化增加了榻榻米空间的储物功能，规避了设计缺陷的客户投诉风险，使产品更加符合科学筑家理念。</a:t>
            </a:r>
            <a:endParaRPr lang="zh-CN" altLang="en-US" sz="1400" dirty="0">
              <a:solidFill>
                <a:srgbClr val="000000"/>
              </a:solidFill>
              <a:cs typeface="+mn-ea"/>
            </a:endParaRPr>
          </a:p>
        </p:txBody>
      </p:sp>
      <p:pic>
        <p:nvPicPr>
          <p:cNvPr id="4" name="图片 3"/>
          <p:cNvPicPr>
            <a:picLocks noChangeAspect="1"/>
          </p:cNvPicPr>
          <p:nvPr/>
        </p:nvPicPr>
        <p:blipFill>
          <a:blip r:embed="rId4"/>
          <a:stretch>
            <a:fillRect/>
          </a:stretch>
        </p:blipFill>
        <p:spPr>
          <a:xfrm>
            <a:off x="1143000" y="3769995"/>
            <a:ext cx="3670300" cy="248729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9" name="右箭头 8"/>
          <p:cNvSpPr/>
          <p:nvPr/>
        </p:nvSpPr>
        <p:spPr>
          <a:xfrm>
            <a:off x="5163820" y="3481705"/>
            <a:ext cx="283210" cy="4584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lvl="0" algn="l">
              <a:lnSpc>
                <a:spcPct val="150000"/>
              </a:lnSpc>
            </a:pPr>
            <a:r>
              <a:rPr lang="zh-CN" altLang="en-US" sz="2000" b="1" dirty="0">
                <a:solidFill>
                  <a:srgbClr val="F64C31"/>
                </a:solidFill>
                <a:cs typeface="+mn-ea"/>
                <a:sym typeface="+mn-ea"/>
              </a:rPr>
              <a:t>二、精装启动</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2.2.4</a:t>
            </a:r>
            <a:r>
              <a:rPr lang="zh-CN" altLang="en-US" sz="1800" b="1" dirty="0" smtClean="0">
                <a:solidFill>
                  <a:srgbClr val="000000"/>
                </a:solidFill>
                <a:cs typeface="+mn-ea"/>
                <a:sym typeface="+mn-ea"/>
              </a:rPr>
              <a:t>、审核精装扩初图（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0" name="文本框 9"/>
          <p:cNvSpPr txBox="1"/>
          <p:nvPr/>
        </p:nvSpPr>
        <p:spPr>
          <a:xfrm>
            <a:off x="6127601" y="5022924"/>
            <a:ext cx="5357886" cy="1523494"/>
          </a:xfrm>
          <a:prstGeom prst="rect">
            <a:avLst/>
          </a:prstGeom>
          <a:noFill/>
        </p:spPr>
        <p:txBody>
          <a:bodyPr wrap="square" rtlCol="0">
            <a:spAutoFit/>
          </a:bodyPr>
          <a:lstStyle/>
          <a:p>
            <a:pPr algn="l">
              <a:lnSpc>
                <a:spcPct val="150000"/>
              </a:lnSpc>
            </a:pPr>
            <a:r>
              <a:rPr lang="zh-CN" altLang="en-US" sz="1600" b="1" dirty="0" smtClean="0">
                <a:solidFill>
                  <a:srgbClr val="000000"/>
                </a:solidFill>
                <a:cs typeface="+mn-ea"/>
              </a:rPr>
              <a:t>问题描述：</a:t>
            </a:r>
            <a:endParaRPr lang="en-US" altLang="zh-CN" sz="1600" b="1" dirty="0" smtClean="0">
              <a:solidFill>
                <a:srgbClr val="000000"/>
              </a:solidFill>
              <a:cs typeface="+mn-ea"/>
            </a:endParaRPr>
          </a:p>
          <a:p>
            <a:pPr>
              <a:lnSpc>
                <a:spcPct val="150000"/>
              </a:lnSpc>
            </a:pPr>
            <a:r>
              <a:rPr lang="zh-CN" altLang="en-US" sz="1400" dirty="0">
                <a:solidFill>
                  <a:srgbClr val="000000"/>
                </a:solidFill>
                <a:cs typeface="+mn-ea"/>
              </a:rPr>
              <a:t>透光玻璃预留位置，使整体美观性非</a:t>
            </a:r>
            <a:r>
              <a:rPr lang="zh-CN" altLang="en-US" sz="1400" dirty="0" smtClean="0">
                <a:solidFill>
                  <a:srgbClr val="000000"/>
                </a:solidFill>
                <a:cs typeface="+mn-ea"/>
              </a:rPr>
              <a:t>常差，功能缺陷。</a:t>
            </a:r>
            <a:endParaRPr lang="en-US" altLang="zh-CN" sz="1400" dirty="0" smtClean="0">
              <a:solidFill>
                <a:srgbClr val="000000"/>
              </a:solidFill>
              <a:cs typeface="+mn-ea"/>
            </a:endParaRPr>
          </a:p>
          <a:p>
            <a:pPr>
              <a:lnSpc>
                <a:spcPct val="150000"/>
              </a:lnSpc>
            </a:pPr>
            <a:r>
              <a:rPr lang="zh-CN" altLang="en-US" sz="1600" b="1" dirty="0">
                <a:solidFill>
                  <a:srgbClr val="000000"/>
                </a:solidFill>
                <a:cs typeface="+mn-ea"/>
              </a:rPr>
              <a:t>解决方案：</a:t>
            </a:r>
          </a:p>
          <a:p>
            <a:pPr>
              <a:lnSpc>
                <a:spcPct val="150000"/>
              </a:lnSpc>
            </a:pPr>
            <a:r>
              <a:rPr lang="zh-CN" altLang="en-US" sz="1400" dirty="0" smtClean="0">
                <a:solidFill>
                  <a:srgbClr val="000000"/>
                </a:solidFill>
                <a:cs typeface="+mn-ea"/>
              </a:rPr>
              <a:t>与门</a:t>
            </a:r>
            <a:r>
              <a:rPr lang="zh-CN" altLang="en-US" sz="1400" dirty="0">
                <a:solidFill>
                  <a:srgbClr val="000000"/>
                </a:solidFill>
                <a:cs typeface="+mn-ea"/>
              </a:rPr>
              <a:t>高度相同做落地玻璃</a:t>
            </a:r>
            <a:r>
              <a:rPr lang="zh-CN" altLang="en-US" sz="1400" dirty="0" smtClean="0">
                <a:solidFill>
                  <a:srgbClr val="000000"/>
                </a:solidFill>
                <a:cs typeface="+mn-ea"/>
              </a:rPr>
              <a:t>，调整</a:t>
            </a:r>
            <a:r>
              <a:rPr lang="zh-CN" altLang="en-US" sz="1400" dirty="0">
                <a:solidFill>
                  <a:srgbClr val="000000"/>
                </a:solidFill>
                <a:cs typeface="+mn-ea"/>
              </a:rPr>
              <a:t>后采光度会增加，提高美观度效果。</a:t>
            </a:r>
            <a:endParaRPr lang="zh-CN" sz="1400" dirty="0" smtClean="0">
              <a:solidFill>
                <a:srgbClr val="000000"/>
              </a:solidFill>
              <a:cs typeface="+mn-ea"/>
            </a:endParaRPr>
          </a:p>
        </p:txBody>
      </p:sp>
      <p:sp>
        <p:nvSpPr>
          <p:cNvPr id="13" name="下箭头 12"/>
          <p:cNvSpPr/>
          <p:nvPr/>
        </p:nvSpPr>
        <p:spPr>
          <a:xfrm rot="16200000">
            <a:off x="5063540" y="2517527"/>
            <a:ext cx="274826" cy="53638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6127601" y="1592812"/>
            <a:ext cx="4320479" cy="324036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5" name="图片 14"/>
          <p:cNvPicPr>
            <a:picLocks noChangeAspect="1"/>
          </p:cNvPicPr>
          <p:nvPr/>
        </p:nvPicPr>
        <p:blipFill>
          <a:blip r:embed="rId3"/>
          <a:stretch>
            <a:fillRect/>
          </a:stretch>
        </p:blipFill>
        <p:spPr>
          <a:xfrm>
            <a:off x="1188344" y="1592812"/>
            <a:ext cx="3130032" cy="1880637"/>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7" name="图片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8343" y="3763255"/>
            <a:ext cx="3130033" cy="2267781"/>
          </a:xfrm>
          <a:prstGeom prst="rect">
            <a:avLst/>
          </a:prstGeom>
          <a:ln w="88900" cap="sq" cmpd="thickThin">
            <a:solidFill>
              <a:srgbClr val="000000"/>
            </a:solidFill>
            <a:prstDash val="solid"/>
            <a:miter lim="800000"/>
            <a:headEnd/>
            <a:tailEnd/>
          </a:ln>
          <a:effectLst>
            <a:innerShdw blurRad="76200">
              <a:srgbClr val="000000"/>
            </a:innerShdw>
          </a:effectLst>
        </p:spPr>
      </p:pic>
    </p:spTree>
    <p:extLst>
      <p:ext uri="{BB962C8B-B14F-4D97-AF65-F5344CB8AC3E}">
        <p14:creationId xmlns:p14="http://schemas.microsoft.com/office/powerpoint/2010/main" val="1560855739"/>
      </p:ext>
    </p:extLst>
  </p:cSld>
  <p:clrMapOvr>
    <a:masterClrMapping/>
  </p:clrMapOvr>
  <p:transition>
    <p:zoom dir="in"/>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lvl="0" algn="l">
              <a:lnSpc>
                <a:spcPct val="150000"/>
              </a:lnSpc>
            </a:pPr>
            <a:r>
              <a:rPr lang="zh-CN" altLang="en-US" sz="2000" b="1" dirty="0">
                <a:solidFill>
                  <a:srgbClr val="F64C31"/>
                </a:solidFill>
                <a:cs typeface="+mn-ea"/>
                <a:sym typeface="+mn-ea"/>
              </a:rPr>
              <a:t>二、精装启动</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2.2.5</a:t>
            </a:r>
            <a:r>
              <a:rPr lang="zh-CN" altLang="en-US" sz="1800" b="1" dirty="0" smtClean="0">
                <a:solidFill>
                  <a:srgbClr val="000000"/>
                </a:solidFill>
                <a:cs typeface="+mn-ea"/>
                <a:sym typeface="+mn-ea"/>
              </a:rPr>
              <a:t>、审核精装扩初图（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22" name="图片 21"/>
          <p:cNvPicPr>
            <a:picLocks noChangeAspect="1"/>
          </p:cNvPicPr>
          <p:nvPr/>
        </p:nvPicPr>
        <p:blipFill>
          <a:blip r:embed="rId2"/>
          <a:stretch>
            <a:fillRect/>
          </a:stretch>
        </p:blipFill>
        <p:spPr>
          <a:xfrm rot="10800000">
            <a:off x="7309022" y="1494532"/>
            <a:ext cx="4320481" cy="3616589"/>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23" name="图片 22"/>
          <p:cNvPicPr>
            <a:picLocks noChangeAspect="1"/>
          </p:cNvPicPr>
          <p:nvPr/>
        </p:nvPicPr>
        <p:blipFill>
          <a:blip r:embed="rId3"/>
          <a:stretch>
            <a:fillRect/>
          </a:stretch>
        </p:blipFill>
        <p:spPr>
          <a:xfrm>
            <a:off x="756295" y="1496060"/>
            <a:ext cx="3960440" cy="3616588"/>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24" name="文本框 23"/>
          <p:cNvSpPr txBox="1"/>
          <p:nvPr/>
        </p:nvSpPr>
        <p:spPr>
          <a:xfrm>
            <a:off x="756295" y="5277376"/>
            <a:ext cx="3960440" cy="1154162"/>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前</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原设计卫生间洗手台位置，空间尺寸不足无法置放洗手盆</a:t>
            </a:r>
            <a:endParaRPr lang="en-US" altLang="zh-CN" sz="1400" dirty="0">
              <a:solidFill>
                <a:srgbClr val="000000"/>
              </a:solidFill>
              <a:cs typeface="+mn-ea"/>
            </a:endParaRPr>
          </a:p>
        </p:txBody>
      </p:sp>
      <p:sp>
        <p:nvSpPr>
          <p:cNvPr id="25" name="文本框 24"/>
          <p:cNvSpPr txBox="1"/>
          <p:nvPr/>
        </p:nvSpPr>
        <p:spPr>
          <a:xfrm>
            <a:off x="7489042" y="5277376"/>
            <a:ext cx="3960440" cy="830997"/>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a:t>
            </a:r>
            <a:r>
              <a:rPr lang="zh-CN" altLang="en-US" sz="1800" b="1" dirty="0">
                <a:solidFill>
                  <a:srgbClr val="000000"/>
                </a:solidFill>
                <a:cs typeface="+mn-ea"/>
              </a:rPr>
              <a:t>后</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调整洗手盆、卫生间门位置，保证使用功能</a:t>
            </a:r>
            <a:endParaRPr lang="en-US" altLang="zh-CN" sz="1400" dirty="0">
              <a:solidFill>
                <a:srgbClr val="000000"/>
              </a:solidFill>
              <a:cs typeface="+mn-ea"/>
            </a:endParaRPr>
          </a:p>
        </p:txBody>
      </p:sp>
      <p:sp>
        <p:nvSpPr>
          <p:cNvPr id="26" name="上箭头 25"/>
          <p:cNvSpPr/>
          <p:nvPr/>
        </p:nvSpPr>
        <p:spPr>
          <a:xfrm>
            <a:off x="9682089" y="2955925"/>
            <a:ext cx="215900" cy="431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右箭头 26"/>
          <p:cNvSpPr/>
          <p:nvPr/>
        </p:nvSpPr>
        <p:spPr>
          <a:xfrm>
            <a:off x="2988444" y="2719070"/>
            <a:ext cx="360045" cy="215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片 27"/>
          <p:cNvPicPr>
            <a:picLocks noChangeAspect="1"/>
          </p:cNvPicPr>
          <p:nvPr/>
        </p:nvPicPr>
        <p:blipFill rotWithShape="1">
          <a:blip r:embed="rId4" cstate="print">
            <a:extLst>
              <a:ext uri="{28A0092B-C50C-407E-A947-70E740481C1C}">
                <a14:useLocalDpi xmlns:a14="http://schemas.microsoft.com/office/drawing/2010/main" val="0"/>
              </a:ext>
            </a:extLst>
          </a:blip>
          <a:srcRect r="21103"/>
          <a:stretch/>
        </p:blipFill>
        <p:spPr>
          <a:xfrm>
            <a:off x="4932759" y="1494532"/>
            <a:ext cx="2100373" cy="3616589"/>
          </a:xfrm>
          <a:prstGeom prst="rect">
            <a:avLst/>
          </a:prstGeom>
          <a:ln w="88900" cap="sq" cmpd="thickThin">
            <a:solidFill>
              <a:srgbClr val="000000"/>
            </a:solidFill>
            <a:prstDash val="solid"/>
            <a:miter lim="800000"/>
            <a:headEnd/>
            <a:tailEnd/>
          </a:ln>
          <a:effectLst>
            <a:innerShdw blurRad="76200">
              <a:srgbClr val="000000"/>
            </a:innerShdw>
          </a:effectLst>
        </p:spPr>
      </p:pic>
    </p:spTree>
    <p:extLst>
      <p:ext uri="{BB962C8B-B14F-4D97-AF65-F5344CB8AC3E}">
        <p14:creationId xmlns:p14="http://schemas.microsoft.com/office/powerpoint/2010/main" val="2532050885"/>
      </p:ext>
    </p:extLst>
  </p:cSld>
  <p:clrMapOvr>
    <a:masterClrMapping/>
  </p:clrMapOvr>
  <p:transition>
    <p:zoom dir="in"/>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二</a:t>
            </a:r>
            <a:r>
              <a:rPr lang="zh-CN" altLang="en-US" sz="2000" b="1" dirty="0" smtClean="0">
                <a:solidFill>
                  <a:srgbClr val="F64C31"/>
                </a:solidFill>
                <a:cs typeface="+mn-ea"/>
              </a:rPr>
              <a:t>、精装启动</a:t>
            </a:r>
          </a:p>
        </p:txBody>
      </p:sp>
      <p:sp>
        <p:nvSpPr>
          <p:cNvPr id="2" name="文本框 1"/>
          <p:cNvSpPr txBox="1"/>
          <p:nvPr/>
        </p:nvSpPr>
        <p:spPr>
          <a:xfrm>
            <a:off x="585227" y="122276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3</a:t>
            </a:r>
            <a:r>
              <a:rPr lang="zh-CN" altLang="en-US" sz="1800" b="1" dirty="0" smtClean="0">
                <a:solidFill>
                  <a:srgbClr val="000000"/>
                </a:solidFill>
                <a:cs typeface="+mn-ea"/>
              </a:rPr>
              <a:t>、</a:t>
            </a:r>
            <a:r>
              <a:rPr lang="zh-CN" altLang="en-US" sz="1800" b="1" dirty="0" smtClean="0">
                <a:solidFill>
                  <a:srgbClr val="000000"/>
                </a:solidFill>
                <a:cs typeface="+mn-ea"/>
                <a:sym typeface="+mn-ea"/>
              </a:rPr>
              <a:t>审核</a:t>
            </a:r>
            <a:r>
              <a:rPr lang="zh-CN" altLang="en-US" sz="1800" b="1" dirty="0" smtClean="0">
                <a:solidFill>
                  <a:srgbClr val="000000"/>
                </a:solidFill>
                <a:cs typeface="+mn-ea"/>
              </a:rPr>
              <a:t>精装设计封样</a:t>
            </a:r>
            <a:endParaRPr lang="en-US" altLang="zh-CN" sz="1800" b="1" dirty="0">
              <a:solidFill>
                <a:srgbClr val="000000"/>
              </a:solidFill>
              <a:cs typeface="+mn-ea"/>
            </a:endParaRPr>
          </a:p>
        </p:txBody>
      </p:sp>
      <p:sp>
        <p:nvSpPr>
          <p:cNvPr id="6" name="文本框 5"/>
          <p:cNvSpPr txBox="1"/>
          <p:nvPr/>
        </p:nvSpPr>
        <p:spPr>
          <a:xfrm>
            <a:off x="6580505" y="1223010"/>
            <a:ext cx="5187315" cy="526224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en-US" altLang="zh-CN" sz="1400" dirty="0" smtClean="0">
                <a:solidFill>
                  <a:srgbClr val="000000"/>
                </a:solidFill>
                <a:latin typeface="+mn-ea"/>
                <a:cs typeface="+mn-ea"/>
              </a:rPr>
              <a:t>1</a:t>
            </a:r>
            <a:r>
              <a:rPr lang="zh-CN" altLang="en-US" sz="1400" dirty="0" smtClean="0">
                <a:solidFill>
                  <a:srgbClr val="000000"/>
                </a:solidFill>
                <a:latin typeface="+mn-ea"/>
                <a:cs typeface="+mn-ea"/>
              </a:rPr>
              <a:t>、审核设计单位提供的材料封样：</a:t>
            </a:r>
          </a:p>
          <a:p>
            <a:pPr>
              <a:lnSpc>
                <a:spcPct val="150000"/>
              </a:lnSpc>
            </a:pPr>
            <a:r>
              <a:rPr lang="zh-CN" sz="1400" dirty="0" smtClean="0">
                <a:solidFill>
                  <a:srgbClr val="000000"/>
                </a:solidFill>
                <a:latin typeface="+mn-ea"/>
                <a:cs typeface="+mn-ea"/>
                <a:sym typeface="+mn-ea"/>
              </a:rPr>
              <a:t>       由工程管理部精装组，</a:t>
            </a:r>
            <a:r>
              <a:rPr sz="1400" dirty="0" smtClean="0">
                <a:solidFill>
                  <a:srgbClr val="000000"/>
                </a:solidFill>
                <a:latin typeface="+mn-ea"/>
                <a:cs typeface="+mn-ea"/>
                <a:sym typeface="+mn-ea"/>
              </a:rPr>
              <a:t>组织</a:t>
            </a:r>
            <a:r>
              <a:rPr lang="zh-CN" sz="1400" dirty="0" smtClean="0">
                <a:solidFill>
                  <a:srgbClr val="000000"/>
                </a:solidFill>
                <a:latin typeface="+mn-ea"/>
                <a:cs typeface="+mn-ea"/>
                <a:sym typeface="+mn-ea"/>
              </a:rPr>
              <a:t>设计部、成本部进行精装设计材料封样审核，</a:t>
            </a:r>
            <a:r>
              <a:rPr lang="zh-CN" altLang="en-US" sz="1400" dirty="0" smtClean="0">
                <a:solidFill>
                  <a:srgbClr val="000000"/>
                </a:solidFill>
                <a:latin typeface="+mn-ea"/>
                <a:cs typeface="+mn-ea"/>
                <a:sym typeface="+mn-ea"/>
              </a:rPr>
              <a:t>调整设计公司所提供的设计封样与精装造价成本匹配差异，</a:t>
            </a:r>
            <a:r>
              <a:rPr lang="zh-CN" sz="1400" dirty="0" smtClean="0">
                <a:solidFill>
                  <a:srgbClr val="000000"/>
                </a:solidFill>
                <a:latin typeface="+mn-ea"/>
                <a:cs typeface="+mn-ea"/>
                <a:sym typeface="+mn-ea"/>
              </a:rPr>
              <a:t>并结合项目特点进行相应的材料使用优化，在保证精装品质的同时又能做到成本合理控制。</a:t>
            </a:r>
          </a:p>
          <a:p>
            <a:pPr>
              <a:lnSpc>
                <a:spcPct val="150000"/>
              </a:lnSpc>
            </a:pPr>
            <a:r>
              <a:rPr lang="en-US" altLang="zh-CN"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明确甲、乙供材材料表，保证精装工程材料无漏项。</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甲供材：梳理能够符合项目特性的战略合作商，结合以往项目的供应商履约评估进行优质合作商的筛选合作，保证项目正常推进以及精装品质需求。</a:t>
            </a:r>
          </a:p>
          <a:p>
            <a:pPr>
              <a:lnSpc>
                <a:spcPct val="150000"/>
              </a:lnSpc>
            </a:pPr>
            <a:r>
              <a:rPr lang="zh-CN" altLang="en-US" sz="1400" dirty="0" smtClean="0">
                <a:solidFill>
                  <a:srgbClr val="000000"/>
                </a:solidFill>
                <a:latin typeface="+mn-ea"/>
                <a:cs typeface="+mn-ea"/>
              </a:rPr>
              <a:t>       乙供材：明确乙供材的品牌、规格型号以及项目需求，保证乙供材料的质量。</a:t>
            </a:r>
          </a:p>
          <a:p>
            <a:pPr>
              <a:lnSpc>
                <a:spcPct val="150000"/>
              </a:lnSpc>
            </a:pPr>
            <a:r>
              <a:rPr lang="zh-CN" altLang="en-US" sz="1400" dirty="0" smtClean="0">
                <a:solidFill>
                  <a:srgbClr val="000000"/>
                </a:solidFill>
                <a:latin typeface="+mn-ea"/>
                <a:cs typeface="+mn-ea"/>
              </a:rPr>
              <a:t>       </a:t>
            </a:r>
            <a:r>
              <a:rPr lang="zh-CN" altLang="en-US" sz="1400" dirty="0" smtClean="0">
                <a:solidFill>
                  <a:srgbClr val="000000"/>
                </a:solidFill>
                <a:latin typeface="+mn-ea"/>
                <a:cs typeface="+mn-ea"/>
                <a:sym typeface="+mn-ea"/>
              </a:rPr>
              <a:t>梳理精装各部位材料不出现缺漏，</a:t>
            </a:r>
            <a:r>
              <a:rPr lang="zh-CN" altLang="en-US" sz="1400" dirty="0" smtClean="0">
                <a:solidFill>
                  <a:srgbClr val="000000"/>
                </a:solidFill>
                <a:latin typeface="+mn-ea"/>
                <a:cs typeface="+mn-ea"/>
              </a:rPr>
              <a:t>规避施工过程中发生甲供材料外的空白区，避免发生由精装单位供货而出现的成本比价或者再次招标而发生的工期延误问题。</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4" name="图片 3" descr="1417035921u7"/>
          <p:cNvPicPr>
            <a:picLocks noChangeAspect="1"/>
          </p:cNvPicPr>
          <p:nvPr/>
        </p:nvPicPr>
        <p:blipFill>
          <a:blip r:embed="rId2"/>
          <a:stretch>
            <a:fillRect/>
          </a:stretch>
        </p:blipFill>
        <p:spPr>
          <a:xfrm>
            <a:off x="585470" y="2863850"/>
            <a:ext cx="3130550" cy="327469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8" name="图片 7" descr="材料样板1"/>
          <p:cNvPicPr>
            <a:picLocks noChangeAspect="1"/>
          </p:cNvPicPr>
          <p:nvPr/>
        </p:nvPicPr>
        <p:blipFill>
          <a:blip r:embed="rId3"/>
          <a:stretch>
            <a:fillRect/>
          </a:stretch>
        </p:blipFill>
        <p:spPr>
          <a:xfrm rot="16200000">
            <a:off x="3564890" y="3295650"/>
            <a:ext cx="3282315" cy="2418715"/>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2" name="标题 1"/>
          <p:cNvSpPr txBox="1">
            <a:spLocks noGrp="1"/>
          </p:cNvSpPr>
          <p:nvPr>
            <p:ph type="title"/>
          </p:nvPr>
        </p:nvSpPr>
        <p:spPr>
          <a:xfrm>
            <a:off x="1021715" y="2540000"/>
            <a:ext cx="2571115" cy="646430"/>
          </a:xfrm>
          <a:solidFill>
            <a:srgbClr val="F64C31"/>
          </a:solidFill>
          <a:effectLst>
            <a:outerShdw blurRad="50800" dist="38100" dir="2700000" algn="tl" rotWithShape="0">
              <a:prstClr val="black">
                <a:alpha val="40000"/>
              </a:prstClr>
            </a:outerShdw>
          </a:effectLst>
        </p:spPr>
        <p:txBody>
          <a:bodyPr wrap="square" rtlCol="0">
            <a:spAutoFit/>
          </a:bodyPr>
          <a:lstStyle/>
          <a:p>
            <a:pPr lvl="0" algn="l" defTabSz="1180465" eaLnBrk="1" fontAlgn="auto" hangingPunct="1">
              <a:lnSpc>
                <a:spcPct val="150000"/>
              </a:lnSpc>
            </a:pPr>
            <a:r>
              <a:rPr lang="en-US" altLang="zh-CN" sz="2400" kern="1200" dirty="0">
                <a:solidFill>
                  <a:srgbClr val="000000"/>
                </a:solidFill>
                <a:latin typeface="+mn-ea"/>
                <a:ea typeface="+mn-ea"/>
                <a:cs typeface="+mn-ea"/>
                <a:sym typeface="+mn-ea"/>
              </a:rPr>
              <a:t>三、招标阶段</a:t>
            </a:r>
          </a:p>
        </p:txBody>
      </p:sp>
      <p:sp>
        <p:nvSpPr>
          <p:cNvPr id="4" name="内容占位符 3"/>
          <p:cNvSpPr txBox="1">
            <a:spLocks noGrp="1"/>
          </p:cNvSpPr>
          <p:nvPr>
            <p:ph type="body" sz="half" idx="2"/>
          </p:nvPr>
        </p:nvSpPr>
        <p:spPr>
          <a:xfrm>
            <a:off x="1021715" y="3186430"/>
            <a:ext cx="2503805" cy="1489075"/>
          </a:xfrm>
          <a:prstGeom prst="rect">
            <a:avLst/>
          </a:prstGeom>
          <a:noFill/>
          <a:extLst>
            <a:ext uri="{909E8E84-426E-40DD-AFC4-6F175D3DCCD1}">
              <a14:hiddenFill xmlns:a14="http://schemas.microsoft.com/office/drawing/2010/main">
                <a:solidFill>
                  <a:schemeClr val="bg1"/>
                </a:solidFill>
              </a14:hiddenFill>
            </a:ext>
          </a:extLst>
        </p:spPr>
        <p:txBody>
          <a:bodyPr wrap="square" rtlCol="0">
            <a:noAutofit/>
          </a:bodyPr>
          <a:lstStyle/>
          <a:p>
            <a:pPr>
              <a:lnSpc>
                <a:spcPct val="150000"/>
              </a:lnSpc>
            </a:pPr>
            <a:r>
              <a:rPr lang="en-US" altLang="zh-CN" b="1" dirty="0" smtClean="0">
                <a:latin typeface="+mn-ea"/>
                <a:ea typeface="+mn-ea"/>
                <a:cs typeface="+mn-ea"/>
              </a:rPr>
              <a:t>1</a:t>
            </a:r>
            <a:r>
              <a:rPr lang="zh-CN" altLang="en-US" b="1" dirty="0" smtClean="0">
                <a:latin typeface="+mn-ea"/>
                <a:ea typeface="+mn-ea"/>
                <a:cs typeface="+mn-ea"/>
              </a:rPr>
              <a:t>、</a:t>
            </a:r>
            <a:r>
              <a:rPr lang="en-US" altLang="zh-CN" b="1" smtClean="0">
                <a:latin typeface="+mn-ea"/>
                <a:ea typeface="+mn-ea"/>
                <a:cs typeface="+mn-ea"/>
                <a:sym typeface="+mn-ea"/>
              </a:rPr>
              <a:t>精装招标技术文件 </a:t>
            </a:r>
          </a:p>
          <a:p>
            <a:pPr>
              <a:lnSpc>
                <a:spcPct val="150000"/>
              </a:lnSpc>
            </a:pPr>
            <a:r>
              <a:rPr lang="en-US" altLang="zh-CN" b="1" smtClean="0">
                <a:latin typeface="+mn-ea"/>
                <a:ea typeface="+mn-ea"/>
                <a:cs typeface="+mn-ea"/>
                <a:sym typeface="+mn-ea"/>
              </a:rPr>
              <a:t>2、单位入围  </a:t>
            </a:r>
          </a:p>
          <a:p>
            <a:pPr>
              <a:lnSpc>
                <a:spcPct val="150000"/>
              </a:lnSpc>
            </a:pPr>
            <a:r>
              <a:rPr lang="en-US" altLang="zh-CN" b="1" smtClean="0">
                <a:latin typeface="+mn-ea"/>
                <a:ea typeface="+mn-ea"/>
                <a:cs typeface="+mn-ea"/>
                <a:sym typeface="+mn-ea"/>
              </a:rPr>
              <a:t>3、评标述标</a:t>
            </a:r>
            <a:endParaRPr b="1" dirty="0" smtClean="0">
              <a:solidFill>
                <a:srgbClr val="000000"/>
              </a:solidFill>
              <a:latin typeface="+mn-ea"/>
              <a:ea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三</a:t>
            </a:r>
            <a:r>
              <a:rPr lang="zh-CN" altLang="en-US" sz="2000" b="1" dirty="0" smtClean="0">
                <a:solidFill>
                  <a:srgbClr val="F64C31"/>
                </a:solidFill>
                <a:cs typeface="+mn-ea"/>
              </a:rPr>
              <a:t>、招标阶段</a:t>
            </a:r>
          </a:p>
        </p:txBody>
      </p:sp>
      <p:sp>
        <p:nvSpPr>
          <p:cNvPr id="2" name="文本框 1"/>
          <p:cNvSpPr txBox="1"/>
          <p:nvPr/>
        </p:nvSpPr>
        <p:spPr>
          <a:xfrm>
            <a:off x="684287" y="95669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1</a:t>
            </a:r>
            <a:r>
              <a:rPr lang="zh-CN" altLang="en-US" sz="1800" b="1" dirty="0" smtClean="0">
                <a:solidFill>
                  <a:srgbClr val="000000"/>
                </a:solidFill>
                <a:cs typeface="+mn-ea"/>
              </a:rPr>
              <a:t>、精装招标技术文件</a:t>
            </a:r>
            <a:endParaRPr lang="en-US" altLang="zh-CN" sz="1800" b="1" dirty="0">
              <a:solidFill>
                <a:srgbClr val="000000"/>
              </a:solidFill>
              <a:cs typeface="+mn-ea"/>
            </a:endParaRPr>
          </a:p>
        </p:txBody>
      </p:sp>
      <p:sp>
        <p:nvSpPr>
          <p:cNvPr id="6" name="文本框 5"/>
          <p:cNvSpPr txBox="1"/>
          <p:nvPr/>
        </p:nvSpPr>
        <p:spPr>
          <a:xfrm>
            <a:off x="684530" y="1838960"/>
            <a:ext cx="4208145" cy="429260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由工程管理部精装组审核项目公司编制的精装招标技术文件，结合精装设计要求明确精装施工技术重点、难点确保精装品质。</a:t>
            </a:r>
          </a:p>
          <a:p>
            <a:pPr>
              <a:lnSpc>
                <a:spcPct val="150000"/>
              </a:lnSpc>
            </a:pPr>
            <a:r>
              <a:rPr lang="zh-CN" sz="1400" dirty="0" smtClean="0">
                <a:solidFill>
                  <a:srgbClr val="000000"/>
                </a:solidFill>
                <a:latin typeface="+mn-ea"/>
                <a:cs typeface="+mn-ea"/>
                <a:sym typeface="+mn-ea"/>
              </a:rPr>
              <a:t>       组织项目公司明确精装总包管理职责及管理范围，明确甲指分包进场后所发生的精装总包履约职责以及各项相关费用（安全文明管控、垃圾清运、水电使用费用以及甲供材进场搬运等等）的收取规则。</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避免精装总包与甲指分包、甲供材单位的进场后所发生的一切与精装总包相互扯皮推诿的管理空白区，保证项目正常推进降低管控难度。</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pSp>
        <p:nvGrpSpPr>
          <p:cNvPr id="11" name="组合 10"/>
          <p:cNvGrpSpPr/>
          <p:nvPr/>
        </p:nvGrpSpPr>
        <p:grpSpPr>
          <a:xfrm>
            <a:off x="4964331" y="1653606"/>
            <a:ext cx="3409240" cy="4309748"/>
            <a:chOff x="3179847" y="1197818"/>
            <a:chExt cx="2556930" cy="3232311"/>
          </a:xfrm>
        </p:grpSpPr>
        <p:pic>
          <p:nvPicPr>
            <p:cNvPr id="92" name="图片 3"/>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3179847" y="1197818"/>
              <a:ext cx="2556930" cy="3232311"/>
            </a:xfrm>
            <a:prstGeom prst="rect">
              <a:avLst/>
            </a:prstGeom>
            <a:effectLst>
              <a:outerShdw blurRad="50800" dist="38100" dir="2700000" algn="tl" rotWithShape="0">
                <a:prstClr val="black">
                  <a:alpha val="40000"/>
                </a:prstClr>
              </a:outerShdw>
            </a:effectLst>
          </p:spPr>
        </p:pic>
        <p:sp>
          <p:nvSpPr>
            <p:cNvPr id="93" name="Rectangle 5"/>
            <p:cNvSpPr/>
            <p:nvPr/>
          </p:nvSpPr>
          <p:spPr>
            <a:xfrm>
              <a:off x="3539006" y="1570718"/>
              <a:ext cx="1868588" cy="2524313"/>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90">
                <a:solidFill>
                  <a:prstClr val="white"/>
                </a:solidFill>
                <a:cs typeface="+mn-ea"/>
                <a:sym typeface="+mn-lt"/>
              </a:endParaRPr>
            </a:p>
          </p:txBody>
        </p:sp>
      </p:grpSp>
      <p:sp>
        <p:nvSpPr>
          <p:cNvPr id="16" name="文本框 15"/>
          <p:cNvSpPr txBox="1"/>
          <p:nvPr/>
        </p:nvSpPr>
        <p:spPr>
          <a:xfrm>
            <a:off x="8558530" y="2485390"/>
            <a:ext cx="2790190" cy="364617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gn="l">
              <a:lnSpc>
                <a:spcPct val="150000"/>
              </a:lnSpc>
            </a:pPr>
            <a:r>
              <a:rPr lang="zh-CN" sz="1400" b="1" dirty="0" smtClean="0">
                <a:solidFill>
                  <a:srgbClr val="000000"/>
                </a:solidFill>
                <a:latin typeface="+mn-ea"/>
                <a:cs typeface="+mn-ea"/>
                <a:sym typeface="+mn-ea"/>
              </a:rPr>
              <a:t>万能的措施费</a:t>
            </a:r>
            <a:r>
              <a:rPr lang="zh-CN" altLang="en-US" sz="1400" b="1" dirty="0">
                <a:solidFill>
                  <a:srgbClr val="000000"/>
                </a:solidFill>
                <a:cs typeface="+mn-ea"/>
              </a:rPr>
              <a:t>实例</a:t>
            </a:r>
          </a:p>
          <a:p>
            <a:pPr algn="l">
              <a:lnSpc>
                <a:spcPct val="150000"/>
              </a:lnSpc>
            </a:pPr>
            <a:r>
              <a:rPr lang="zh-CN" altLang="en-US" sz="1400" dirty="0">
                <a:solidFill>
                  <a:srgbClr val="000000"/>
                </a:solidFill>
                <a:cs typeface="+mn-ea"/>
              </a:rPr>
              <a:t>       精装技术文件中过多会出现</a:t>
            </a:r>
            <a:r>
              <a:rPr lang="en-US" altLang="zh-CN" sz="1400" dirty="0">
                <a:solidFill>
                  <a:srgbClr val="000000"/>
                </a:solidFill>
                <a:cs typeface="+mn-ea"/>
              </a:rPr>
              <a:t>“</a:t>
            </a:r>
            <a:r>
              <a:rPr lang="zh-CN" altLang="en-US" sz="1400" dirty="0">
                <a:solidFill>
                  <a:srgbClr val="000000"/>
                </a:solidFill>
                <a:cs typeface="+mn-ea"/>
              </a:rPr>
              <a:t>包含</a:t>
            </a:r>
            <a:r>
              <a:rPr lang="en-US" altLang="zh-CN" sz="1400" dirty="0">
                <a:solidFill>
                  <a:srgbClr val="000000"/>
                </a:solidFill>
                <a:cs typeface="+mn-ea"/>
              </a:rPr>
              <a:t>……</a:t>
            </a:r>
            <a:r>
              <a:rPr lang="zh-CN" altLang="en-US" sz="1400" dirty="0">
                <a:solidFill>
                  <a:srgbClr val="000000"/>
                </a:solidFill>
                <a:cs typeface="+mn-ea"/>
              </a:rPr>
              <a:t>但不限于</a:t>
            </a:r>
            <a:r>
              <a:rPr lang="en-US" altLang="zh-CN" sz="1400" dirty="0">
                <a:solidFill>
                  <a:srgbClr val="000000"/>
                </a:solidFill>
                <a:cs typeface="+mn-ea"/>
              </a:rPr>
              <a:t>”</a:t>
            </a:r>
            <a:r>
              <a:rPr lang="zh-CN" altLang="en-US" sz="1400" dirty="0">
                <a:solidFill>
                  <a:srgbClr val="000000"/>
                </a:solidFill>
                <a:cs typeface="+mn-ea"/>
              </a:rPr>
              <a:t>等字样，以及万能的</a:t>
            </a:r>
            <a:r>
              <a:rPr lang="en-US" altLang="zh-CN" sz="1400" dirty="0">
                <a:solidFill>
                  <a:srgbClr val="000000"/>
                </a:solidFill>
                <a:cs typeface="+mn-ea"/>
              </a:rPr>
              <a:t>“</a:t>
            </a:r>
            <a:r>
              <a:rPr lang="zh-CN" altLang="en-US" sz="1400" dirty="0">
                <a:solidFill>
                  <a:srgbClr val="000000"/>
                </a:solidFill>
                <a:cs typeface="+mn-ea"/>
              </a:rPr>
              <a:t>措施费</a:t>
            </a:r>
            <a:r>
              <a:rPr lang="en-US" altLang="zh-CN" sz="1400" dirty="0">
                <a:solidFill>
                  <a:srgbClr val="000000"/>
                </a:solidFill>
                <a:cs typeface="+mn-ea"/>
              </a:rPr>
              <a:t>”</a:t>
            </a:r>
            <a:r>
              <a:rPr lang="zh-CN" altLang="en-US" sz="1400" dirty="0">
                <a:solidFill>
                  <a:srgbClr val="000000"/>
                </a:solidFill>
                <a:cs typeface="+mn-ea"/>
              </a:rPr>
              <a:t>字样，殊不知此处看似可以将精装单位的管理更全面的字眼，却是恰恰导致精装单位在精装工程管理过程中发生一定的利润损失问题，也就导致在项目推进过程中发生精装总包拖延或者不作为以及向项目公司提出额外的费用增加的一系列问题。</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三</a:t>
            </a:r>
            <a:r>
              <a:rPr lang="zh-CN" altLang="en-US" sz="2000" b="1" dirty="0" smtClean="0">
                <a:solidFill>
                  <a:srgbClr val="F64C31"/>
                </a:solidFill>
                <a:cs typeface="+mn-ea"/>
              </a:rPr>
              <a:t>、招标阶段</a:t>
            </a:r>
          </a:p>
        </p:txBody>
      </p:sp>
      <p:sp>
        <p:nvSpPr>
          <p:cNvPr id="2" name="文本框 1"/>
          <p:cNvSpPr txBox="1"/>
          <p:nvPr/>
        </p:nvSpPr>
        <p:spPr>
          <a:xfrm>
            <a:off x="684287" y="350114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2</a:t>
            </a:r>
            <a:r>
              <a:rPr lang="zh-CN" altLang="en-US" sz="1800" b="1" dirty="0" smtClean="0">
                <a:solidFill>
                  <a:srgbClr val="000000"/>
                </a:solidFill>
                <a:cs typeface="+mn-ea"/>
              </a:rPr>
              <a:t>、单位入围</a:t>
            </a:r>
            <a:endParaRPr lang="en-US" altLang="zh-CN" sz="1800" b="1" dirty="0">
              <a:solidFill>
                <a:srgbClr val="000000"/>
              </a:solidFill>
              <a:cs typeface="+mn-ea"/>
            </a:endParaRPr>
          </a:p>
        </p:txBody>
      </p:sp>
      <p:sp>
        <p:nvSpPr>
          <p:cNvPr id="6" name="文本框 5"/>
          <p:cNvSpPr txBox="1"/>
          <p:nvPr/>
        </p:nvSpPr>
        <p:spPr>
          <a:xfrm>
            <a:off x="684530" y="4080510"/>
            <a:ext cx="10765155" cy="203009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en-US" altLang="zh-CN" sz="1400" dirty="0" smtClean="0">
                <a:solidFill>
                  <a:srgbClr val="000000"/>
                </a:solidFill>
                <a:latin typeface="+mn-ea"/>
                <a:cs typeface="+mn-ea"/>
                <a:sym typeface="+mn-ea"/>
              </a:rPr>
              <a:t>1</a:t>
            </a:r>
            <a:r>
              <a:rPr lang="zh-CN" altLang="en-US" sz="1400" dirty="0" smtClean="0">
                <a:solidFill>
                  <a:srgbClr val="000000"/>
                </a:solidFill>
                <a:latin typeface="+mn-ea"/>
                <a:cs typeface="+mn-ea"/>
                <a:sym typeface="+mn-ea"/>
              </a:rPr>
              <a:t>、考察新入围单位的在施项目，评估其现场项目管理水平、施工能力以及质量管控情况。</a:t>
            </a:r>
          </a:p>
          <a:p>
            <a:pPr>
              <a:lnSpc>
                <a:spcPct val="150000"/>
              </a:lnSpc>
            </a:pPr>
            <a:r>
              <a:rPr lang="en-US" altLang="zh-CN"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梳理以往战略单位的履约评价，筛选合格战略单位入围新项目。</a:t>
            </a:r>
            <a:r>
              <a:rPr lang="zh-CN" sz="1400" dirty="0" smtClean="0">
                <a:solidFill>
                  <a:srgbClr val="000000"/>
                </a:solidFill>
                <a:latin typeface="+mn-ea"/>
                <a:cs typeface="+mn-ea"/>
                <a:sym typeface="+mn-ea"/>
              </a:rPr>
              <a:t>   </a:t>
            </a:r>
          </a:p>
          <a:p>
            <a:pPr>
              <a:lnSpc>
                <a:spcPct val="150000"/>
              </a:lnSpc>
            </a:pPr>
            <a:r>
              <a:rPr lang="en-US" altLang="zh-CN" sz="1400" dirty="0" smtClean="0">
                <a:solidFill>
                  <a:srgbClr val="000000"/>
                </a:solidFill>
                <a:latin typeface="+mn-ea"/>
                <a:cs typeface="+mn-ea"/>
                <a:sym typeface="+mn-ea"/>
              </a:rPr>
              <a:t>3</a:t>
            </a:r>
            <a:r>
              <a:rPr lang="zh-CN" altLang="en-US" sz="1400" dirty="0" smtClean="0">
                <a:solidFill>
                  <a:srgbClr val="000000"/>
                </a:solidFill>
                <a:latin typeface="+mn-ea"/>
                <a:cs typeface="+mn-ea"/>
                <a:sym typeface="+mn-ea"/>
              </a:rPr>
              <a:t>、审核乙供材料封样封样符合精装设计需求，确保投标单位的材料无质量差异。</a:t>
            </a:r>
            <a:r>
              <a:rPr lang="zh-CN" sz="1400" dirty="0" smtClean="0">
                <a:solidFill>
                  <a:srgbClr val="000000"/>
                </a:solidFill>
                <a:latin typeface="+mn-ea"/>
                <a:cs typeface="+mn-ea"/>
                <a:sym typeface="+mn-ea"/>
              </a:rPr>
              <a:t>    </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a:t>
            </a:r>
            <a:r>
              <a:rPr lang="zh-CN" altLang="en-US" sz="1400" dirty="0" smtClean="0">
                <a:solidFill>
                  <a:srgbClr val="000000"/>
                </a:solidFill>
                <a:latin typeface="+mn-ea"/>
                <a:cs typeface="+mn-ea"/>
                <a:sym typeface="+mn-ea"/>
              </a:rPr>
              <a:t>确保投标单位处于合理竞价范围，不会出现恶意中标后的精装质量无法保证情况发生。</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050" name="开会"/>
          <p:cNvSpPr/>
          <p:nvPr/>
        </p:nvSpPr>
        <p:spPr bwMode="auto">
          <a:xfrm>
            <a:off x="8313103" y="3921760"/>
            <a:ext cx="2188845" cy="2188845"/>
          </a:xfrm>
          <a:custGeom>
            <a:avLst/>
            <a:gdLst>
              <a:gd name="T0" fmla="*/ 1555232 w 2741613"/>
              <a:gd name="T1" fmla="*/ 1766302 h 2557463"/>
              <a:gd name="T2" fmla="*/ 1500877 w 2741613"/>
              <a:gd name="T3" fmla="*/ 1732308 h 2557463"/>
              <a:gd name="T4" fmla="*/ 410527 w 2741613"/>
              <a:gd name="T5" fmla="*/ 1777780 h 2557463"/>
              <a:gd name="T6" fmla="*/ 294306 w 2741613"/>
              <a:gd name="T7" fmla="*/ 1747980 h 2557463"/>
              <a:gd name="T8" fmla="*/ 1473436 w 2741613"/>
              <a:gd name="T9" fmla="*/ 1657260 h 2557463"/>
              <a:gd name="T10" fmla="*/ 1387009 w 2741613"/>
              <a:gd name="T11" fmla="*/ 1662603 h 2557463"/>
              <a:gd name="T12" fmla="*/ 511578 w 2741613"/>
              <a:gd name="T13" fmla="*/ 1682417 h 2557463"/>
              <a:gd name="T14" fmla="*/ 414761 w 2741613"/>
              <a:gd name="T15" fmla="*/ 1659264 h 2557463"/>
              <a:gd name="T16" fmla="*/ 1116006 w 2741613"/>
              <a:gd name="T17" fmla="*/ 1639146 h 2557463"/>
              <a:gd name="T18" fmla="*/ 1025639 w 2741613"/>
              <a:gd name="T19" fmla="*/ 1606463 h 2557463"/>
              <a:gd name="T20" fmla="*/ 902419 w 2741613"/>
              <a:gd name="T21" fmla="*/ 1619000 h 2557463"/>
              <a:gd name="T22" fmla="*/ 844427 w 2741613"/>
              <a:gd name="T23" fmla="*/ 1606240 h 2557463"/>
              <a:gd name="T24" fmla="*/ 445447 w 2741613"/>
              <a:gd name="T25" fmla="*/ 1163753 h 2557463"/>
              <a:gd name="T26" fmla="*/ 787487 w 2741613"/>
              <a:gd name="T27" fmla="*/ 791326 h 2557463"/>
              <a:gd name="T28" fmla="*/ 436007 w 2741613"/>
              <a:gd name="T29" fmla="*/ 849224 h 2557463"/>
              <a:gd name="T30" fmla="*/ 288609 w 2741613"/>
              <a:gd name="T31" fmla="*/ 1698536 h 2557463"/>
              <a:gd name="T32" fmla="*/ 48617 w 2741613"/>
              <a:gd name="T33" fmla="*/ 1149773 h 2557463"/>
              <a:gd name="T34" fmla="*/ 9281 w 2741613"/>
              <a:gd name="T35" fmla="*/ 859603 h 2557463"/>
              <a:gd name="T36" fmla="*/ 145851 w 2741613"/>
              <a:gd name="T37" fmla="*/ 699059 h 2557463"/>
              <a:gd name="T38" fmla="*/ 1592699 w 2741613"/>
              <a:gd name="T39" fmla="*/ 734392 h 2557463"/>
              <a:gd name="T40" fmla="*/ 1871083 w 2741613"/>
              <a:gd name="T41" fmla="*/ 787391 h 2557463"/>
              <a:gd name="T42" fmla="*/ 1890905 w 2741613"/>
              <a:gd name="T43" fmla="*/ 1065196 h 2557463"/>
              <a:gd name="T44" fmla="*/ 1812940 w 2741613"/>
              <a:gd name="T45" fmla="*/ 1357575 h 2557463"/>
              <a:gd name="T46" fmla="*/ 1457031 w 2741613"/>
              <a:gd name="T47" fmla="*/ 968693 h 2557463"/>
              <a:gd name="T48" fmla="*/ 1541163 w 2741613"/>
              <a:gd name="T49" fmla="*/ 700164 h 2557463"/>
              <a:gd name="T50" fmla="*/ 1241834 w 2741613"/>
              <a:gd name="T51" fmla="*/ 723340 h 2557463"/>
              <a:gd name="T52" fmla="*/ 1102527 w 2741613"/>
              <a:gd name="T53" fmla="*/ 893083 h 2557463"/>
              <a:gd name="T54" fmla="*/ 798746 w 2741613"/>
              <a:gd name="T55" fmla="*/ 901471 h 2557463"/>
              <a:gd name="T56" fmla="*/ 624337 w 2741613"/>
              <a:gd name="T57" fmla="*/ 850924 h 2557463"/>
              <a:gd name="T58" fmla="*/ 750839 w 2741613"/>
              <a:gd name="T59" fmla="*/ 677208 h 2557463"/>
              <a:gd name="T60" fmla="*/ 1062788 w 2741613"/>
              <a:gd name="T61" fmla="*/ 640566 h 2557463"/>
              <a:gd name="T62" fmla="*/ 137222 w 2741613"/>
              <a:gd name="T63" fmla="*/ 399417 h 2557463"/>
              <a:gd name="T64" fmla="*/ 292755 w 2741613"/>
              <a:gd name="T65" fmla="*/ 345682 h 2557463"/>
              <a:gd name="T66" fmla="*/ 334009 w 2741613"/>
              <a:gd name="T67" fmla="*/ 437452 h 2557463"/>
              <a:gd name="T68" fmla="*/ 372176 w 2741613"/>
              <a:gd name="T69" fmla="*/ 447403 h 2557463"/>
              <a:gd name="T70" fmla="*/ 362248 w 2741613"/>
              <a:gd name="T71" fmla="*/ 593130 h 2557463"/>
              <a:gd name="T72" fmla="*/ 240028 w 2741613"/>
              <a:gd name="T73" fmla="*/ 702591 h 2557463"/>
              <a:gd name="T74" fmla="*/ 122440 w 2741613"/>
              <a:gd name="T75" fmla="*/ 567478 h 2557463"/>
              <a:gd name="T76" fmla="*/ 107439 w 2741613"/>
              <a:gd name="T77" fmla="*/ 480131 h 2557463"/>
              <a:gd name="T78" fmla="*/ 170093 w 2741613"/>
              <a:gd name="T79" fmla="*/ 347893 h 2557463"/>
              <a:gd name="T80" fmla="*/ 1776846 w 2741613"/>
              <a:gd name="T81" fmla="*/ 366247 h 2557463"/>
              <a:gd name="T82" fmla="*/ 1798449 w 2741613"/>
              <a:gd name="T83" fmla="*/ 502465 h 2557463"/>
              <a:gd name="T84" fmla="*/ 1760093 w 2741613"/>
              <a:gd name="T85" fmla="*/ 621435 h 2557463"/>
              <a:gd name="T86" fmla="*/ 1630031 w 2741613"/>
              <a:gd name="T87" fmla="*/ 697505 h 2557463"/>
              <a:gd name="T88" fmla="*/ 1535902 w 2741613"/>
              <a:gd name="T89" fmla="*/ 561508 h 2557463"/>
              <a:gd name="T90" fmla="*/ 1552215 w 2741613"/>
              <a:gd name="T91" fmla="*/ 453594 h 2557463"/>
              <a:gd name="T92" fmla="*/ 1541854 w 2741613"/>
              <a:gd name="T93" fmla="*/ 422193 h 2557463"/>
              <a:gd name="T94" fmla="*/ 1010412 w 2741613"/>
              <a:gd name="T95" fmla="*/ 326683 h 2557463"/>
              <a:gd name="T96" fmla="*/ 1058285 w 2741613"/>
              <a:gd name="T97" fmla="*/ 408958 h 2557463"/>
              <a:gd name="T98" fmla="*/ 1092921 w 2741613"/>
              <a:gd name="T99" fmla="*/ 435649 h 2557463"/>
              <a:gd name="T100" fmla="*/ 1092260 w 2741613"/>
              <a:gd name="T101" fmla="*/ 528071 h 2557463"/>
              <a:gd name="T102" fmla="*/ 1006661 w 2741613"/>
              <a:gd name="T103" fmla="*/ 635492 h 2557463"/>
              <a:gd name="T104" fmla="*/ 893265 w 2741613"/>
              <a:gd name="T105" fmla="*/ 569098 h 2557463"/>
              <a:gd name="T106" fmla="*/ 861497 w 2741613"/>
              <a:gd name="T107" fmla="*/ 458589 h 2557463"/>
              <a:gd name="T108" fmla="*/ 868115 w 2741613"/>
              <a:gd name="T109" fmla="*/ 376093 h 2557463"/>
              <a:gd name="T110" fmla="*/ 514509 w 2741613"/>
              <a:gd name="T111" fmla="*/ 219583 h 2557463"/>
              <a:gd name="T112" fmla="*/ 515613 w 2741613"/>
              <a:gd name="T113" fmla="*/ 155869 h 2557463"/>
              <a:gd name="T114" fmla="*/ 520248 w 2741613"/>
              <a:gd name="T115" fmla="*/ 152562 h 2557463"/>
              <a:gd name="T116" fmla="*/ 791747 w 2741613"/>
              <a:gd name="T117" fmla="*/ 99650 h 2557463"/>
              <a:gd name="T118" fmla="*/ 848917 w 2741613"/>
              <a:gd name="T119" fmla="*/ 59085 h 2557463"/>
              <a:gd name="T120" fmla="*/ 813158 w 2741613"/>
              <a:gd name="T121" fmla="*/ 292558 h 2557463"/>
              <a:gd name="T122" fmla="*/ 481620 w 2741613"/>
              <a:gd name="T123" fmla="*/ 286605 h 2557463"/>
              <a:gd name="T124" fmla="*/ 458664 w 2741613"/>
              <a:gd name="T125" fmla="*/ 50267 h 25574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41613" h="2557463">
                <a:moveTo>
                  <a:pt x="2199444" y="2463800"/>
                </a:moveTo>
                <a:lnTo>
                  <a:pt x="2327275" y="2463800"/>
                </a:lnTo>
                <a:lnTo>
                  <a:pt x="2325367" y="2467928"/>
                </a:lnTo>
                <a:lnTo>
                  <a:pt x="2325685" y="2470150"/>
                </a:lnTo>
                <a:lnTo>
                  <a:pt x="2326003" y="2473325"/>
                </a:lnTo>
                <a:lnTo>
                  <a:pt x="2326321" y="2477770"/>
                </a:lnTo>
                <a:lnTo>
                  <a:pt x="2326321" y="2483803"/>
                </a:lnTo>
                <a:lnTo>
                  <a:pt x="2325685" y="2492058"/>
                </a:lnTo>
                <a:lnTo>
                  <a:pt x="2323777" y="2502218"/>
                </a:lnTo>
                <a:lnTo>
                  <a:pt x="2321233" y="2514283"/>
                </a:lnTo>
                <a:lnTo>
                  <a:pt x="2319326" y="2515235"/>
                </a:lnTo>
                <a:lnTo>
                  <a:pt x="2316464" y="2515870"/>
                </a:lnTo>
                <a:lnTo>
                  <a:pt x="2308514" y="2516505"/>
                </a:lnTo>
                <a:lnTo>
                  <a:pt x="2293568" y="2517140"/>
                </a:lnTo>
                <a:lnTo>
                  <a:pt x="2292614" y="2517140"/>
                </a:lnTo>
                <a:lnTo>
                  <a:pt x="2292296" y="2516823"/>
                </a:lnTo>
                <a:lnTo>
                  <a:pt x="2291024" y="2515235"/>
                </a:lnTo>
                <a:lnTo>
                  <a:pt x="2290388" y="2513965"/>
                </a:lnTo>
                <a:lnTo>
                  <a:pt x="2289435" y="2512060"/>
                </a:lnTo>
                <a:lnTo>
                  <a:pt x="2288799" y="2511425"/>
                </a:lnTo>
                <a:lnTo>
                  <a:pt x="2288163" y="2511108"/>
                </a:lnTo>
                <a:lnTo>
                  <a:pt x="2286891" y="2510790"/>
                </a:lnTo>
                <a:lnTo>
                  <a:pt x="2285937" y="2511108"/>
                </a:lnTo>
                <a:lnTo>
                  <a:pt x="2284029" y="2511425"/>
                </a:lnTo>
                <a:lnTo>
                  <a:pt x="2282121" y="2512695"/>
                </a:lnTo>
                <a:lnTo>
                  <a:pt x="2276397" y="2516188"/>
                </a:lnTo>
                <a:lnTo>
                  <a:pt x="2264313" y="2525078"/>
                </a:lnTo>
                <a:lnTo>
                  <a:pt x="2251594" y="2533333"/>
                </a:lnTo>
                <a:lnTo>
                  <a:pt x="2245234" y="2537143"/>
                </a:lnTo>
                <a:lnTo>
                  <a:pt x="2238238" y="2540636"/>
                </a:lnTo>
                <a:lnTo>
                  <a:pt x="2231243" y="2543811"/>
                </a:lnTo>
                <a:lnTo>
                  <a:pt x="2223929" y="2547303"/>
                </a:lnTo>
                <a:lnTo>
                  <a:pt x="2216615" y="2549843"/>
                </a:lnTo>
                <a:lnTo>
                  <a:pt x="2208665" y="2552066"/>
                </a:lnTo>
                <a:lnTo>
                  <a:pt x="2200716" y="2554606"/>
                </a:lnTo>
                <a:lnTo>
                  <a:pt x="2192130" y="2555876"/>
                </a:lnTo>
                <a:lnTo>
                  <a:pt x="2183226" y="2557146"/>
                </a:lnTo>
                <a:lnTo>
                  <a:pt x="2174004" y="2557463"/>
                </a:lnTo>
                <a:lnTo>
                  <a:pt x="2164147" y="2557463"/>
                </a:lnTo>
                <a:lnTo>
                  <a:pt x="2153971" y="2557146"/>
                </a:lnTo>
                <a:lnTo>
                  <a:pt x="2145703" y="2556193"/>
                </a:lnTo>
                <a:lnTo>
                  <a:pt x="2139026" y="2554923"/>
                </a:lnTo>
                <a:lnTo>
                  <a:pt x="2133302" y="2553336"/>
                </a:lnTo>
                <a:lnTo>
                  <a:pt x="2128850" y="2551113"/>
                </a:lnTo>
                <a:lnTo>
                  <a:pt x="2125352" y="2548891"/>
                </a:lnTo>
                <a:lnTo>
                  <a:pt x="2123762" y="2547303"/>
                </a:lnTo>
                <a:lnTo>
                  <a:pt x="2122808" y="2545716"/>
                </a:lnTo>
                <a:lnTo>
                  <a:pt x="2121854" y="2544446"/>
                </a:lnTo>
                <a:lnTo>
                  <a:pt x="2121536" y="2542858"/>
                </a:lnTo>
                <a:lnTo>
                  <a:pt x="2120900" y="2539366"/>
                </a:lnTo>
                <a:lnTo>
                  <a:pt x="2121218" y="2535873"/>
                </a:lnTo>
                <a:lnTo>
                  <a:pt x="2122490" y="2532380"/>
                </a:lnTo>
                <a:lnTo>
                  <a:pt x="2124398" y="2528570"/>
                </a:lnTo>
                <a:lnTo>
                  <a:pt x="2126624" y="2524443"/>
                </a:lnTo>
                <a:lnTo>
                  <a:pt x="2129486" y="2520633"/>
                </a:lnTo>
                <a:lnTo>
                  <a:pt x="2132984" y="2516505"/>
                </a:lnTo>
                <a:lnTo>
                  <a:pt x="2137118" y="2512060"/>
                </a:lnTo>
                <a:lnTo>
                  <a:pt x="2141252" y="2507933"/>
                </a:lnTo>
                <a:lnTo>
                  <a:pt x="2150155" y="2499678"/>
                </a:lnTo>
                <a:lnTo>
                  <a:pt x="2160013" y="2491740"/>
                </a:lnTo>
                <a:lnTo>
                  <a:pt x="2169871" y="2484120"/>
                </a:lnTo>
                <a:lnTo>
                  <a:pt x="2178774" y="2477770"/>
                </a:lnTo>
                <a:lnTo>
                  <a:pt x="2193402" y="2467610"/>
                </a:lnTo>
                <a:lnTo>
                  <a:pt x="2199444" y="2463800"/>
                </a:lnTo>
                <a:close/>
                <a:moveTo>
                  <a:pt x="417513" y="2463800"/>
                </a:moveTo>
                <a:lnTo>
                  <a:pt x="545027" y="2463800"/>
                </a:lnTo>
                <a:lnTo>
                  <a:pt x="551069" y="2467610"/>
                </a:lnTo>
                <a:lnTo>
                  <a:pt x="565696" y="2477770"/>
                </a:lnTo>
                <a:lnTo>
                  <a:pt x="574918" y="2484120"/>
                </a:lnTo>
                <a:lnTo>
                  <a:pt x="584775" y="2491740"/>
                </a:lnTo>
                <a:lnTo>
                  <a:pt x="594315" y="2499678"/>
                </a:lnTo>
                <a:lnTo>
                  <a:pt x="603537" y="2507933"/>
                </a:lnTo>
                <a:lnTo>
                  <a:pt x="607671" y="2512060"/>
                </a:lnTo>
                <a:lnTo>
                  <a:pt x="611805" y="2516505"/>
                </a:lnTo>
                <a:lnTo>
                  <a:pt x="614984" y="2520633"/>
                </a:lnTo>
                <a:lnTo>
                  <a:pt x="618164" y="2524443"/>
                </a:lnTo>
                <a:lnTo>
                  <a:pt x="620390" y="2528570"/>
                </a:lnTo>
                <a:lnTo>
                  <a:pt x="622298" y="2532380"/>
                </a:lnTo>
                <a:lnTo>
                  <a:pt x="623570" y="2535873"/>
                </a:lnTo>
                <a:lnTo>
                  <a:pt x="623888" y="2539366"/>
                </a:lnTo>
                <a:lnTo>
                  <a:pt x="622934" y="2542858"/>
                </a:lnTo>
                <a:lnTo>
                  <a:pt x="622616" y="2544446"/>
                </a:lnTo>
                <a:lnTo>
                  <a:pt x="621980" y="2545716"/>
                </a:lnTo>
                <a:lnTo>
                  <a:pt x="620708" y="2547303"/>
                </a:lnTo>
                <a:lnTo>
                  <a:pt x="619436" y="2548891"/>
                </a:lnTo>
                <a:lnTo>
                  <a:pt x="615938" y="2551113"/>
                </a:lnTo>
                <a:lnTo>
                  <a:pt x="611487" y="2553336"/>
                </a:lnTo>
                <a:lnTo>
                  <a:pt x="605763" y="2554923"/>
                </a:lnTo>
                <a:lnTo>
                  <a:pt x="599085" y="2556193"/>
                </a:lnTo>
                <a:lnTo>
                  <a:pt x="590817" y="2557146"/>
                </a:lnTo>
                <a:lnTo>
                  <a:pt x="580642" y="2557463"/>
                </a:lnTo>
                <a:lnTo>
                  <a:pt x="570784" y="2557463"/>
                </a:lnTo>
                <a:lnTo>
                  <a:pt x="561244" y="2557146"/>
                </a:lnTo>
                <a:lnTo>
                  <a:pt x="552659" y="2555876"/>
                </a:lnTo>
                <a:lnTo>
                  <a:pt x="544073" y="2554606"/>
                </a:lnTo>
                <a:lnTo>
                  <a:pt x="536123" y="2552066"/>
                </a:lnTo>
                <a:lnTo>
                  <a:pt x="528173" y="2549843"/>
                </a:lnTo>
                <a:lnTo>
                  <a:pt x="520542" y="2547303"/>
                </a:lnTo>
                <a:lnTo>
                  <a:pt x="513546" y="2543811"/>
                </a:lnTo>
                <a:lnTo>
                  <a:pt x="506232" y="2540636"/>
                </a:lnTo>
                <a:lnTo>
                  <a:pt x="499554" y="2537143"/>
                </a:lnTo>
                <a:lnTo>
                  <a:pt x="493195" y="2533333"/>
                </a:lnTo>
                <a:lnTo>
                  <a:pt x="480475" y="2525078"/>
                </a:lnTo>
                <a:lnTo>
                  <a:pt x="468391" y="2516188"/>
                </a:lnTo>
                <a:lnTo>
                  <a:pt x="462668" y="2512695"/>
                </a:lnTo>
                <a:lnTo>
                  <a:pt x="460760" y="2511425"/>
                </a:lnTo>
                <a:lnTo>
                  <a:pt x="458852" y="2511108"/>
                </a:lnTo>
                <a:lnTo>
                  <a:pt x="457580" y="2510790"/>
                </a:lnTo>
                <a:lnTo>
                  <a:pt x="456626" y="2511108"/>
                </a:lnTo>
                <a:lnTo>
                  <a:pt x="455990" y="2511425"/>
                </a:lnTo>
                <a:lnTo>
                  <a:pt x="455036" y="2512060"/>
                </a:lnTo>
                <a:lnTo>
                  <a:pt x="454400" y="2513965"/>
                </a:lnTo>
                <a:lnTo>
                  <a:pt x="453446" y="2515235"/>
                </a:lnTo>
                <a:lnTo>
                  <a:pt x="452492" y="2516823"/>
                </a:lnTo>
                <a:lnTo>
                  <a:pt x="452174" y="2517140"/>
                </a:lnTo>
                <a:lnTo>
                  <a:pt x="450902" y="2517140"/>
                </a:lnTo>
                <a:lnTo>
                  <a:pt x="436274" y="2516505"/>
                </a:lnTo>
                <a:lnTo>
                  <a:pt x="428325" y="2515870"/>
                </a:lnTo>
                <a:lnTo>
                  <a:pt x="425463" y="2515235"/>
                </a:lnTo>
                <a:lnTo>
                  <a:pt x="423555" y="2514283"/>
                </a:lnTo>
                <a:lnTo>
                  <a:pt x="420693" y="2502218"/>
                </a:lnTo>
                <a:lnTo>
                  <a:pt x="419421" y="2492058"/>
                </a:lnTo>
                <a:lnTo>
                  <a:pt x="418149" y="2483803"/>
                </a:lnTo>
                <a:lnTo>
                  <a:pt x="418149" y="2477770"/>
                </a:lnTo>
                <a:lnTo>
                  <a:pt x="418467" y="2473325"/>
                </a:lnTo>
                <a:lnTo>
                  <a:pt x="418785" y="2470150"/>
                </a:lnTo>
                <a:lnTo>
                  <a:pt x="419421" y="2467928"/>
                </a:lnTo>
                <a:lnTo>
                  <a:pt x="417513" y="2463800"/>
                </a:lnTo>
                <a:close/>
                <a:moveTo>
                  <a:pt x="2051490" y="2346325"/>
                </a:moveTo>
                <a:lnTo>
                  <a:pt x="2152651" y="2346325"/>
                </a:lnTo>
                <a:lnTo>
                  <a:pt x="2151061" y="2349527"/>
                </a:lnTo>
                <a:lnTo>
                  <a:pt x="2151697" y="2351449"/>
                </a:lnTo>
                <a:lnTo>
                  <a:pt x="2152015" y="2353690"/>
                </a:lnTo>
                <a:lnTo>
                  <a:pt x="2152333" y="2357533"/>
                </a:lnTo>
                <a:lnTo>
                  <a:pt x="2152015" y="2362336"/>
                </a:lnTo>
                <a:lnTo>
                  <a:pt x="2151697" y="2368741"/>
                </a:lnTo>
                <a:lnTo>
                  <a:pt x="2150106" y="2376747"/>
                </a:lnTo>
                <a:lnTo>
                  <a:pt x="2148198" y="2386674"/>
                </a:lnTo>
                <a:lnTo>
                  <a:pt x="2146289" y="2387314"/>
                </a:lnTo>
                <a:lnTo>
                  <a:pt x="2144062" y="2387634"/>
                </a:lnTo>
                <a:lnTo>
                  <a:pt x="2137700" y="2388595"/>
                </a:lnTo>
                <a:lnTo>
                  <a:pt x="2125929" y="2388915"/>
                </a:lnTo>
                <a:lnTo>
                  <a:pt x="2125611" y="2388915"/>
                </a:lnTo>
                <a:lnTo>
                  <a:pt x="2124975" y="2388595"/>
                </a:lnTo>
                <a:lnTo>
                  <a:pt x="2124021" y="2387314"/>
                </a:lnTo>
                <a:lnTo>
                  <a:pt x="2123702" y="2386354"/>
                </a:lnTo>
                <a:lnTo>
                  <a:pt x="2123066" y="2384752"/>
                </a:lnTo>
                <a:lnTo>
                  <a:pt x="2122112" y="2384432"/>
                </a:lnTo>
                <a:lnTo>
                  <a:pt x="2121794" y="2383792"/>
                </a:lnTo>
                <a:lnTo>
                  <a:pt x="2120521" y="2383792"/>
                </a:lnTo>
                <a:lnTo>
                  <a:pt x="2119885" y="2383792"/>
                </a:lnTo>
                <a:lnTo>
                  <a:pt x="2117022" y="2385073"/>
                </a:lnTo>
                <a:lnTo>
                  <a:pt x="2112250" y="2387955"/>
                </a:lnTo>
                <a:lnTo>
                  <a:pt x="2103025" y="2395000"/>
                </a:lnTo>
                <a:lnTo>
                  <a:pt x="2092845" y="2401724"/>
                </a:lnTo>
                <a:lnTo>
                  <a:pt x="2087437" y="2404927"/>
                </a:lnTo>
                <a:lnTo>
                  <a:pt x="2082347" y="2407489"/>
                </a:lnTo>
                <a:lnTo>
                  <a:pt x="2076621" y="2410371"/>
                </a:lnTo>
                <a:lnTo>
                  <a:pt x="2070895" y="2412612"/>
                </a:lnTo>
                <a:lnTo>
                  <a:pt x="2064850" y="2415174"/>
                </a:lnTo>
                <a:lnTo>
                  <a:pt x="2058806" y="2416775"/>
                </a:lnTo>
                <a:lnTo>
                  <a:pt x="2052444" y="2418376"/>
                </a:lnTo>
                <a:lnTo>
                  <a:pt x="2045763" y="2419657"/>
                </a:lnTo>
                <a:lnTo>
                  <a:pt x="2038447" y="2420618"/>
                </a:lnTo>
                <a:lnTo>
                  <a:pt x="2031448" y="2420938"/>
                </a:lnTo>
                <a:lnTo>
                  <a:pt x="2023495" y="2420938"/>
                </a:lnTo>
                <a:lnTo>
                  <a:pt x="2015542" y="2420618"/>
                </a:lnTo>
                <a:lnTo>
                  <a:pt x="2008862" y="2419977"/>
                </a:lnTo>
                <a:lnTo>
                  <a:pt x="2003454" y="2418697"/>
                </a:lnTo>
                <a:lnTo>
                  <a:pt x="1999000" y="2417736"/>
                </a:lnTo>
                <a:lnTo>
                  <a:pt x="1995501" y="2415814"/>
                </a:lnTo>
                <a:lnTo>
                  <a:pt x="1992638" y="2413893"/>
                </a:lnTo>
                <a:lnTo>
                  <a:pt x="1990729" y="2411652"/>
                </a:lnTo>
                <a:lnTo>
                  <a:pt x="1989456" y="2409410"/>
                </a:lnTo>
                <a:lnTo>
                  <a:pt x="1989138" y="2406528"/>
                </a:lnTo>
                <a:lnTo>
                  <a:pt x="1989456" y="2403966"/>
                </a:lnTo>
                <a:lnTo>
                  <a:pt x="1990411" y="2401084"/>
                </a:lnTo>
                <a:lnTo>
                  <a:pt x="1991683" y="2397882"/>
                </a:lnTo>
                <a:lnTo>
                  <a:pt x="1993592" y="2394679"/>
                </a:lnTo>
                <a:lnTo>
                  <a:pt x="1996137" y="2391477"/>
                </a:lnTo>
                <a:lnTo>
                  <a:pt x="1999000" y="2387955"/>
                </a:lnTo>
                <a:lnTo>
                  <a:pt x="2005362" y="2381230"/>
                </a:lnTo>
                <a:lnTo>
                  <a:pt x="2012679" y="2374825"/>
                </a:lnTo>
                <a:lnTo>
                  <a:pt x="2019996" y="2368421"/>
                </a:lnTo>
                <a:lnTo>
                  <a:pt x="2027949" y="2362336"/>
                </a:lnTo>
                <a:lnTo>
                  <a:pt x="2035265" y="2356893"/>
                </a:lnTo>
                <a:lnTo>
                  <a:pt x="2046718" y="2349527"/>
                </a:lnTo>
                <a:lnTo>
                  <a:pt x="2051490" y="2346325"/>
                </a:lnTo>
                <a:close/>
                <a:moveTo>
                  <a:pt x="592138" y="2346325"/>
                </a:moveTo>
                <a:lnTo>
                  <a:pt x="693618" y="2346325"/>
                </a:lnTo>
                <a:lnTo>
                  <a:pt x="698072" y="2349527"/>
                </a:lnTo>
                <a:lnTo>
                  <a:pt x="709842" y="2356893"/>
                </a:lnTo>
                <a:lnTo>
                  <a:pt x="716841" y="2362336"/>
                </a:lnTo>
                <a:lnTo>
                  <a:pt x="724794" y="2368421"/>
                </a:lnTo>
                <a:lnTo>
                  <a:pt x="732428" y="2374825"/>
                </a:lnTo>
                <a:lnTo>
                  <a:pt x="739427" y="2381230"/>
                </a:lnTo>
                <a:lnTo>
                  <a:pt x="746108" y="2387955"/>
                </a:lnTo>
                <a:lnTo>
                  <a:pt x="748971" y="2391477"/>
                </a:lnTo>
                <a:lnTo>
                  <a:pt x="751197" y="2394679"/>
                </a:lnTo>
                <a:lnTo>
                  <a:pt x="753106" y="2397882"/>
                </a:lnTo>
                <a:lnTo>
                  <a:pt x="754697" y="2401084"/>
                </a:lnTo>
                <a:lnTo>
                  <a:pt x="755333" y="2403966"/>
                </a:lnTo>
                <a:lnTo>
                  <a:pt x="755651" y="2406528"/>
                </a:lnTo>
                <a:lnTo>
                  <a:pt x="755333" y="2409410"/>
                </a:lnTo>
                <a:lnTo>
                  <a:pt x="754379" y="2411652"/>
                </a:lnTo>
                <a:lnTo>
                  <a:pt x="752470" y="2413893"/>
                </a:lnTo>
                <a:lnTo>
                  <a:pt x="749607" y="2415814"/>
                </a:lnTo>
                <a:lnTo>
                  <a:pt x="746108" y="2417736"/>
                </a:lnTo>
                <a:lnTo>
                  <a:pt x="741336" y="2418697"/>
                </a:lnTo>
                <a:lnTo>
                  <a:pt x="736246" y="2419977"/>
                </a:lnTo>
                <a:lnTo>
                  <a:pt x="729565" y="2420618"/>
                </a:lnTo>
                <a:lnTo>
                  <a:pt x="721612" y="2420938"/>
                </a:lnTo>
                <a:lnTo>
                  <a:pt x="713659" y="2420938"/>
                </a:lnTo>
                <a:lnTo>
                  <a:pt x="706343" y="2420618"/>
                </a:lnTo>
                <a:lnTo>
                  <a:pt x="699344" y="2419657"/>
                </a:lnTo>
                <a:lnTo>
                  <a:pt x="692346" y="2418376"/>
                </a:lnTo>
                <a:lnTo>
                  <a:pt x="685983" y="2416775"/>
                </a:lnTo>
                <a:lnTo>
                  <a:pt x="679939" y="2415174"/>
                </a:lnTo>
                <a:lnTo>
                  <a:pt x="673895" y="2412612"/>
                </a:lnTo>
                <a:lnTo>
                  <a:pt x="668487" y="2410371"/>
                </a:lnTo>
                <a:lnTo>
                  <a:pt x="662760" y="2407489"/>
                </a:lnTo>
                <a:lnTo>
                  <a:pt x="657352" y="2404927"/>
                </a:lnTo>
                <a:lnTo>
                  <a:pt x="652263" y="2401724"/>
                </a:lnTo>
                <a:lnTo>
                  <a:pt x="642083" y="2395000"/>
                </a:lnTo>
                <a:lnTo>
                  <a:pt x="632539" y="2387955"/>
                </a:lnTo>
                <a:lnTo>
                  <a:pt x="628086" y="2385073"/>
                </a:lnTo>
                <a:lnTo>
                  <a:pt x="624904" y="2383792"/>
                </a:lnTo>
                <a:lnTo>
                  <a:pt x="624268" y="2383792"/>
                </a:lnTo>
                <a:lnTo>
                  <a:pt x="623314" y="2383792"/>
                </a:lnTo>
                <a:lnTo>
                  <a:pt x="622678" y="2384432"/>
                </a:lnTo>
                <a:lnTo>
                  <a:pt x="622041" y="2384752"/>
                </a:lnTo>
                <a:lnTo>
                  <a:pt x="621405" y="2386354"/>
                </a:lnTo>
                <a:lnTo>
                  <a:pt x="620769" y="2387314"/>
                </a:lnTo>
                <a:lnTo>
                  <a:pt x="620133" y="2388595"/>
                </a:lnTo>
                <a:lnTo>
                  <a:pt x="619496" y="2388915"/>
                </a:lnTo>
                <a:lnTo>
                  <a:pt x="619178" y="2388915"/>
                </a:lnTo>
                <a:lnTo>
                  <a:pt x="607408" y="2388595"/>
                </a:lnTo>
                <a:lnTo>
                  <a:pt x="601045" y="2387634"/>
                </a:lnTo>
                <a:lnTo>
                  <a:pt x="598819" y="2387314"/>
                </a:lnTo>
                <a:lnTo>
                  <a:pt x="596910" y="2386674"/>
                </a:lnTo>
                <a:lnTo>
                  <a:pt x="595001" y="2376747"/>
                </a:lnTo>
                <a:lnTo>
                  <a:pt x="593411" y="2368741"/>
                </a:lnTo>
                <a:lnTo>
                  <a:pt x="593092" y="2362336"/>
                </a:lnTo>
                <a:lnTo>
                  <a:pt x="592774" y="2357533"/>
                </a:lnTo>
                <a:lnTo>
                  <a:pt x="593092" y="2353690"/>
                </a:lnTo>
                <a:lnTo>
                  <a:pt x="593411" y="2351449"/>
                </a:lnTo>
                <a:lnTo>
                  <a:pt x="593729" y="2349527"/>
                </a:lnTo>
                <a:lnTo>
                  <a:pt x="592138" y="2346325"/>
                </a:lnTo>
                <a:close/>
                <a:moveTo>
                  <a:pt x="1474788" y="2290762"/>
                </a:moveTo>
                <a:lnTo>
                  <a:pt x="1567135" y="2290762"/>
                </a:lnTo>
                <a:lnTo>
                  <a:pt x="1571609" y="2293338"/>
                </a:lnTo>
                <a:lnTo>
                  <a:pt x="1582473" y="2300422"/>
                </a:lnTo>
                <a:lnTo>
                  <a:pt x="1588864" y="2305252"/>
                </a:lnTo>
                <a:lnTo>
                  <a:pt x="1595894" y="2310404"/>
                </a:lnTo>
                <a:lnTo>
                  <a:pt x="1602924" y="2316522"/>
                </a:lnTo>
                <a:lnTo>
                  <a:pt x="1609634" y="2322640"/>
                </a:lnTo>
                <a:lnTo>
                  <a:pt x="1615386" y="2328758"/>
                </a:lnTo>
                <a:lnTo>
                  <a:pt x="1617942" y="2331978"/>
                </a:lnTo>
                <a:lnTo>
                  <a:pt x="1620179" y="2334875"/>
                </a:lnTo>
                <a:lnTo>
                  <a:pt x="1621776" y="2337451"/>
                </a:lnTo>
                <a:lnTo>
                  <a:pt x="1623374" y="2340671"/>
                </a:lnTo>
                <a:lnTo>
                  <a:pt x="1624013" y="2343247"/>
                </a:lnTo>
                <a:lnTo>
                  <a:pt x="1624013" y="2345501"/>
                </a:lnTo>
                <a:lnTo>
                  <a:pt x="1623694" y="2348399"/>
                </a:lnTo>
                <a:lnTo>
                  <a:pt x="1622735" y="2350009"/>
                </a:lnTo>
                <a:lnTo>
                  <a:pt x="1620818" y="2352585"/>
                </a:lnTo>
                <a:lnTo>
                  <a:pt x="1618581" y="2353873"/>
                </a:lnTo>
                <a:lnTo>
                  <a:pt x="1615386" y="2355483"/>
                </a:lnTo>
                <a:lnTo>
                  <a:pt x="1611232" y="2357093"/>
                </a:lnTo>
                <a:lnTo>
                  <a:pt x="1606119" y="2357737"/>
                </a:lnTo>
                <a:lnTo>
                  <a:pt x="1600048" y="2358703"/>
                </a:lnTo>
                <a:lnTo>
                  <a:pt x="1593018" y="2359025"/>
                </a:lnTo>
                <a:lnTo>
                  <a:pt x="1585668" y="2359025"/>
                </a:lnTo>
                <a:lnTo>
                  <a:pt x="1578958" y="2358703"/>
                </a:lnTo>
                <a:lnTo>
                  <a:pt x="1572567" y="2357415"/>
                </a:lnTo>
                <a:lnTo>
                  <a:pt x="1566496" y="2356127"/>
                </a:lnTo>
                <a:lnTo>
                  <a:pt x="1560744" y="2355161"/>
                </a:lnTo>
                <a:lnTo>
                  <a:pt x="1554993" y="2353229"/>
                </a:lnTo>
                <a:lnTo>
                  <a:pt x="1549560" y="2351297"/>
                </a:lnTo>
                <a:lnTo>
                  <a:pt x="1544128" y="2349043"/>
                </a:lnTo>
                <a:lnTo>
                  <a:pt x="1539335" y="2346467"/>
                </a:lnTo>
                <a:lnTo>
                  <a:pt x="1529749" y="2340993"/>
                </a:lnTo>
                <a:lnTo>
                  <a:pt x="1520802" y="2334875"/>
                </a:lnTo>
                <a:lnTo>
                  <a:pt x="1511535" y="2328758"/>
                </a:lnTo>
                <a:lnTo>
                  <a:pt x="1507701" y="2326182"/>
                </a:lnTo>
                <a:lnTo>
                  <a:pt x="1505144" y="2324894"/>
                </a:lnTo>
                <a:lnTo>
                  <a:pt x="1503866" y="2324572"/>
                </a:lnTo>
                <a:lnTo>
                  <a:pt x="1503227" y="2324894"/>
                </a:lnTo>
                <a:lnTo>
                  <a:pt x="1502269" y="2325860"/>
                </a:lnTo>
                <a:lnTo>
                  <a:pt x="1501629" y="2326826"/>
                </a:lnTo>
                <a:lnTo>
                  <a:pt x="1500990" y="2328114"/>
                </a:lnTo>
                <a:lnTo>
                  <a:pt x="1500351" y="2329080"/>
                </a:lnTo>
                <a:lnTo>
                  <a:pt x="1499712" y="2329080"/>
                </a:lnTo>
                <a:lnTo>
                  <a:pt x="1499073" y="2329080"/>
                </a:lnTo>
                <a:lnTo>
                  <a:pt x="1488528" y="2328758"/>
                </a:lnTo>
                <a:lnTo>
                  <a:pt x="1482777" y="2328436"/>
                </a:lnTo>
                <a:lnTo>
                  <a:pt x="1480540" y="2328114"/>
                </a:lnTo>
                <a:lnTo>
                  <a:pt x="1478942" y="2327148"/>
                </a:lnTo>
                <a:lnTo>
                  <a:pt x="1477025" y="2318132"/>
                </a:lnTo>
                <a:lnTo>
                  <a:pt x="1476066" y="2310726"/>
                </a:lnTo>
                <a:lnTo>
                  <a:pt x="1475747" y="2305252"/>
                </a:lnTo>
                <a:lnTo>
                  <a:pt x="1475108" y="2300422"/>
                </a:lnTo>
                <a:lnTo>
                  <a:pt x="1475747" y="2297202"/>
                </a:lnTo>
                <a:lnTo>
                  <a:pt x="1476066" y="2294948"/>
                </a:lnTo>
                <a:lnTo>
                  <a:pt x="1476386" y="2293338"/>
                </a:lnTo>
                <a:lnTo>
                  <a:pt x="1474788" y="2290762"/>
                </a:lnTo>
                <a:close/>
                <a:moveTo>
                  <a:pt x="1243723" y="2290762"/>
                </a:moveTo>
                <a:lnTo>
                  <a:pt x="1335088" y="2290762"/>
                </a:lnTo>
                <a:lnTo>
                  <a:pt x="1333507" y="2293338"/>
                </a:lnTo>
                <a:lnTo>
                  <a:pt x="1334140" y="2294948"/>
                </a:lnTo>
                <a:lnTo>
                  <a:pt x="1334140" y="2297202"/>
                </a:lnTo>
                <a:lnTo>
                  <a:pt x="1334456" y="2300422"/>
                </a:lnTo>
                <a:lnTo>
                  <a:pt x="1334456" y="2305252"/>
                </a:lnTo>
                <a:lnTo>
                  <a:pt x="1333824" y="2310726"/>
                </a:lnTo>
                <a:lnTo>
                  <a:pt x="1332559" y="2318132"/>
                </a:lnTo>
                <a:lnTo>
                  <a:pt x="1330978" y="2327148"/>
                </a:lnTo>
                <a:lnTo>
                  <a:pt x="1329398" y="2328114"/>
                </a:lnTo>
                <a:lnTo>
                  <a:pt x="1327185" y="2328436"/>
                </a:lnTo>
                <a:lnTo>
                  <a:pt x="1321494" y="2328758"/>
                </a:lnTo>
                <a:lnTo>
                  <a:pt x="1311061" y="2329080"/>
                </a:lnTo>
                <a:lnTo>
                  <a:pt x="1310113" y="2329080"/>
                </a:lnTo>
                <a:lnTo>
                  <a:pt x="1309797" y="2329080"/>
                </a:lnTo>
                <a:lnTo>
                  <a:pt x="1309165" y="2328114"/>
                </a:lnTo>
                <a:lnTo>
                  <a:pt x="1308848" y="2326826"/>
                </a:lnTo>
                <a:lnTo>
                  <a:pt x="1307900" y="2325860"/>
                </a:lnTo>
                <a:lnTo>
                  <a:pt x="1306952" y="2324894"/>
                </a:lnTo>
                <a:lnTo>
                  <a:pt x="1306003" y="2324572"/>
                </a:lnTo>
                <a:lnTo>
                  <a:pt x="1305371" y="2324894"/>
                </a:lnTo>
                <a:lnTo>
                  <a:pt x="1302842" y="2326182"/>
                </a:lnTo>
                <a:lnTo>
                  <a:pt x="1298732" y="2328758"/>
                </a:lnTo>
                <a:lnTo>
                  <a:pt x="1289880" y="2334875"/>
                </a:lnTo>
                <a:lnTo>
                  <a:pt x="1281028" y="2340993"/>
                </a:lnTo>
                <a:lnTo>
                  <a:pt x="1271228" y="2346467"/>
                </a:lnTo>
                <a:lnTo>
                  <a:pt x="1266485" y="2349043"/>
                </a:lnTo>
                <a:lnTo>
                  <a:pt x="1261111" y="2351297"/>
                </a:lnTo>
                <a:lnTo>
                  <a:pt x="1256053" y="2353229"/>
                </a:lnTo>
                <a:lnTo>
                  <a:pt x="1250362" y="2355161"/>
                </a:lnTo>
                <a:lnTo>
                  <a:pt x="1244356" y="2356127"/>
                </a:lnTo>
                <a:lnTo>
                  <a:pt x="1238349" y="2357415"/>
                </a:lnTo>
                <a:lnTo>
                  <a:pt x="1232026" y="2358703"/>
                </a:lnTo>
                <a:lnTo>
                  <a:pt x="1225387" y="2359025"/>
                </a:lnTo>
                <a:lnTo>
                  <a:pt x="1218116" y="2359025"/>
                </a:lnTo>
                <a:lnTo>
                  <a:pt x="1211161" y="2358703"/>
                </a:lnTo>
                <a:lnTo>
                  <a:pt x="1205154" y="2357737"/>
                </a:lnTo>
                <a:lnTo>
                  <a:pt x="1200096" y="2357093"/>
                </a:lnTo>
                <a:lnTo>
                  <a:pt x="1195986" y="2355483"/>
                </a:lnTo>
                <a:lnTo>
                  <a:pt x="1193141" y="2353873"/>
                </a:lnTo>
                <a:lnTo>
                  <a:pt x="1190295" y="2352585"/>
                </a:lnTo>
                <a:lnTo>
                  <a:pt x="1189031" y="2350009"/>
                </a:lnTo>
                <a:lnTo>
                  <a:pt x="1187766" y="2348399"/>
                </a:lnTo>
                <a:lnTo>
                  <a:pt x="1187450" y="2345501"/>
                </a:lnTo>
                <a:lnTo>
                  <a:pt x="1187766" y="2343247"/>
                </a:lnTo>
                <a:lnTo>
                  <a:pt x="1188715" y="2340671"/>
                </a:lnTo>
                <a:lnTo>
                  <a:pt x="1189663" y="2337451"/>
                </a:lnTo>
                <a:lnTo>
                  <a:pt x="1191560" y="2334875"/>
                </a:lnTo>
                <a:lnTo>
                  <a:pt x="1193457" y="2331978"/>
                </a:lnTo>
                <a:lnTo>
                  <a:pt x="1195986" y="2328758"/>
                </a:lnTo>
                <a:lnTo>
                  <a:pt x="1201676" y="2322640"/>
                </a:lnTo>
                <a:lnTo>
                  <a:pt x="1208315" y="2316522"/>
                </a:lnTo>
                <a:lnTo>
                  <a:pt x="1215271" y="2310404"/>
                </a:lnTo>
                <a:lnTo>
                  <a:pt x="1222226" y="2305252"/>
                </a:lnTo>
                <a:lnTo>
                  <a:pt x="1228865" y="2300422"/>
                </a:lnTo>
                <a:lnTo>
                  <a:pt x="1239613" y="2293338"/>
                </a:lnTo>
                <a:lnTo>
                  <a:pt x="1243723" y="2290762"/>
                </a:lnTo>
                <a:close/>
                <a:moveTo>
                  <a:pt x="1481543" y="1798637"/>
                </a:moveTo>
                <a:lnTo>
                  <a:pt x="1701801" y="1798637"/>
                </a:lnTo>
                <a:lnTo>
                  <a:pt x="1567093" y="2273300"/>
                </a:lnTo>
                <a:lnTo>
                  <a:pt x="1465263" y="2273300"/>
                </a:lnTo>
                <a:lnTo>
                  <a:pt x="1481543" y="1798637"/>
                </a:lnTo>
                <a:close/>
                <a:moveTo>
                  <a:pt x="1119188" y="1798637"/>
                </a:moveTo>
                <a:lnTo>
                  <a:pt x="1336331" y="1798637"/>
                </a:lnTo>
                <a:lnTo>
                  <a:pt x="1346201" y="2272028"/>
                </a:lnTo>
                <a:lnTo>
                  <a:pt x="1240177" y="2273300"/>
                </a:lnTo>
                <a:lnTo>
                  <a:pt x="1119188" y="1798637"/>
                </a:lnTo>
                <a:close/>
                <a:moveTo>
                  <a:pt x="2677270" y="1559805"/>
                </a:moveTo>
                <a:lnTo>
                  <a:pt x="2530833" y="1600780"/>
                </a:lnTo>
                <a:lnTo>
                  <a:pt x="2674417" y="1589663"/>
                </a:lnTo>
                <a:lnTo>
                  <a:pt x="2677270" y="1559805"/>
                </a:lnTo>
                <a:close/>
                <a:moveTo>
                  <a:pt x="64561" y="1559805"/>
                </a:moveTo>
                <a:lnTo>
                  <a:pt x="67742" y="1589663"/>
                </a:lnTo>
                <a:lnTo>
                  <a:pt x="211812" y="1600780"/>
                </a:lnTo>
                <a:lnTo>
                  <a:pt x="64561" y="1559805"/>
                </a:lnTo>
                <a:close/>
                <a:moveTo>
                  <a:pt x="1743293" y="1510232"/>
                </a:moveTo>
                <a:lnTo>
                  <a:pt x="1815377" y="1673934"/>
                </a:lnTo>
                <a:lnTo>
                  <a:pt x="2196121" y="1673934"/>
                </a:lnTo>
                <a:lnTo>
                  <a:pt x="2051635" y="1522922"/>
                </a:lnTo>
                <a:lnTo>
                  <a:pt x="1743293" y="1510232"/>
                </a:lnTo>
                <a:close/>
                <a:moveTo>
                  <a:pt x="1093583" y="1510232"/>
                </a:moveTo>
                <a:lnTo>
                  <a:pt x="785241" y="1522922"/>
                </a:lnTo>
                <a:lnTo>
                  <a:pt x="641072" y="1673934"/>
                </a:lnTo>
                <a:lnTo>
                  <a:pt x="1021499" y="1673934"/>
                </a:lnTo>
                <a:lnTo>
                  <a:pt x="1093583" y="1510232"/>
                </a:lnTo>
                <a:close/>
                <a:moveTo>
                  <a:pt x="840494" y="1363662"/>
                </a:moveTo>
                <a:lnTo>
                  <a:pt x="1955417" y="1363662"/>
                </a:lnTo>
                <a:lnTo>
                  <a:pt x="2368551" y="1768475"/>
                </a:lnTo>
                <a:lnTo>
                  <a:pt x="398463" y="1768475"/>
                </a:lnTo>
                <a:lnTo>
                  <a:pt x="840494" y="1363662"/>
                </a:lnTo>
                <a:close/>
                <a:moveTo>
                  <a:pt x="1125700" y="1131888"/>
                </a:moveTo>
                <a:lnTo>
                  <a:pt x="1123793" y="1132523"/>
                </a:lnTo>
                <a:lnTo>
                  <a:pt x="1121569" y="1134110"/>
                </a:lnTo>
                <a:lnTo>
                  <a:pt x="1118710" y="1136650"/>
                </a:lnTo>
                <a:lnTo>
                  <a:pt x="1111084" y="1144270"/>
                </a:lnTo>
                <a:lnTo>
                  <a:pt x="1101553" y="1155065"/>
                </a:lnTo>
                <a:lnTo>
                  <a:pt x="1077405" y="1184275"/>
                </a:lnTo>
                <a:lnTo>
                  <a:pt x="1046268" y="1220153"/>
                </a:lnTo>
                <a:lnTo>
                  <a:pt x="1059613" y="1236028"/>
                </a:lnTo>
                <a:lnTo>
                  <a:pt x="1064696" y="1242378"/>
                </a:lnTo>
                <a:lnTo>
                  <a:pt x="1070098" y="1248093"/>
                </a:lnTo>
                <a:lnTo>
                  <a:pt x="1074546" y="1252538"/>
                </a:lnTo>
                <a:lnTo>
                  <a:pt x="1078994" y="1256665"/>
                </a:lnTo>
                <a:lnTo>
                  <a:pt x="1083124" y="1260158"/>
                </a:lnTo>
                <a:lnTo>
                  <a:pt x="1087890" y="1263333"/>
                </a:lnTo>
                <a:lnTo>
                  <a:pt x="1092656" y="1266508"/>
                </a:lnTo>
                <a:lnTo>
                  <a:pt x="1098375" y="1269365"/>
                </a:lnTo>
                <a:lnTo>
                  <a:pt x="1111084" y="1276350"/>
                </a:lnTo>
                <a:lnTo>
                  <a:pt x="1127606" y="1284605"/>
                </a:lnTo>
                <a:lnTo>
                  <a:pt x="1149529" y="1295400"/>
                </a:lnTo>
                <a:lnTo>
                  <a:pt x="1139362" y="1143953"/>
                </a:lnTo>
                <a:lnTo>
                  <a:pt x="1136185" y="1141413"/>
                </a:lnTo>
                <a:lnTo>
                  <a:pt x="1133325" y="1138238"/>
                </a:lnTo>
                <a:lnTo>
                  <a:pt x="1126971" y="1132205"/>
                </a:lnTo>
                <a:lnTo>
                  <a:pt x="1126017" y="1131888"/>
                </a:lnTo>
                <a:lnTo>
                  <a:pt x="1125700" y="1131888"/>
                </a:lnTo>
                <a:close/>
                <a:moveTo>
                  <a:pt x="505679" y="1004887"/>
                </a:moveTo>
                <a:lnTo>
                  <a:pt x="511721" y="1004887"/>
                </a:lnTo>
                <a:lnTo>
                  <a:pt x="517446" y="1005205"/>
                </a:lnTo>
                <a:lnTo>
                  <a:pt x="522535" y="1006158"/>
                </a:lnTo>
                <a:lnTo>
                  <a:pt x="528259" y="1007746"/>
                </a:lnTo>
                <a:lnTo>
                  <a:pt x="533348" y="1009969"/>
                </a:lnTo>
                <a:lnTo>
                  <a:pt x="538436" y="1012828"/>
                </a:lnTo>
                <a:lnTo>
                  <a:pt x="543207" y="1015687"/>
                </a:lnTo>
                <a:lnTo>
                  <a:pt x="548296" y="1019498"/>
                </a:lnTo>
                <a:lnTo>
                  <a:pt x="552748" y="1023310"/>
                </a:lnTo>
                <a:lnTo>
                  <a:pt x="557201" y="1028075"/>
                </a:lnTo>
                <a:lnTo>
                  <a:pt x="561335" y="1033157"/>
                </a:lnTo>
                <a:lnTo>
                  <a:pt x="566106" y="1038239"/>
                </a:lnTo>
                <a:lnTo>
                  <a:pt x="570240" y="1044274"/>
                </a:lnTo>
                <a:lnTo>
                  <a:pt x="573738" y="1050309"/>
                </a:lnTo>
                <a:lnTo>
                  <a:pt x="577555" y="1056980"/>
                </a:lnTo>
                <a:lnTo>
                  <a:pt x="581371" y="1063968"/>
                </a:lnTo>
                <a:lnTo>
                  <a:pt x="585188" y="1071274"/>
                </a:lnTo>
                <a:lnTo>
                  <a:pt x="588686" y="1078897"/>
                </a:lnTo>
                <a:lnTo>
                  <a:pt x="591867" y="1086838"/>
                </a:lnTo>
                <a:lnTo>
                  <a:pt x="598227" y="1103673"/>
                </a:lnTo>
                <a:lnTo>
                  <a:pt x="603952" y="1121461"/>
                </a:lnTo>
                <a:lnTo>
                  <a:pt x="609677" y="1140202"/>
                </a:lnTo>
                <a:lnTo>
                  <a:pt x="614447" y="1159260"/>
                </a:lnTo>
                <a:lnTo>
                  <a:pt x="619218" y="1179589"/>
                </a:lnTo>
                <a:lnTo>
                  <a:pt x="623670" y="1200553"/>
                </a:lnTo>
                <a:lnTo>
                  <a:pt x="627487" y="1221518"/>
                </a:lnTo>
                <a:lnTo>
                  <a:pt x="630667" y="1242799"/>
                </a:lnTo>
                <a:lnTo>
                  <a:pt x="634165" y="1264399"/>
                </a:lnTo>
                <a:lnTo>
                  <a:pt x="636710" y="1285681"/>
                </a:lnTo>
                <a:lnTo>
                  <a:pt x="639254" y="1306963"/>
                </a:lnTo>
                <a:lnTo>
                  <a:pt x="641798" y="1327927"/>
                </a:lnTo>
                <a:lnTo>
                  <a:pt x="643389" y="1348574"/>
                </a:lnTo>
                <a:lnTo>
                  <a:pt x="644979" y="1368903"/>
                </a:lnTo>
                <a:lnTo>
                  <a:pt x="647841" y="1407337"/>
                </a:lnTo>
                <a:lnTo>
                  <a:pt x="649431" y="1441960"/>
                </a:lnTo>
                <a:lnTo>
                  <a:pt x="650703" y="1471501"/>
                </a:lnTo>
                <a:lnTo>
                  <a:pt x="651021" y="1495641"/>
                </a:lnTo>
                <a:lnTo>
                  <a:pt x="645933" y="1500088"/>
                </a:lnTo>
                <a:lnTo>
                  <a:pt x="640526" y="1461971"/>
                </a:lnTo>
                <a:lnTo>
                  <a:pt x="635120" y="1423219"/>
                </a:lnTo>
                <a:lnTo>
                  <a:pt x="629713" y="1515335"/>
                </a:lnTo>
                <a:lnTo>
                  <a:pt x="623988" y="1520417"/>
                </a:lnTo>
                <a:lnTo>
                  <a:pt x="225488" y="1414008"/>
                </a:lnTo>
                <a:lnTo>
                  <a:pt x="154884" y="1399079"/>
                </a:lnTo>
                <a:lnTo>
                  <a:pt x="603316" y="1539476"/>
                </a:lnTo>
                <a:lnTo>
                  <a:pt x="319945" y="1798670"/>
                </a:lnTo>
                <a:lnTo>
                  <a:pt x="585824" y="1798670"/>
                </a:lnTo>
                <a:lnTo>
                  <a:pt x="752475" y="1798670"/>
                </a:lnTo>
                <a:lnTo>
                  <a:pt x="687596" y="2326906"/>
                </a:lnTo>
                <a:lnTo>
                  <a:pt x="595365" y="2326906"/>
                </a:lnTo>
                <a:lnTo>
                  <a:pt x="586778" y="1847904"/>
                </a:lnTo>
                <a:lnTo>
                  <a:pt x="581371" y="1857433"/>
                </a:lnTo>
                <a:lnTo>
                  <a:pt x="578509" y="1862516"/>
                </a:lnTo>
                <a:lnTo>
                  <a:pt x="575329" y="1866963"/>
                </a:lnTo>
                <a:lnTo>
                  <a:pt x="531758" y="2443162"/>
                </a:lnTo>
                <a:lnTo>
                  <a:pt x="415356" y="2443162"/>
                </a:lnTo>
                <a:lnTo>
                  <a:pt x="356837" y="1985125"/>
                </a:lnTo>
                <a:lnTo>
                  <a:pt x="349840" y="1985760"/>
                </a:lnTo>
                <a:lnTo>
                  <a:pt x="346024" y="1986078"/>
                </a:lnTo>
                <a:lnTo>
                  <a:pt x="342207" y="1986078"/>
                </a:lnTo>
                <a:lnTo>
                  <a:pt x="337437" y="1985760"/>
                </a:lnTo>
                <a:lnTo>
                  <a:pt x="332348" y="1985443"/>
                </a:lnTo>
                <a:lnTo>
                  <a:pt x="145661" y="1959078"/>
                </a:lnTo>
                <a:lnTo>
                  <a:pt x="141208" y="1957490"/>
                </a:lnTo>
                <a:lnTo>
                  <a:pt x="137074" y="1955267"/>
                </a:lnTo>
                <a:lnTo>
                  <a:pt x="133257" y="1952726"/>
                </a:lnTo>
                <a:lnTo>
                  <a:pt x="129441" y="1949867"/>
                </a:lnTo>
                <a:lnTo>
                  <a:pt x="125624" y="1946055"/>
                </a:lnTo>
                <a:lnTo>
                  <a:pt x="122126" y="1941926"/>
                </a:lnTo>
                <a:lnTo>
                  <a:pt x="119264" y="1937479"/>
                </a:lnTo>
                <a:lnTo>
                  <a:pt x="116401" y="1932397"/>
                </a:lnTo>
                <a:lnTo>
                  <a:pt x="113539" y="1927632"/>
                </a:lnTo>
                <a:lnTo>
                  <a:pt x="110995" y="1921914"/>
                </a:lnTo>
                <a:lnTo>
                  <a:pt x="108768" y="1916197"/>
                </a:lnTo>
                <a:lnTo>
                  <a:pt x="106542" y="1910162"/>
                </a:lnTo>
                <a:lnTo>
                  <a:pt x="102408" y="1897774"/>
                </a:lnTo>
                <a:lnTo>
                  <a:pt x="98909" y="1885068"/>
                </a:lnTo>
                <a:lnTo>
                  <a:pt x="96365" y="1872363"/>
                </a:lnTo>
                <a:lnTo>
                  <a:pt x="93503" y="1859339"/>
                </a:lnTo>
                <a:lnTo>
                  <a:pt x="90004" y="1836152"/>
                </a:lnTo>
                <a:lnTo>
                  <a:pt x="86824" y="1817728"/>
                </a:lnTo>
                <a:lnTo>
                  <a:pt x="85234" y="1811058"/>
                </a:lnTo>
                <a:lnTo>
                  <a:pt x="84280" y="1806293"/>
                </a:lnTo>
                <a:lnTo>
                  <a:pt x="83962" y="1800894"/>
                </a:lnTo>
                <a:lnTo>
                  <a:pt x="76965" y="1730695"/>
                </a:lnTo>
                <a:lnTo>
                  <a:pt x="69968" y="1653826"/>
                </a:lnTo>
                <a:lnTo>
                  <a:pt x="62017" y="1556628"/>
                </a:lnTo>
                <a:lnTo>
                  <a:pt x="52158" y="1552499"/>
                </a:lnTo>
                <a:lnTo>
                  <a:pt x="43571" y="1548687"/>
                </a:lnTo>
                <a:lnTo>
                  <a:pt x="35938" y="1545511"/>
                </a:lnTo>
                <a:lnTo>
                  <a:pt x="29895" y="1542017"/>
                </a:lnTo>
                <a:lnTo>
                  <a:pt x="25443" y="1538523"/>
                </a:lnTo>
                <a:lnTo>
                  <a:pt x="23535" y="1536617"/>
                </a:lnTo>
                <a:lnTo>
                  <a:pt x="21944" y="1535346"/>
                </a:lnTo>
                <a:lnTo>
                  <a:pt x="20990" y="1533758"/>
                </a:lnTo>
                <a:lnTo>
                  <a:pt x="20354" y="1532170"/>
                </a:lnTo>
                <a:lnTo>
                  <a:pt x="19718" y="1530582"/>
                </a:lnTo>
                <a:lnTo>
                  <a:pt x="20354" y="1529311"/>
                </a:lnTo>
                <a:lnTo>
                  <a:pt x="17492" y="1522641"/>
                </a:lnTo>
                <a:lnTo>
                  <a:pt x="15266" y="1515017"/>
                </a:lnTo>
                <a:lnTo>
                  <a:pt x="12721" y="1504853"/>
                </a:lnTo>
                <a:lnTo>
                  <a:pt x="10495" y="1493100"/>
                </a:lnTo>
                <a:lnTo>
                  <a:pt x="8269" y="1479759"/>
                </a:lnTo>
                <a:lnTo>
                  <a:pt x="6043" y="1465148"/>
                </a:lnTo>
                <a:lnTo>
                  <a:pt x="4134" y="1449583"/>
                </a:lnTo>
                <a:lnTo>
                  <a:pt x="2544" y="1432431"/>
                </a:lnTo>
                <a:lnTo>
                  <a:pt x="954" y="1414325"/>
                </a:lnTo>
                <a:lnTo>
                  <a:pt x="318" y="1395267"/>
                </a:lnTo>
                <a:lnTo>
                  <a:pt x="0" y="1375256"/>
                </a:lnTo>
                <a:lnTo>
                  <a:pt x="318" y="1354926"/>
                </a:lnTo>
                <a:lnTo>
                  <a:pt x="954" y="1333962"/>
                </a:lnTo>
                <a:lnTo>
                  <a:pt x="2544" y="1312363"/>
                </a:lnTo>
                <a:lnTo>
                  <a:pt x="4452" y="1290763"/>
                </a:lnTo>
                <a:lnTo>
                  <a:pt x="7315" y="1268846"/>
                </a:lnTo>
                <a:lnTo>
                  <a:pt x="11131" y="1246929"/>
                </a:lnTo>
                <a:lnTo>
                  <a:pt x="13357" y="1236447"/>
                </a:lnTo>
                <a:lnTo>
                  <a:pt x="15584" y="1225647"/>
                </a:lnTo>
                <a:lnTo>
                  <a:pt x="18446" y="1214847"/>
                </a:lnTo>
                <a:lnTo>
                  <a:pt x="21308" y="1204047"/>
                </a:lnTo>
                <a:lnTo>
                  <a:pt x="24489" y="1193248"/>
                </a:lnTo>
                <a:lnTo>
                  <a:pt x="27669" y="1183083"/>
                </a:lnTo>
                <a:lnTo>
                  <a:pt x="31486" y="1172601"/>
                </a:lnTo>
                <a:lnTo>
                  <a:pt x="35302" y="1162436"/>
                </a:lnTo>
                <a:lnTo>
                  <a:pt x="39436" y="1152272"/>
                </a:lnTo>
                <a:lnTo>
                  <a:pt x="43889" y="1142425"/>
                </a:lnTo>
                <a:lnTo>
                  <a:pt x="48978" y="1132578"/>
                </a:lnTo>
                <a:lnTo>
                  <a:pt x="54066" y="1123367"/>
                </a:lnTo>
                <a:lnTo>
                  <a:pt x="59473" y="1113838"/>
                </a:lnTo>
                <a:lnTo>
                  <a:pt x="64879" y="1104944"/>
                </a:lnTo>
                <a:lnTo>
                  <a:pt x="70922" y="1096050"/>
                </a:lnTo>
                <a:lnTo>
                  <a:pt x="77601" y="1087473"/>
                </a:lnTo>
                <a:lnTo>
                  <a:pt x="84280" y="1079215"/>
                </a:lnTo>
                <a:lnTo>
                  <a:pt x="91276" y="1071274"/>
                </a:lnTo>
                <a:lnTo>
                  <a:pt x="98591" y="1063968"/>
                </a:lnTo>
                <a:lnTo>
                  <a:pt x="106542" y="1056662"/>
                </a:lnTo>
                <a:lnTo>
                  <a:pt x="114811" y="1049674"/>
                </a:lnTo>
                <a:lnTo>
                  <a:pt x="123080" y="1043321"/>
                </a:lnTo>
                <a:lnTo>
                  <a:pt x="131985" y="1036651"/>
                </a:lnTo>
                <a:lnTo>
                  <a:pt x="141526" y="1031251"/>
                </a:lnTo>
                <a:lnTo>
                  <a:pt x="150749" y="1025851"/>
                </a:lnTo>
                <a:lnTo>
                  <a:pt x="160926" y="1021087"/>
                </a:lnTo>
                <a:lnTo>
                  <a:pt x="171740" y="1016322"/>
                </a:lnTo>
                <a:lnTo>
                  <a:pt x="182553" y="1012193"/>
                </a:lnTo>
                <a:lnTo>
                  <a:pt x="193684" y="1009016"/>
                </a:lnTo>
                <a:lnTo>
                  <a:pt x="205452" y="1005522"/>
                </a:lnTo>
                <a:lnTo>
                  <a:pt x="209904" y="1005522"/>
                </a:lnTo>
                <a:lnTo>
                  <a:pt x="218809" y="1005840"/>
                </a:lnTo>
                <a:lnTo>
                  <a:pt x="243298" y="1007428"/>
                </a:lnTo>
                <a:lnTo>
                  <a:pt x="280508" y="1009969"/>
                </a:lnTo>
                <a:lnTo>
                  <a:pt x="409313" y="1420361"/>
                </a:lnTo>
                <a:lnTo>
                  <a:pt x="397228" y="1297751"/>
                </a:lnTo>
                <a:lnTo>
                  <a:pt x="390867" y="1077309"/>
                </a:lnTo>
                <a:lnTo>
                  <a:pt x="382598" y="1056345"/>
                </a:lnTo>
                <a:lnTo>
                  <a:pt x="399136" y="1028392"/>
                </a:lnTo>
                <a:lnTo>
                  <a:pt x="436029" y="1028392"/>
                </a:lnTo>
                <a:lnTo>
                  <a:pt x="450976" y="1056345"/>
                </a:lnTo>
                <a:lnTo>
                  <a:pt x="443979" y="1081438"/>
                </a:lnTo>
                <a:lnTo>
                  <a:pt x="489141" y="1401937"/>
                </a:lnTo>
                <a:lnTo>
                  <a:pt x="481508" y="1015369"/>
                </a:lnTo>
                <a:lnTo>
                  <a:pt x="489459" y="1011875"/>
                </a:lnTo>
                <a:lnTo>
                  <a:pt x="495501" y="1009016"/>
                </a:lnTo>
                <a:lnTo>
                  <a:pt x="499000" y="1006793"/>
                </a:lnTo>
                <a:lnTo>
                  <a:pt x="499636" y="1005840"/>
                </a:lnTo>
                <a:lnTo>
                  <a:pt x="499954" y="1005522"/>
                </a:lnTo>
                <a:lnTo>
                  <a:pt x="505679" y="1004887"/>
                </a:lnTo>
                <a:close/>
                <a:moveTo>
                  <a:pt x="2233205" y="1004887"/>
                </a:moveTo>
                <a:lnTo>
                  <a:pt x="2238276" y="1005205"/>
                </a:lnTo>
                <a:lnTo>
                  <a:pt x="2243665" y="1005522"/>
                </a:lnTo>
                <a:lnTo>
                  <a:pt x="2243665" y="1005840"/>
                </a:lnTo>
                <a:lnTo>
                  <a:pt x="2244299" y="1006793"/>
                </a:lnTo>
                <a:lnTo>
                  <a:pt x="2248102" y="1009016"/>
                </a:lnTo>
                <a:lnTo>
                  <a:pt x="2253808" y="1011875"/>
                </a:lnTo>
                <a:lnTo>
                  <a:pt x="2261732" y="1015369"/>
                </a:lnTo>
                <a:lnTo>
                  <a:pt x="2254441" y="1401937"/>
                </a:lnTo>
                <a:lnTo>
                  <a:pt x="2299133" y="1081438"/>
                </a:lnTo>
                <a:lnTo>
                  <a:pt x="2292160" y="1056345"/>
                </a:lnTo>
                <a:lnTo>
                  <a:pt x="2307374" y="1028392"/>
                </a:lnTo>
                <a:lnTo>
                  <a:pt x="2344142" y="1028392"/>
                </a:lnTo>
                <a:lnTo>
                  <a:pt x="2360307" y="1056345"/>
                </a:lnTo>
                <a:lnTo>
                  <a:pt x="2352066" y="1077309"/>
                </a:lnTo>
                <a:lnTo>
                  <a:pt x="2346044" y="1297751"/>
                </a:lnTo>
                <a:lnTo>
                  <a:pt x="2333682" y="1420361"/>
                </a:lnTo>
                <a:lnTo>
                  <a:pt x="2462052" y="1009969"/>
                </a:lnTo>
                <a:lnTo>
                  <a:pt x="2499137" y="1007428"/>
                </a:lnTo>
                <a:lnTo>
                  <a:pt x="2523860" y="1005840"/>
                </a:lnTo>
                <a:lnTo>
                  <a:pt x="2532735" y="1005522"/>
                </a:lnTo>
                <a:lnTo>
                  <a:pt x="2536855" y="1005522"/>
                </a:lnTo>
                <a:lnTo>
                  <a:pt x="2548266" y="1009016"/>
                </a:lnTo>
                <a:lnTo>
                  <a:pt x="2559677" y="1012193"/>
                </a:lnTo>
                <a:lnTo>
                  <a:pt x="2570453" y="1016322"/>
                </a:lnTo>
                <a:lnTo>
                  <a:pt x="2580913" y="1021087"/>
                </a:lnTo>
                <a:lnTo>
                  <a:pt x="2591056" y="1025851"/>
                </a:lnTo>
                <a:lnTo>
                  <a:pt x="2600882" y="1031251"/>
                </a:lnTo>
                <a:lnTo>
                  <a:pt x="2610391" y="1036651"/>
                </a:lnTo>
                <a:lnTo>
                  <a:pt x="2618949" y="1043321"/>
                </a:lnTo>
                <a:lnTo>
                  <a:pt x="2627507" y="1049674"/>
                </a:lnTo>
                <a:lnTo>
                  <a:pt x="2635431" y="1056662"/>
                </a:lnTo>
                <a:lnTo>
                  <a:pt x="2643355" y="1063968"/>
                </a:lnTo>
                <a:lnTo>
                  <a:pt x="2650962" y="1071274"/>
                </a:lnTo>
                <a:lnTo>
                  <a:pt x="2657618" y="1079215"/>
                </a:lnTo>
                <a:lnTo>
                  <a:pt x="2664274" y="1087473"/>
                </a:lnTo>
                <a:lnTo>
                  <a:pt x="2670614" y="1096050"/>
                </a:lnTo>
                <a:lnTo>
                  <a:pt x="2676636" y="1104944"/>
                </a:lnTo>
                <a:lnTo>
                  <a:pt x="2682341" y="1113838"/>
                </a:lnTo>
                <a:lnTo>
                  <a:pt x="2688047" y="1123367"/>
                </a:lnTo>
                <a:lnTo>
                  <a:pt x="2692801" y="1132578"/>
                </a:lnTo>
                <a:lnTo>
                  <a:pt x="2697872" y="1142425"/>
                </a:lnTo>
                <a:lnTo>
                  <a:pt x="2702310" y="1152272"/>
                </a:lnTo>
                <a:lnTo>
                  <a:pt x="2706430" y="1162436"/>
                </a:lnTo>
                <a:lnTo>
                  <a:pt x="2710551" y="1172601"/>
                </a:lnTo>
                <a:lnTo>
                  <a:pt x="2714037" y="1183083"/>
                </a:lnTo>
                <a:lnTo>
                  <a:pt x="2717207" y="1193248"/>
                </a:lnTo>
                <a:lnTo>
                  <a:pt x="2720694" y="1204047"/>
                </a:lnTo>
                <a:lnTo>
                  <a:pt x="2723229" y="1214847"/>
                </a:lnTo>
                <a:lnTo>
                  <a:pt x="2726082" y="1225647"/>
                </a:lnTo>
                <a:lnTo>
                  <a:pt x="2728618" y="1236447"/>
                </a:lnTo>
                <a:lnTo>
                  <a:pt x="2730836" y="1246929"/>
                </a:lnTo>
                <a:lnTo>
                  <a:pt x="2734640" y="1268846"/>
                </a:lnTo>
                <a:lnTo>
                  <a:pt x="2737176" y="1290763"/>
                </a:lnTo>
                <a:lnTo>
                  <a:pt x="2739394" y="1312363"/>
                </a:lnTo>
                <a:lnTo>
                  <a:pt x="2740979" y="1333962"/>
                </a:lnTo>
                <a:lnTo>
                  <a:pt x="2741613" y="1354926"/>
                </a:lnTo>
                <a:lnTo>
                  <a:pt x="2741613" y="1375256"/>
                </a:lnTo>
                <a:lnTo>
                  <a:pt x="2741296" y="1395267"/>
                </a:lnTo>
                <a:lnTo>
                  <a:pt x="2740662" y="1414325"/>
                </a:lnTo>
                <a:lnTo>
                  <a:pt x="2739394" y="1432431"/>
                </a:lnTo>
                <a:lnTo>
                  <a:pt x="2737493" y="1449583"/>
                </a:lnTo>
                <a:lnTo>
                  <a:pt x="2735591" y="1465148"/>
                </a:lnTo>
                <a:lnTo>
                  <a:pt x="2733689" y="1479759"/>
                </a:lnTo>
                <a:lnTo>
                  <a:pt x="2731470" y="1493100"/>
                </a:lnTo>
                <a:lnTo>
                  <a:pt x="2728935" y="1504853"/>
                </a:lnTo>
                <a:lnTo>
                  <a:pt x="2726716" y="1515017"/>
                </a:lnTo>
                <a:lnTo>
                  <a:pt x="2724180" y="1522641"/>
                </a:lnTo>
                <a:lnTo>
                  <a:pt x="2721962" y="1529311"/>
                </a:lnTo>
                <a:lnTo>
                  <a:pt x="2721962" y="1530582"/>
                </a:lnTo>
                <a:lnTo>
                  <a:pt x="2721328" y="1532170"/>
                </a:lnTo>
                <a:lnTo>
                  <a:pt x="2720694" y="1533758"/>
                </a:lnTo>
                <a:lnTo>
                  <a:pt x="2719426" y="1535346"/>
                </a:lnTo>
                <a:lnTo>
                  <a:pt x="2718158" y="1536617"/>
                </a:lnTo>
                <a:lnTo>
                  <a:pt x="2716573" y="1538523"/>
                </a:lnTo>
                <a:lnTo>
                  <a:pt x="2711819" y="1542017"/>
                </a:lnTo>
                <a:lnTo>
                  <a:pt x="2705796" y="1545511"/>
                </a:lnTo>
                <a:lnTo>
                  <a:pt x="2698506" y="1548687"/>
                </a:lnTo>
                <a:lnTo>
                  <a:pt x="2689948" y="1552499"/>
                </a:lnTo>
                <a:lnTo>
                  <a:pt x="2680122" y="1556628"/>
                </a:lnTo>
                <a:lnTo>
                  <a:pt x="2671881" y="1653826"/>
                </a:lnTo>
                <a:lnTo>
                  <a:pt x="2664908" y="1730695"/>
                </a:lnTo>
                <a:lnTo>
                  <a:pt x="2657935" y="1800894"/>
                </a:lnTo>
                <a:lnTo>
                  <a:pt x="2657618" y="1806293"/>
                </a:lnTo>
                <a:lnTo>
                  <a:pt x="2656350" y="1811058"/>
                </a:lnTo>
                <a:lnTo>
                  <a:pt x="2655399" y="1817728"/>
                </a:lnTo>
                <a:lnTo>
                  <a:pt x="2652230" y="1836152"/>
                </a:lnTo>
                <a:lnTo>
                  <a:pt x="2648109" y="1859339"/>
                </a:lnTo>
                <a:lnTo>
                  <a:pt x="2645890" y="1872363"/>
                </a:lnTo>
                <a:lnTo>
                  <a:pt x="2643038" y="1885068"/>
                </a:lnTo>
                <a:lnTo>
                  <a:pt x="2639551" y="1897774"/>
                </a:lnTo>
                <a:lnTo>
                  <a:pt x="2635431" y="1910162"/>
                </a:lnTo>
                <a:lnTo>
                  <a:pt x="2633529" y="1916197"/>
                </a:lnTo>
                <a:lnTo>
                  <a:pt x="2630993" y="1921914"/>
                </a:lnTo>
                <a:lnTo>
                  <a:pt x="2628458" y="1927632"/>
                </a:lnTo>
                <a:lnTo>
                  <a:pt x="2625605" y="1932397"/>
                </a:lnTo>
                <a:lnTo>
                  <a:pt x="2622752" y="1937479"/>
                </a:lnTo>
                <a:lnTo>
                  <a:pt x="2619583" y="1941926"/>
                </a:lnTo>
                <a:lnTo>
                  <a:pt x="2616413" y="1946055"/>
                </a:lnTo>
                <a:lnTo>
                  <a:pt x="2612926" y="1949867"/>
                </a:lnTo>
                <a:lnTo>
                  <a:pt x="2609123" y="1952726"/>
                </a:lnTo>
                <a:lnTo>
                  <a:pt x="2605002" y="1955267"/>
                </a:lnTo>
                <a:lnTo>
                  <a:pt x="2600882" y="1957490"/>
                </a:lnTo>
                <a:lnTo>
                  <a:pt x="2596444" y="1959078"/>
                </a:lnTo>
                <a:lnTo>
                  <a:pt x="2410704" y="1985443"/>
                </a:lnTo>
                <a:lnTo>
                  <a:pt x="2405633" y="1985760"/>
                </a:lnTo>
                <a:lnTo>
                  <a:pt x="2400561" y="1986078"/>
                </a:lnTo>
                <a:lnTo>
                  <a:pt x="2397075" y="1986078"/>
                </a:lnTo>
                <a:lnTo>
                  <a:pt x="2393271" y="1985760"/>
                </a:lnTo>
                <a:lnTo>
                  <a:pt x="2385981" y="1985125"/>
                </a:lnTo>
                <a:lnTo>
                  <a:pt x="2327660" y="2443162"/>
                </a:lnTo>
                <a:lnTo>
                  <a:pt x="2211651" y="2443162"/>
                </a:lnTo>
                <a:lnTo>
                  <a:pt x="2168545" y="1866963"/>
                </a:lnTo>
                <a:lnTo>
                  <a:pt x="2165375" y="1862516"/>
                </a:lnTo>
                <a:lnTo>
                  <a:pt x="2162522" y="1857433"/>
                </a:lnTo>
                <a:lnTo>
                  <a:pt x="2156817" y="1847904"/>
                </a:lnTo>
                <a:lnTo>
                  <a:pt x="2148576" y="2326906"/>
                </a:lnTo>
                <a:lnTo>
                  <a:pt x="2063630" y="2320235"/>
                </a:lnTo>
                <a:lnTo>
                  <a:pt x="1992313" y="1798670"/>
                </a:lnTo>
                <a:lnTo>
                  <a:pt x="2157768" y="1798670"/>
                </a:lnTo>
                <a:lnTo>
                  <a:pt x="2443668" y="1798670"/>
                </a:lnTo>
                <a:lnTo>
                  <a:pt x="2170129" y="1529946"/>
                </a:lnTo>
                <a:lnTo>
                  <a:pt x="2587569" y="1399079"/>
                </a:lnTo>
                <a:lnTo>
                  <a:pt x="2517204" y="1414008"/>
                </a:lnTo>
                <a:lnTo>
                  <a:pt x="2151746" y="1511841"/>
                </a:lnTo>
                <a:lnTo>
                  <a:pt x="2111808" y="1472771"/>
                </a:lnTo>
                <a:lnTo>
                  <a:pt x="2108956" y="1423219"/>
                </a:lnTo>
                <a:lnTo>
                  <a:pt x="2103250" y="1464513"/>
                </a:lnTo>
                <a:lnTo>
                  <a:pt x="2093741" y="1455301"/>
                </a:lnTo>
                <a:lnTo>
                  <a:pt x="2095009" y="1426078"/>
                </a:lnTo>
                <a:lnTo>
                  <a:pt x="2096911" y="1393361"/>
                </a:lnTo>
                <a:lnTo>
                  <a:pt x="2099447" y="1358103"/>
                </a:lnTo>
                <a:lnTo>
                  <a:pt x="2103250" y="1320621"/>
                </a:lnTo>
                <a:lnTo>
                  <a:pt x="2105152" y="1301563"/>
                </a:lnTo>
                <a:lnTo>
                  <a:pt x="2107371" y="1282504"/>
                </a:lnTo>
                <a:lnTo>
                  <a:pt x="2109906" y="1262811"/>
                </a:lnTo>
                <a:lnTo>
                  <a:pt x="2113076" y="1243752"/>
                </a:lnTo>
                <a:lnTo>
                  <a:pt x="2115929" y="1224059"/>
                </a:lnTo>
                <a:lnTo>
                  <a:pt x="2119415" y="1205318"/>
                </a:lnTo>
                <a:lnTo>
                  <a:pt x="2123219" y="1186577"/>
                </a:lnTo>
                <a:lnTo>
                  <a:pt x="2127339" y="1168154"/>
                </a:lnTo>
                <a:lnTo>
                  <a:pt x="2131777" y="1150366"/>
                </a:lnTo>
                <a:lnTo>
                  <a:pt x="2136214" y="1133214"/>
                </a:lnTo>
                <a:lnTo>
                  <a:pt x="2140969" y="1116379"/>
                </a:lnTo>
                <a:lnTo>
                  <a:pt x="2146674" y="1100497"/>
                </a:lnTo>
                <a:lnTo>
                  <a:pt x="2152379" y="1085568"/>
                </a:lnTo>
                <a:lnTo>
                  <a:pt x="2158719" y="1071274"/>
                </a:lnTo>
                <a:lnTo>
                  <a:pt x="2165058" y="1058568"/>
                </a:lnTo>
                <a:lnTo>
                  <a:pt x="2168545" y="1052533"/>
                </a:lnTo>
                <a:lnTo>
                  <a:pt x="2172031" y="1046815"/>
                </a:lnTo>
                <a:lnTo>
                  <a:pt x="2175518" y="1041416"/>
                </a:lnTo>
                <a:lnTo>
                  <a:pt x="2179321" y="1036333"/>
                </a:lnTo>
                <a:lnTo>
                  <a:pt x="2183125" y="1031569"/>
                </a:lnTo>
                <a:lnTo>
                  <a:pt x="2187245" y="1027122"/>
                </a:lnTo>
                <a:lnTo>
                  <a:pt x="2191366" y="1023310"/>
                </a:lnTo>
                <a:lnTo>
                  <a:pt x="2195486" y="1019498"/>
                </a:lnTo>
                <a:lnTo>
                  <a:pt x="2199607" y="1016004"/>
                </a:lnTo>
                <a:lnTo>
                  <a:pt x="2204044" y="1013146"/>
                </a:lnTo>
                <a:lnTo>
                  <a:pt x="2208799" y="1010922"/>
                </a:lnTo>
                <a:lnTo>
                  <a:pt x="2213236" y="1008699"/>
                </a:lnTo>
                <a:lnTo>
                  <a:pt x="2217991" y="1007111"/>
                </a:lnTo>
                <a:lnTo>
                  <a:pt x="2223062" y="1005840"/>
                </a:lnTo>
                <a:lnTo>
                  <a:pt x="2227817" y="1005205"/>
                </a:lnTo>
                <a:lnTo>
                  <a:pt x="2233205" y="1004887"/>
                </a:lnTo>
                <a:close/>
                <a:moveTo>
                  <a:pt x="1560668" y="914401"/>
                </a:moveTo>
                <a:lnTo>
                  <a:pt x="1571788" y="914401"/>
                </a:lnTo>
                <a:lnTo>
                  <a:pt x="1582591" y="915671"/>
                </a:lnTo>
                <a:lnTo>
                  <a:pt x="1594029" y="917258"/>
                </a:lnTo>
                <a:lnTo>
                  <a:pt x="1604514" y="919480"/>
                </a:lnTo>
                <a:lnTo>
                  <a:pt x="1615317" y="922021"/>
                </a:lnTo>
                <a:lnTo>
                  <a:pt x="1625802" y="925196"/>
                </a:lnTo>
                <a:lnTo>
                  <a:pt x="1636287" y="928688"/>
                </a:lnTo>
                <a:lnTo>
                  <a:pt x="1646772" y="933133"/>
                </a:lnTo>
                <a:lnTo>
                  <a:pt x="1656939" y="937261"/>
                </a:lnTo>
                <a:lnTo>
                  <a:pt x="1666788" y="942023"/>
                </a:lnTo>
                <a:lnTo>
                  <a:pt x="1676638" y="946786"/>
                </a:lnTo>
                <a:lnTo>
                  <a:pt x="1686487" y="952183"/>
                </a:lnTo>
                <a:lnTo>
                  <a:pt x="1695384" y="957263"/>
                </a:lnTo>
                <a:lnTo>
                  <a:pt x="1704598" y="962978"/>
                </a:lnTo>
                <a:lnTo>
                  <a:pt x="1712859" y="968693"/>
                </a:lnTo>
                <a:lnTo>
                  <a:pt x="1721120" y="974726"/>
                </a:lnTo>
                <a:lnTo>
                  <a:pt x="1729063" y="980441"/>
                </a:lnTo>
                <a:lnTo>
                  <a:pt x="1736371" y="986473"/>
                </a:lnTo>
                <a:lnTo>
                  <a:pt x="1750033" y="997586"/>
                </a:lnTo>
                <a:lnTo>
                  <a:pt x="1762106" y="1008698"/>
                </a:lnTo>
                <a:lnTo>
                  <a:pt x="1771956" y="1018858"/>
                </a:lnTo>
                <a:lnTo>
                  <a:pt x="1779264" y="1027748"/>
                </a:lnTo>
                <a:lnTo>
                  <a:pt x="1782441" y="1031558"/>
                </a:lnTo>
                <a:lnTo>
                  <a:pt x="1784665" y="1034733"/>
                </a:lnTo>
                <a:lnTo>
                  <a:pt x="1786254" y="1037908"/>
                </a:lnTo>
                <a:lnTo>
                  <a:pt x="1787207" y="1040448"/>
                </a:lnTo>
                <a:lnTo>
                  <a:pt x="1788160" y="1045845"/>
                </a:lnTo>
                <a:lnTo>
                  <a:pt x="1788478" y="1053783"/>
                </a:lnTo>
                <a:lnTo>
                  <a:pt x="1789113" y="1076643"/>
                </a:lnTo>
                <a:lnTo>
                  <a:pt x="1789113" y="1107440"/>
                </a:lnTo>
                <a:lnTo>
                  <a:pt x="1788478" y="1144588"/>
                </a:lnTo>
                <a:lnTo>
                  <a:pt x="1787525" y="1187133"/>
                </a:lnTo>
                <a:lnTo>
                  <a:pt x="1786254" y="1233488"/>
                </a:lnTo>
                <a:lnTo>
                  <a:pt x="1784347" y="1282383"/>
                </a:lnTo>
                <a:lnTo>
                  <a:pt x="1782123" y="1331913"/>
                </a:lnTo>
                <a:lnTo>
                  <a:pt x="1672507" y="1331913"/>
                </a:lnTo>
                <a:lnTo>
                  <a:pt x="1674096" y="1293813"/>
                </a:lnTo>
                <a:lnTo>
                  <a:pt x="1674732" y="1258253"/>
                </a:lnTo>
                <a:lnTo>
                  <a:pt x="1675685" y="1225550"/>
                </a:lnTo>
                <a:lnTo>
                  <a:pt x="1676002" y="1197293"/>
                </a:lnTo>
                <a:lnTo>
                  <a:pt x="1675685" y="1174115"/>
                </a:lnTo>
                <a:lnTo>
                  <a:pt x="1674732" y="1156970"/>
                </a:lnTo>
                <a:lnTo>
                  <a:pt x="1674096" y="1150938"/>
                </a:lnTo>
                <a:lnTo>
                  <a:pt x="1673143" y="1147445"/>
                </a:lnTo>
                <a:lnTo>
                  <a:pt x="1672825" y="1145858"/>
                </a:lnTo>
                <a:lnTo>
                  <a:pt x="1672507" y="1144905"/>
                </a:lnTo>
                <a:lnTo>
                  <a:pt x="1672190" y="1144905"/>
                </a:lnTo>
                <a:lnTo>
                  <a:pt x="1671237" y="1145540"/>
                </a:lnTo>
                <a:lnTo>
                  <a:pt x="1669648" y="1147445"/>
                </a:lnTo>
                <a:lnTo>
                  <a:pt x="1668059" y="1149668"/>
                </a:lnTo>
                <a:lnTo>
                  <a:pt x="1666471" y="1151890"/>
                </a:lnTo>
                <a:lnTo>
                  <a:pt x="1654079" y="1331913"/>
                </a:lnTo>
                <a:lnTo>
                  <a:pt x="1602608" y="1331913"/>
                </a:lnTo>
                <a:lnTo>
                  <a:pt x="1602290" y="1283335"/>
                </a:lnTo>
                <a:lnTo>
                  <a:pt x="1598477" y="1283653"/>
                </a:lnTo>
                <a:lnTo>
                  <a:pt x="1586721" y="1284605"/>
                </a:lnTo>
                <a:lnTo>
                  <a:pt x="1568293" y="1285240"/>
                </a:lnTo>
                <a:lnTo>
                  <a:pt x="1556537" y="1285558"/>
                </a:lnTo>
                <a:lnTo>
                  <a:pt x="1543828" y="1285558"/>
                </a:lnTo>
                <a:lnTo>
                  <a:pt x="1529213" y="1285240"/>
                </a:lnTo>
                <a:lnTo>
                  <a:pt x="1513009" y="1284605"/>
                </a:lnTo>
                <a:lnTo>
                  <a:pt x="1496169" y="1283653"/>
                </a:lnTo>
                <a:lnTo>
                  <a:pt x="1477741" y="1282383"/>
                </a:lnTo>
                <a:lnTo>
                  <a:pt x="1457724" y="1280478"/>
                </a:lnTo>
                <a:lnTo>
                  <a:pt x="1437390" y="1277620"/>
                </a:lnTo>
                <a:lnTo>
                  <a:pt x="1415467" y="1274763"/>
                </a:lnTo>
                <a:lnTo>
                  <a:pt x="1392908" y="1270953"/>
                </a:lnTo>
                <a:lnTo>
                  <a:pt x="1381787" y="1268730"/>
                </a:lnTo>
                <a:lnTo>
                  <a:pt x="1370349" y="1266508"/>
                </a:lnTo>
                <a:lnTo>
                  <a:pt x="1359547" y="1263968"/>
                </a:lnTo>
                <a:lnTo>
                  <a:pt x="1348426" y="1261110"/>
                </a:lnTo>
                <a:lnTo>
                  <a:pt x="1328092" y="1254760"/>
                </a:lnTo>
                <a:lnTo>
                  <a:pt x="1308710" y="1248410"/>
                </a:lnTo>
                <a:lnTo>
                  <a:pt x="1290282" y="1241743"/>
                </a:lnTo>
                <a:lnTo>
                  <a:pt x="1273443" y="1234440"/>
                </a:lnTo>
                <a:lnTo>
                  <a:pt x="1257556" y="1227455"/>
                </a:lnTo>
                <a:lnTo>
                  <a:pt x="1243259" y="1220153"/>
                </a:lnTo>
                <a:lnTo>
                  <a:pt x="1229914" y="1213485"/>
                </a:lnTo>
                <a:lnTo>
                  <a:pt x="1218794" y="1207135"/>
                </a:lnTo>
                <a:lnTo>
                  <a:pt x="1208626" y="1201103"/>
                </a:lnTo>
                <a:lnTo>
                  <a:pt x="1200366" y="1196340"/>
                </a:lnTo>
                <a:lnTo>
                  <a:pt x="1189245" y="1188720"/>
                </a:lnTo>
                <a:lnTo>
                  <a:pt x="1185115" y="1186180"/>
                </a:lnTo>
                <a:lnTo>
                  <a:pt x="1204814" y="1331913"/>
                </a:lnTo>
                <a:lnTo>
                  <a:pt x="1152071" y="1331913"/>
                </a:lnTo>
                <a:lnTo>
                  <a:pt x="1149529" y="1296670"/>
                </a:lnTo>
                <a:lnTo>
                  <a:pt x="1143810" y="1297305"/>
                </a:lnTo>
                <a:lnTo>
                  <a:pt x="1135549" y="1299210"/>
                </a:lnTo>
                <a:lnTo>
                  <a:pt x="1112355" y="1303655"/>
                </a:lnTo>
                <a:lnTo>
                  <a:pt x="1082489" y="1309688"/>
                </a:lnTo>
                <a:lnTo>
                  <a:pt x="1066285" y="1313180"/>
                </a:lnTo>
                <a:lnTo>
                  <a:pt x="1049445" y="1316038"/>
                </a:lnTo>
                <a:lnTo>
                  <a:pt x="1032606" y="1318895"/>
                </a:lnTo>
                <a:lnTo>
                  <a:pt x="1015766" y="1321118"/>
                </a:lnTo>
                <a:lnTo>
                  <a:pt x="999880" y="1322388"/>
                </a:lnTo>
                <a:lnTo>
                  <a:pt x="984629" y="1323658"/>
                </a:lnTo>
                <a:lnTo>
                  <a:pt x="977639" y="1323658"/>
                </a:lnTo>
                <a:lnTo>
                  <a:pt x="970649" y="1323658"/>
                </a:lnTo>
                <a:lnTo>
                  <a:pt x="964295" y="1323340"/>
                </a:lnTo>
                <a:lnTo>
                  <a:pt x="958575" y="1323023"/>
                </a:lnTo>
                <a:lnTo>
                  <a:pt x="953174" y="1322070"/>
                </a:lnTo>
                <a:lnTo>
                  <a:pt x="948090" y="1320483"/>
                </a:lnTo>
                <a:lnTo>
                  <a:pt x="943960" y="1319213"/>
                </a:lnTo>
                <a:lnTo>
                  <a:pt x="940783" y="1317625"/>
                </a:lnTo>
                <a:lnTo>
                  <a:pt x="934746" y="1305560"/>
                </a:lnTo>
                <a:lnTo>
                  <a:pt x="928709" y="1295083"/>
                </a:lnTo>
                <a:lnTo>
                  <a:pt x="917271" y="1275398"/>
                </a:lnTo>
                <a:lnTo>
                  <a:pt x="912505" y="1266508"/>
                </a:lnTo>
                <a:lnTo>
                  <a:pt x="908057" y="1257935"/>
                </a:lnTo>
                <a:lnTo>
                  <a:pt x="904244" y="1249680"/>
                </a:lnTo>
                <a:lnTo>
                  <a:pt x="902338" y="1244918"/>
                </a:lnTo>
                <a:lnTo>
                  <a:pt x="901067" y="1240790"/>
                </a:lnTo>
                <a:lnTo>
                  <a:pt x="900114" y="1236663"/>
                </a:lnTo>
                <a:lnTo>
                  <a:pt x="899161" y="1232535"/>
                </a:lnTo>
                <a:lnTo>
                  <a:pt x="898843" y="1228408"/>
                </a:lnTo>
                <a:lnTo>
                  <a:pt x="898525" y="1223963"/>
                </a:lnTo>
                <a:lnTo>
                  <a:pt x="898843" y="1219835"/>
                </a:lnTo>
                <a:lnTo>
                  <a:pt x="899161" y="1215390"/>
                </a:lnTo>
                <a:lnTo>
                  <a:pt x="900431" y="1210628"/>
                </a:lnTo>
                <a:lnTo>
                  <a:pt x="901385" y="1205865"/>
                </a:lnTo>
                <a:lnTo>
                  <a:pt x="903291" y="1201103"/>
                </a:lnTo>
                <a:lnTo>
                  <a:pt x="905197" y="1195705"/>
                </a:lnTo>
                <a:lnTo>
                  <a:pt x="908057" y="1190943"/>
                </a:lnTo>
                <a:lnTo>
                  <a:pt x="910916" y="1185228"/>
                </a:lnTo>
                <a:lnTo>
                  <a:pt x="914729" y="1179513"/>
                </a:lnTo>
                <a:lnTo>
                  <a:pt x="918542" y="1173480"/>
                </a:lnTo>
                <a:lnTo>
                  <a:pt x="922990" y="1167765"/>
                </a:lnTo>
                <a:lnTo>
                  <a:pt x="928391" y="1161098"/>
                </a:lnTo>
                <a:lnTo>
                  <a:pt x="939512" y="1146810"/>
                </a:lnTo>
                <a:lnTo>
                  <a:pt x="949361" y="1133793"/>
                </a:lnTo>
                <a:lnTo>
                  <a:pt x="967154" y="1109345"/>
                </a:lnTo>
                <a:lnTo>
                  <a:pt x="976050" y="1096963"/>
                </a:lnTo>
                <a:lnTo>
                  <a:pt x="985900" y="1084580"/>
                </a:lnTo>
                <a:lnTo>
                  <a:pt x="997338" y="1070928"/>
                </a:lnTo>
                <a:lnTo>
                  <a:pt x="1004328" y="1063943"/>
                </a:lnTo>
                <a:lnTo>
                  <a:pt x="1011318" y="1056323"/>
                </a:lnTo>
                <a:lnTo>
                  <a:pt x="1017673" y="1045528"/>
                </a:lnTo>
                <a:lnTo>
                  <a:pt x="1024663" y="1035368"/>
                </a:lnTo>
                <a:lnTo>
                  <a:pt x="1031335" y="1025525"/>
                </a:lnTo>
                <a:lnTo>
                  <a:pt x="1038007" y="1016318"/>
                </a:lnTo>
                <a:lnTo>
                  <a:pt x="1044997" y="1008063"/>
                </a:lnTo>
                <a:lnTo>
                  <a:pt x="1051669" y="1000443"/>
                </a:lnTo>
                <a:lnTo>
                  <a:pt x="1058659" y="993141"/>
                </a:lnTo>
                <a:lnTo>
                  <a:pt x="1065967" y="986473"/>
                </a:lnTo>
                <a:lnTo>
                  <a:pt x="1073593" y="980123"/>
                </a:lnTo>
                <a:lnTo>
                  <a:pt x="1080583" y="974091"/>
                </a:lnTo>
                <a:lnTo>
                  <a:pt x="1088208" y="968693"/>
                </a:lnTo>
                <a:lnTo>
                  <a:pt x="1096151" y="963931"/>
                </a:lnTo>
                <a:lnTo>
                  <a:pt x="1104094" y="959168"/>
                </a:lnTo>
                <a:lnTo>
                  <a:pt x="1111720" y="954723"/>
                </a:lnTo>
                <a:lnTo>
                  <a:pt x="1119663" y="950913"/>
                </a:lnTo>
                <a:lnTo>
                  <a:pt x="1127924" y="947738"/>
                </a:lnTo>
                <a:lnTo>
                  <a:pt x="1136185" y="944246"/>
                </a:lnTo>
                <a:lnTo>
                  <a:pt x="1145081" y="941388"/>
                </a:lnTo>
                <a:lnTo>
                  <a:pt x="1153660" y="938531"/>
                </a:lnTo>
                <a:lnTo>
                  <a:pt x="1162238" y="935991"/>
                </a:lnTo>
                <a:lnTo>
                  <a:pt x="1171452" y="933768"/>
                </a:lnTo>
                <a:lnTo>
                  <a:pt x="1180349" y="931863"/>
                </a:lnTo>
                <a:lnTo>
                  <a:pt x="1199412" y="928053"/>
                </a:lnTo>
                <a:lnTo>
                  <a:pt x="1218794" y="924561"/>
                </a:lnTo>
                <a:lnTo>
                  <a:pt x="1239128" y="921703"/>
                </a:lnTo>
                <a:lnTo>
                  <a:pt x="1282021" y="915988"/>
                </a:lnTo>
                <a:lnTo>
                  <a:pt x="1284881" y="915671"/>
                </a:lnTo>
                <a:lnTo>
                  <a:pt x="1287740" y="915671"/>
                </a:lnTo>
                <a:lnTo>
                  <a:pt x="1292824" y="915671"/>
                </a:lnTo>
                <a:lnTo>
                  <a:pt x="1366537" y="1187768"/>
                </a:lnTo>
                <a:lnTo>
                  <a:pt x="1368125" y="1176973"/>
                </a:lnTo>
                <a:lnTo>
                  <a:pt x="1393226" y="990283"/>
                </a:lnTo>
                <a:lnTo>
                  <a:pt x="1386236" y="972186"/>
                </a:lnTo>
                <a:lnTo>
                  <a:pt x="1400216" y="947738"/>
                </a:lnTo>
                <a:lnTo>
                  <a:pt x="1432306" y="947421"/>
                </a:lnTo>
                <a:lnTo>
                  <a:pt x="1445968" y="972186"/>
                </a:lnTo>
                <a:lnTo>
                  <a:pt x="1439614" y="993776"/>
                </a:lnTo>
                <a:lnTo>
                  <a:pt x="1462490" y="1190943"/>
                </a:lnTo>
                <a:lnTo>
                  <a:pt x="1522858" y="924243"/>
                </a:lnTo>
                <a:lnTo>
                  <a:pt x="1529530" y="921386"/>
                </a:lnTo>
                <a:lnTo>
                  <a:pt x="1534932" y="918846"/>
                </a:lnTo>
                <a:lnTo>
                  <a:pt x="1537791" y="916940"/>
                </a:lnTo>
                <a:lnTo>
                  <a:pt x="1538427" y="915988"/>
                </a:lnTo>
                <a:lnTo>
                  <a:pt x="1549865" y="915036"/>
                </a:lnTo>
                <a:lnTo>
                  <a:pt x="1560668" y="914401"/>
                </a:lnTo>
                <a:close/>
                <a:moveTo>
                  <a:pt x="170497" y="661035"/>
                </a:moveTo>
                <a:lnTo>
                  <a:pt x="168576" y="681657"/>
                </a:lnTo>
                <a:lnTo>
                  <a:pt x="168275" y="683619"/>
                </a:lnTo>
                <a:lnTo>
                  <a:pt x="167640" y="691889"/>
                </a:lnTo>
                <a:lnTo>
                  <a:pt x="167640" y="695282"/>
                </a:lnTo>
                <a:lnTo>
                  <a:pt x="167322" y="700477"/>
                </a:lnTo>
                <a:lnTo>
                  <a:pt x="167640" y="700795"/>
                </a:lnTo>
                <a:lnTo>
                  <a:pt x="167640" y="695282"/>
                </a:lnTo>
                <a:lnTo>
                  <a:pt x="168275" y="684891"/>
                </a:lnTo>
                <a:lnTo>
                  <a:pt x="168576" y="681657"/>
                </a:lnTo>
                <a:lnTo>
                  <a:pt x="169545" y="675349"/>
                </a:lnTo>
                <a:lnTo>
                  <a:pt x="170497" y="668033"/>
                </a:lnTo>
                <a:lnTo>
                  <a:pt x="170497" y="664534"/>
                </a:lnTo>
                <a:lnTo>
                  <a:pt x="170497" y="661035"/>
                </a:lnTo>
                <a:close/>
                <a:moveTo>
                  <a:pt x="2571454" y="661035"/>
                </a:moveTo>
                <a:lnTo>
                  <a:pt x="2571454" y="664534"/>
                </a:lnTo>
                <a:lnTo>
                  <a:pt x="2571137" y="668033"/>
                </a:lnTo>
                <a:lnTo>
                  <a:pt x="2572406" y="675349"/>
                </a:lnTo>
                <a:lnTo>
                  <a:pt x="2573358" y="683619"/>
                </a:lnTo>
                <a:lnTo>
                  <a:pt x="2573992" y="691889"/>
                </a:lnTo>
                <a:lnTo>
                  <a:pt x="2574310" y="700795"/>
                </a:lnTo>
                <a:lnTo>
                  <a:pt x="2574627" y="700477"/>
                </a:lnTo>
                <a:lnTo>
                  <a:pt x="2573675" y="684891"/>
                </a:lnTo>
                <a:lnTo>
                  <a:pt x="2571454" y="661035"/>
                </a:lnTo>
                <a:close/>
                <a:moveTo>
                  <a:pt x="197485" y="574519"/>
                </a:moveTo>
                <a:lnTo>
                  <a:pt x="195897" y="575155"/>
                </a:lnTo>
                <a:lnTo>
                  <a:pt x="194310" y="576109"/>
                </a:lnTo>
                <a:lnTo>
                  <a:pt x="192405" y="577381"/>
                </a:lnTo>
                <a:lnTo>
                  <a:pt x="190817" y="579290"/>
                </a:lnTo>
                <a:lnTo>
                  <a:pt x="189230" y="581198"/>
                </a:lnTo>
                <a:lnTo>
                  <a:pt x="186690" y="585969"/>
                </a:lnTo>
                <a:lnTo>
                  <a:pt x="189865" y="582789"/>
                </a:lnTo>
                <a:lnTo>
                  <a:pt x="192722" y="579608"/>
                </a:lnTo>
                <a:lnTo>
                  <a:pt x="195897" y="576745"/>
                </a:lnTo>
                <a:lnTo>
                  <a:pt x="199390" y="574519"/>
                </a:lnTo>
                <a:lnTo>
                  <a:pt x="197485" y="574519"/>
                </a:lnTo>
                <a:close/>
                <a:moveTo>
                  <a:pt x="2542584" y="574518"/>
                </a:moveTo>
                <a:lnTo>
                  <a:pt x="2545757" y="576745"/>
                </a:lnTo>
                <a:lnTo>
                  <a:pt x="2549247" y="579608"/>
                </a:lnTo>
                <a:lnTo>
                  <a:pt x="2552102" y="582788"/>
                </a:lnTo>
                <a:lnTo>
                  <a:pt x="2555274" y="585969"/>
                </a:lnTo>
                <a:lnTo>
                  <a:pt x="2552102" y="581198"/>
                </a:lnTo>
                <a:lnTo>
                  <a:pt x="2550833" y="579290"/>
                </a:lnTo>
                <a:lnTo>
                  <a:pt x="2549247" y="577381"/>
                </a:lnTo>
                <a:lnTo>
                  <a:pt x="2547660" y="576109"/>
                </a:lnTo>
                <a:lnTo>
                  <a:pt x="2545757" y="575155"/>
                </a:lnTo>
                <a:lnTo>
                  <a:pt x="2544488" y="574518"/>
                </a:lnTo>
                <a:lnTo>
                  <a:pt x="2542584" y="574518"/>
                </a:lnTo>
                <a:close/>
                <a:moveTo>
                  <a:pt x="331470" y="485775"/>
                </a:moveTo>
                <a:lnTo>
                  <a:pt x="347662" y="485775"/>
                </a:lnTo>
                <a:lnTo>
                  <a:pt x="363537" y="486729"/>
                </a:lnTo>
                <a:lnTo>
                  <a:pt x="378460" y="488638"/>
                </a:lnTo>
                <a:lnTo>
                  <a:pt x="393700" y="490864"/>
                </a:lnTo>
                <a:lnTo>
                  <a:pt x="407988" y="493409"/>
                </a:lnTo>
                <a:lnTo>
                  <a:pt x="421323" y="497226"/>
                </a:lnTo>
                <a:lnTo>
                  <a:pt x="434658" y="501043"/>
                </a:lnTo>
                <a:lnTo>
                  <a:pt x="447040" y="505178"/>
                </a:lnTo>
                <a:lnTo>
                  <a:pt x="459105" y="509631"/>
                </a:lnTo>
                <a:lnTo>
                  <a:pt x="470535" y="514402"/>
                </a:lnTo>
                <a:lnTo>
                  <a:pt x="481013" y="519491"/>
                </a:lnTo>
                <a:lnTo>
                  <a:pt x="491173" y="524580"/>
                </a:lnTo>
                <a:lnTo>
                  <a:pt x="500698" y="529670"/>
                </a:lnTo>
                <a:lnTo>
                  <a:pt x="509270" y="534759"/>
                </a:lnTo>
                <a:lnTo>
                  <a:pt x="517208" y="539848"/>
                </a:lnTo>
                <a:lnTo>
                  <a:pt x="524510" y="544301"/>
                </a:lnTo>
                <a:lnTo>
                  <a:pt x="536575" y="552889"/>
                </a:lnTo>
                <a:lnTo>
                  <a:pt x="545465" y="559569"/>
                </a:lnTo>
                <a:lnTo>
                  <a:pt x="550863" y="564340"/>
                </a:lnTo>
                <a:lnTo>
                  <a:pt x="552450" y="565612"/>
                </a:lnTo>
                <a:lnTo>
                  <a:pt x="550863" y="569747"/>
                </a:lnTo>
                <a:lnTo>
                  <a:pt x="548005" y="574837"/>
                </a:lnTo>
                <a:lnTo>
                  <a:pt x="544195" y="581198"/>
                </a:lnTo>
                <a:lnTo>
                  <a:pt x="539750" y="587878"/>
                </a:lnTo>
                <a:lnTo>
                  <a:pt x="534035" y="595512"/>
                </a:lnTo>
                <a:lnTo>
                  <a:pt x="530860" y="599647"/>
                </a:lnTo>
                <a:lnTo>
                  <a:pt x="527050" y="603463"/>
                </a:lnTo>
                <a:lnTo>
                  <a:pt x="523240" y="607280"/>
                </a:lnTo>
                <a:lnTo>
                  <a:pt x="518795" y="610779"/>
                </a:lnTo>
                <a:lnTo>
                  <a:pt x="514350" y="614278"/>
                </a:lnTo>
                <a:lnTo>
                  <a:pt x="509588" y="617777"/>
                </a:lnTo>
                <a:lnTo>
                  <a:pt x="504508" y="620640"/>
                </a:lnTo>
                <a:lnTo>
                  <a:pt x="498793" y="623502"/>
                </a:lnTo>
                <a:lnTo>
                  <a:pt x="493078" y="626047"/>
                </a:lnTo>
                <a:lnTo>
                  <a:pt x="487045" y="627955"/>
                </a:lnTo>
                <a:lnTo>
                  <a:pt x="480695" y="629228"/>
                </a:lnTo>
                <a:lnTo>
                  <a:pt x="474028" y="630500"/>
                </a:lnTo>
                <a:lnTo>
                  <a:pt x="466725" y="630818"/>
                </a:lnTo>
                <a:lnTo>
                  <a:pt x="459423" y="630818"/>
                </a:lnTo>
                <a:lnTo>
                  <a:pt x="451803" y="630182"/>
                </a:lnTo>
                <a:lnTo>
                  <a:pt x="443548" y="628910"/>
                </a:lnTo>
                <a:lnTo>
                  <a:pt x="434975" y="626683"/>
                </a:lnTo>
                <a:lnTo>
                  <a:pt x="426403" y="624139"/>
                </a:lnTo>
                <a:lnTo>
                  <a:pt x="417195" y="620322"/>
                </a:lnTo>
                <a:lnTo>
                  <a:pt x="407353" y="615869"/>
                </a:lnTo>
                <a:lnTo>
                  <a:pt x="396557" y="610461"/>
                </a:lnTo>
                <a:lnTo>
                  <a:pt x="385127" y="605690"/>
                </a:lnTo>
                <a:lnTo>
                  <a:pt x="408305" y="616823"/>
                </a:lnTo>
                <a:lnTo>
                  <a:pt x="430848" y="627955"/>
                </a:lnTo>
                <a:lnTo>
                  <a:pt x="441643" y="632727"/>
                </a:lnTo>
                <a:lnTo>
                  <a:pt x="452120" y="637180"/>
                </a:lnTo>
                <a:lnTo>
                  <a:pt x="462280" y="641315"/>
                </a:lnTo>
                <a:lnTo>
                  <a:pt x="472440" y="645132"/>
                </a:lnTo>
                <a:lnTo>
                  <a:pt x="481965" y="648312"/>
                </a:lnTo>
                <a:lnTo>
                  <a:pt x="491173" y="650539"/>
                </a:lnTo>
                <a:lnTo>
                  <a:pt x="500063" y="652129"/>
                </a:lnTo>
                <a:lnTo>
                  <a:pt x="504190" y="652447"/>
                </a:lnTo>
                <a:lnTo>
                  <a:pt x="508318" y="652447"/>
                </a:lnTo>
                <a:lnTo>
                  <a:pt x="512128" y="652447"/>
                </a:lnTo>
                <a:lnTo>
                  <a:pt x="515620" y="652129"/>
                </a:lnTo>
                <a:lnTo>
                  <a:pt x="519430" y="651493"/>
                </a:lnTo>
                <a:lnTo>
                  <a:pt x="522923" y="650539"/>
                </a:lnTo>
                <a:lnTo>
                  <a:pt x="526415" y="649267"/>
                </a:lnTo>
                <a:lnTo>
                  <a:pt x="529590" y="647676"/>
                </a:lnTo>
                <a:lnTo>
                  <a:pt x="532765" y="646086"/>
                </a:lnTo>
                <a:lnTo>
                  <a:pt x="535623" y="643541"/>
                </a:lnTo>
                <a:lnTo>
                  <a:pt x="536893" y="651493"/>
                </a:lnTo>
                <a:lnTo>
                  <a:pt x="537210" y="659127"/>
                </a:lnTo>
                <a:lnTo>
                  <a:pt x="537845" y="673440"/>
                </a:lnTo>
                <a:lnTo>
                  <a:pt x="537845" y="687118"/>
                </a:lnTo>
                <a:lnTo>
                  <a:pt x="537210" y="700159"/>
                </a:lnTo>
                <a:lnTo>
                  <a:pt x="538163" y="699205"/>
                </a:lnTo>
                <a:lnTo>
                  <a:pt x="539433" y="697932"/>
                </a:lnTo>
                <a:lnTo>
                  <a:pt x="540703" y="697296"/>
                </a:lnTo>
                <a:lnTo>
                  <a:pt x="541973" y="696660"/>
                </a:lnTo>
                <a:lnTo>
                  <a:pt x="542925" y="697296"/>
                </a:lnTo>
                <a:lnTo>
                  <a:pt x="543243" y="698251"/>
                </a:lnTo>
                <a:lnTo>
                  <a:pt x="543878" y="699841"/>
                </a:lnTo>
                <a:lnTo>
                  <a:pt x="543878" y="702067"/>
                </a:lnTo>
                <a:lnTo>
                  <a:pt x="544195" y="708429"/>
                </a:lnTo>
                <a:lnTo>
                  <a:pt x="544195" y="716063"/>
                </a:lnTo>
                <a:lnTo>
                  <a:pt x="543878" y="725287"/>
                </a:lnTo>
                <a:lnTo>
                  <a:pt x="542925" y="735466"/>
                </a:lnTo>
                <a:lnTo>
                  <a:pt x="540703" y="757413"/>
                </a:lnTo>
                <a:lnTo>
                  <a:pt x="537528" y="779042"/>
                </a:lnTo>
                <a:lnTo>
                  <a:pt x="534670" y="796536"/>
                </a:lnTo>
                <a:lnTo>
                  <a:pt x="533083" y="802898"/>
                </a:lnTo>
                <a:lnTo>
                  <a:pt x="531813" y="807669"/>
                </a:lnTo>
                <a:lnTo>
                  <a:pt x="531178" y="808623"/>
                </a:lnTo>
                <a:lnTo>
                  <a:pt x="530860" y="809577"/>
                </a:lnTo>
                <a:lnTo>
                  <a:pt x="530543" y="809577"/>
                </a:lnTo>
                <a:lnTo>
                  <a:pt x="529908" y="808623"/>
                </a:lnTo>
                <a:lnTo>
                  <a:pt x="528638" y="820392"/>
                </a:lnTo>
                <a:lnTo>
                  <a:pt x="526733" y="831525"/>
                </a:lnTo>
                <a:lnTo>
                  <a:pt x="524510" y="842657"/>
                </a:lnTo>
                <a:lnTo>
                  <a:pt x="521335" y="853154"/>
                </a:lnTo>
                <a:lnTo>
                  <a:pt x="518478" y="863650"/>
                </a:lnTo>
                <a:lnTo>
                  <a:pt x="514985" y="873829"/>
                </a:lnTo>
                <a:lnTo>
                  <a:pt x="510858" y="883689"/>
                </a:lnTo>
                <a:lnTo>
                  <a:pt x="506730" y="892913"/>
                </a:lnTo>
                <a:lnTo>
                  <a:pt x="502285" y="902138"/>
                </a:lnTo>
                <a:lnTo>
                  <a:pt x="497205" y="911044"/>
                </a:lnTo>
                <a:lnTo>
                  <a:pt x="492443" y="919314"/>
                </a:lnTo>
                <a:lnTo>
                  <a:pt x="486728" y="927584"/>
                </a:lnTo>
                <a:lnTo>
                  <a:pt x="481013" y="935536"/>
                </a:lnTo>
                <a:lnTo>
                  <a:pt x="475615" y="943170"/>
                </a:lnTo>
                <a:lnTo>
                  <a:pt x="469583" y="950167"/>
                </a:lnTo>
                <a:lnTo>
                  <a:pt x="463550" y="957165"/>
                </a:lnTo>
                <a:lnTo>
                  <a:pt x="457200" y="963209"/>
                </a:lnTo>
                <a:lnTo>
                  <a:pt x="450850" y="969252"/>
                </a:lnTo>
                <a:lnTo>
                  <a:pt x="443865" y="974659"/>
                </a:lnTo>
                <a:lnTo>
                  <a:pt x="437198" y="980067"/>
                </a:lnTo>
                <a:lnTo>
                  <a:pt x="430530" y="984838"/>
                </a:lnTo>
                <a:lnTo>
                  <a:pt x="423545" y="989609"/>
                </a:lnTo>
                <a:lnTo>
                  <a:pt x="416878" y="993744"/>
                </a:lnTo>
                <a:lnTo>
                  <a:pt x="410210" y="997243"/>
                </a:lnTo>
                <a:lnTo>
                  <a:pt x="402908" y="1000742"/>
                </a:lnTo>
                <a:lnTo>
                  <a:pt x="396240" y="1003286"/>
                </a:lnTo>
                <a:lnTo>
                  <a:pt x="389255" y="1006149"/>
                </a:lnTo>
                <a:lnTo>
                  <a:pt x="382587" y="1008057"/>
                </a:lnTo>
                <a:lnTo>
                  <a:pt x="375920" y="1009330"/>
                </a:lnTo>
                <a:lnTo>
                  <a:pt x="369252" y="1010602"/>
                </a:lnTo>
                <a:lnTo>
                  <a:pt x="362585" y="1011238"/>
                </a:lnTo>
                <a:lnTo>
                  <a:pt x="356235" y="1011238"/>
                </a:lnTo>
                <a:lnTo>
                  <a:pt x="351155" y="1011238"/>
                </a:lnTo>
                <a:lnTo>
                  <a:pt x="345440" y="1010602"/>
                </a:lnTo>
                <a:lnTo>
                  <a:pt x="339725" y="1009330"/>
                </a:lnTo>
                <a:lnTo>
                  <a:pt x="334010" y="1007421"/>
                </a:lnTo>
                <a:lnTo>
                  <a:pt x="327977" y="1005831"/>
                </a:lnTo>
                <a:lnTo>
                  <a:pt x="321945" y="1002968"/>
                </a:lnTo>
                <a:lnTo>
                  <a:pt x="315595" y="1000105"/>
                </a:lnTo>
                <a:lnTo>
                  <a:pt x="309245" y="996607"/>
                </a:lnTo>
                <a:lnTo>
                  <a:pt x="302895" y="992790"/>
                </a:lnTo>
                <a:lnTo>
                  <a:pt x="296227" y="988655"/>
                </a:lnTo>
                <a:lnTo>
                  <a:pt x="289877" y="984202"/>
                </a:lnTo>
                <a:lnTo>
                  <a:pt x="282892" y="979430"/>
                </a:lnTo>
                <a:lnTo>
                  <a:pt x="276542" y="974023"/>
                </a:lnTo>
                <a:lnTo>
                  <a:pt x="269875" y="968298"/>
                </a:lnTo>
                <a:lnTo>
                  <a:pt x="263207" y="962254"/>
                </a:lnTo>
                <a:lnTo>
                  <a:pt x="256540" y="955893"/>
                </a:lnTo>
                <a:lnTo>
                  <a:pt x="250190" y="949213"/>
                </a:lnTo>
                <a:lnTo>
                  <a:pt x="243840" y="941897"/>
                </a:lnTo>
                <a:lnTo>
                  <a:pt x="237490" y="934900"/>
                </a:lnTo>
                <a:lnTo>
                  <a:pt x="231457" y="927266"/>
                </a:lnTo>
                <a:lnTo>
                  <a:pt x="225425" y="919314"/>
                </a:lnTo>
                <a:lnTo>
                  <a:pt x="219710" y="911044"/>
                </a:lnTo>
                <a:lnTo>
                  <a:pt x="214312" y="902774"/>
                </a:lnTo>
                <a:lnTo>
                  <a:pt x="208915" y="893868"/>
                </a:lnTo>
                <a:lnTo>
                  <a:pt x="203517" y="885280"/>
                </a:lnTo>
                <a:lnTo>
                  <a:pt x="198755" y="875737"/>
                </a:lnTo>
                <a:lnTo>
                  <a:pt x="194310" y="866195"/>
                </a:lnTo>
                <a:lnTo>
                  <a:pt x="190182" y="856971"/>
                </a:lnTo>
                <a:lnTo>
                  <a:pt x="186055" y="846792"/>
                </a:lnTo>
                <a:lnTo>
                  <a:pt x="182245" y="836932"/>
                </a:lnTo>
                <a:lnTo>
                  <a:pt x="179070" y="826754"/>
                </a:lnTo>
                <a:lnTo>
                  <a:pt x="176212" y="816257"/>
                </a:lnTo>
                <a:lnTo>
                  <a:pt x="173990" y="822937"/>
                </a:lnTo>
                <a:lnTo>
                  <a:pt x="172402" y="826117"/>
                </a:lnTo>
                <a:lnTo>
                  <a:pt x="171450" y="828344"/>
                </a:lnTo>
                <a:lnTo>
                  <a:pt x="169862" y="830252"/>
                </a:lnTo>
                <a:lnTo>
                  <a:pt x="168275" y="831525"/>
                </a:lnTo>
                <a:lnTo>
                  <a:pt x="167322" y="832479"/>
                </a:lnTo>
                <a:lnTo>
                  <a:pt x="165417" y="832797"/>
                </a:lnTo>
                <a:lnTo>
                  <a:pt x="163830" y="832479"/>
                </a:lnTo>
                <a:lnTo>
                  <a:pt x="162242" y="831207"/>
                </a:lnTo>
                <a:lnTo>
                  <a:pt x="160655" y="829616"/>
                </a:lnTo>
                <a:lnTo>
                  <a:pt x="159385" y="827390"/>
                </a:lnTo>
                <a:lnTo>
                  <a:pt x="157797" y="824845"/>
                </a:lnTo>
                <a:lnTo>
                  <a:pt x="156210" y="821346"/>
                </a:lnTo>
                <a:lnTo>
                  <a:pt x="153987" y="813076"/>
                </a:lnTo>
                <a:lnTo>
                  <a:pt x="152082" y="803534"/>
                </a:lnTo>
                <a:lnTo>
                  <a:pt x="150495" y="792083"/>
                </a:lnTo>
                <a:lnTo>
                  <a:pt x="149542" y="779678"/>
                </a:lnTo>
                <a:lnTo>
                  <a:pt x="149225" y="766637"/>
                </a:lnTo>
                <a:lnTo>
                  <a:pt x="149542" y="753914"/>
                </a:lnTo>
                <a:lnTo>
                  <a:pt x="150177" y="742781"/>
                </a:lnTo>
                <a:lnTo>
                  <a:pt x="151765" y="732285"/>
                </a:lnTo>
                <a:lnTo>
                  <a:pt x="153352" y="722742"/>
                </a:lnTo>
                <a:lnTo>
                  <a:pt x="155257" y="714790"/>
                </a:lnTo>
                <a:lnTo>
                  <a:pt x="157797" y="708429"/>
                </a:lnTo>
                <a:lnTo>
                  <a:pt x="159067" y="705884"/>
                </a:lnTo>
                <a:lnTo>
                  <a:pt x="160337" y="703976"/>
                </a:lnTo>
                <a:lnTo>
                  <a:pt x="161607" y="702067"/>
                </a:lnTo>
                <a:lnTo>
                  <a:pt x="163195" y="700795"/>
                </a:lnTo>
                <a:lnTo>
                  <a:pt x="158432" y="696024"/>
                </a:lnTo>
                <a:lnTo>
                  <a:pt x="154622" y="690617"/>
                </a:lnTo>
                <a:lnTo>
                  <a:pt x="151447" y="685209"/>
                </a:lnTo>
                <a:lnTo>
                  <a:pt x="148907" y="679166"/>
                </a:lnTo>
                <a:lnTo>
                  <a:pt x="147002" y="672804"/>
                </a:lnTo>
                <a:lnTo>
                  <a:pt x="145097" y="666443"/>
                </a:lnTo>
                <a:lnTo>
                  <a:pt x="143827" y="659763"/>
                </a:lnTo>
                <a:lnTo>
                  <a:pt x="143192" y="653083"/>
                </a:lnTo>
                <a:lnTo>
                  <a:pt x="142875" y="646086"/>
                </a:lnTo>
                <a:lnTo>
                  <a:pt x="142875" y="639088"/>
                </a:lnTo>
                <a:lnTo>
                  <a:pt x="143510" y="632090"/>
                </a:lnTo>
                <a:lnTo>
                  <a:pt x="144145" y="624775"/>
                </a:lnTo>
                <a:lnTo>
                  <a:pt x="145415" y="617777"/>
                </a:lnTo>
                <a:lnTo>
                  <a:pt x="146367" y="610461"/>
                </a:lnTo>
                <a:lnTo>
                  <a:pt x="148272" y="603782"/>
                </a:lnTo>
                <a:lnTo>
                  <a:pt x="149860" y="596466"/>
                </a:lnTo>
                <a:lnTo>
                  <a:pt x="154305" y="583425"/>
                </a:lnTo>
                <a:lnTo>
                  <a:pt x="159385" y="570702"/>
                </a:lnTo>
                <a:lnTo>
                  <a:pt x="164465" y="558933"/>
                </a:lnTo>
                <a:lnTo>
                  <a:pt x="169862" y="548436"/>
                </a:lnTo>
                <a:lnTo>
                  <a:pt x="174942" y="539212"/>
                </a:lnTo>
                <a:lnTo>
                  <a:pt x="180022" y="532214"/>
                </a:lnTo>
                <a:lnTo>
                  <a:pt x="182562" y="529034"/>
                </a:lnTo>
                <a:lnTo>
                  <a:pt x="184467" y="526807"/>
                </a:lnTo>
                <a:lnTo>
                  <a:pt x="186690" y="525535"/>
                </a:lnTo>
                <a:lnTo>
                  <a:pt x="188277" y="524262"/>
                </a:lnTo>
                <a:lnTo>
                  <a:pt x="198120" y="519491"/>
                </a:lnTo>
                <a:lnTo>
                  <a:pt x="207327" y="514720"/>
                </a:lnTo>
                <a:lnTo>
                  <a:pt x="216852" y="510585"/>
                </a:lnTo>
                <a:lnTo>
                  <a:pt x="226377" y="507086"/>
                </a:lnTo>
                <a:lnTo>
                  <a:pt x="235267" y="503587"/>
                </a:lnTo>
                <a:lnTo>
                  <a:pt x="244792" y="500407"/>
                </a:lnTo>
                <a:lnTo>
                  <a:pt x="253682" y="497862"/>
                </a:lnTo>
                <a:lnTo>
                  <a:pt x="262572" y="495317"/>
                </a:lnTo>
                <a:lnTo>
                  <a:pt x="271780" y="493409"/>
                </a:lnTo>
                <a:lnTo>
                  <a:pt x="280352" y="491501"/>
                </a:lnTo>
                <a:lnTo>
                  <a:pt x="288925" y="489910"/>
                </a:lnTo>
                <a:lnTo>
                  <a:pt x="298132" y="488638"/>
                </a:lnTo>
                <a:lnTo>
                  <a:pt x="306387" y="487365"/>
                </a:lnTo>
                <a:lnTo>
                  <a:pt x="314960" y="486729"/>
                </a:lnTo>
                <a:lnTo>
                  <a:pt x="323215" y="486093"/>
                </a:lnTo>
                <a:lnTo>
                  <a:pt x="331470" y="485775"/>
                </a:lnTo>
                <a:close/>
                <a:moveTo>
                  <a:pt x="2394109" y="485775"/>
                </a:moveTo>
                <a:lnTo>
                  <a:pt x="2410607" y="485775"/>
                </a:lnTo>
                <a:lnTo>
                  <a:pt x="2418538" y="486093"/>
                </a:lnTo>
                <a:lnTo>
                  <a:pt x="2427104" y="486729"/>
                </a:lnTo>
                <a:lnTo>
                  <a:pt x="2435352" y="487365"/>
                </a:lnTo>
                <a:lnTo>
                  <a:pt x="2443918" y="488638"/>
                </a:lnTo>
                <a:lnTo>
                  <a:pt x="2452801" y="489910"/>
                </a:lnTo>
                <a:lnTo>
                  <a:pt x="2461367" y="491500"/>
                </a:lnTo>
                <a:lnTo>
                  <a:pt x="2470250" y="493409"/>
                </a:lnTo>
                <a:lnTo>
                  <a:pt x="2479451" y="495317"/>
                </a:lnTo>
                <a:lnTo>
                  <a:pt x="2488334" y="497862"/>
                </a:lnTo>
                <a:lnTo>
                  <a:pt x="2497534" y="500407"/>
                </a:lnTo>
                <a:lnTo>
                  <a:pt x="2506417" y="503587"/>
                </a:lnTo>
                <a:lnTo>
                  <a:pt x="2515935" y="507086"/>
                </a:lnTo>
                <a:lnTo>
                  <a:pt x="2525135" y="510585"/>
                </a:lnTo>
                <a:lnTo>
                  <a:pt x="2534653" y="514720"/>
                </a:lnTo>
                <a:lnTo>
                  <a:pt x="2543853" y="519491"/>
                </a:lnTo>
                <a:lnTo>
                  <a:pt x="2553371" y="524262"/>
                </a:lnTo>
                <a:lnTo>
                  <a:pt x="2555274" y="525535"/>
                </a:lnTo>
                <a:lnTo>
                  <a:pt x="2557178" y="526807"/>
                </a:lnTo>
                <a:lnTo>
                  <a:pt x="2559399" y="529033"/>
                </a:lnTo>
                <a:lnTo>
                  <a:pt x="2561620" y="532214"/>
                </a:lnTo>
                <a:lnTo>
                  <a:pt x="2566378" y="539212"/>
                </a:lnTo>
                <a:lnTo>
                  <a:pt x="2571772" y="548436"/>
                </a:lnTo>
                <a:lnTo>
                  <a:pt x="2577482" y="558933"/>
                </a:lnTo>
                <a:lnTo>
                  <a:pt x="2582558" y="570702"/>
                </a:lnTo>
                <a:lnTo>
                  <a:pt x="2587634" y="583425"/>
                </a:lnTo>
                <a:lnTo>
                  <a:pt x="2591759" y="596466"/>
                </a:lnTo>
                <a:lnTo>
                  <a:pt x="2593662" y="603782"/>
                </a:lnTo>
                <a:lnTo>
                  <a:pt x="2594931" y="610461"/>
                </a:lnTo>
                <a:lnTo>
                  <a:pt x="2596517" y="617777"/>
                </a:lnTo>
                <a:lnTo>
                  <a:pt x="2597786" y="624775"/>
                </a:lnTo>
                <a:lnTo>
                  <a:pt x="2598421" y="632090"/>
                </a:lnTo>
                <a:lnTo>
                  <a:pt x="2598738" y="639088"/>
                </a:lnTo>
                <a:lnTo>
                  <a:pt x="2598738" y="646086"/>
                </a:lnTo>
                <a:lnTo>
                  <a:pt x="2598421" y="653083"/>
                </a:lnTo>
                <a:lnTo>
                  <a:pt x="2598104" y="659763"/>
                </a:lnTo>
                <a:lnTo>
                  <a:pt x="2596517" y="666443"/>
                </a:lnTo>
                <a:lnTo>
                  <a:pt x="2594931" y="672804"/>
                </a:lnTo>
                <a:lnTo>
                  <a:pt x="2592710" y="679166"/>
                </a:lnTo>
                <a:lnTo>
                  <a:pt x="2590172" y="685209"/>
                </a:lnTo>
                <a:lnTo>
                  <a:pt x="2586683" y="690617"/>
                </a:lnTo>
                <a:lnTo>
                  <a:pt x="2583193" y="696024"/>
                </a:lnTo>
                <a:lnTo>
                  <a:pt x="2578434" y="700795"/>
                </a:lnTo>
                <a:lnTo>
                  <a:pt x="2580020" y="702067"/>
                </a:lnTo>
                <a:lnTo>
                  <a:pt x="2581607" y="703976"/>
                </a:lnTo>
                <a:lnTo>
                  <a:pt x="2582558" y="705884"/>
                </a:lnTo>
                <a:lnTo>
                  <a:pt x="2584145" y="708429"/>
                </a:lnTo>
                <a:lnTo>
                  <a:pt x="2586365" y="714790"/>
                </a:lnTo>
                <a:lnTo>
                  <a:pt x="2588269" y="722742"/>
                </a:lnTo>
                <a:lnTo>
                  <a:pt x="2590172" y="732285"/>
                </a:lnTo>
                <a:lnTo>
                  <a:pt x="2591441" y="742781"/>
                </a:lnTo>
                <a:lnTo>
                  <a:pt x="2592076" y="753914"/>
                </a:lnTo>
                <a:lnTo>
                  <a:pt x="2592393" y="766637"/>
                </a:lnTo>
                <a:lnTo>
                  <a:pt x="2592076" y="779678"/>
                </a:lnTo>
                <a:lnTo>
                  <a:pt x="2591441" y="792083"/>
                </a:lnTo>
                <a:lnTo>
                  <a:pt x="2589855" y="803534"/>
                </a:lnTo>
                <a:lnTo>
                  <a:pt x="2587634" y="813076"/>
                </a:lnTo>
                <a:lnTo>
                  <a:pt x="2585414" y="821346"/>
                </a:lnTo>
                <a:lnTo>
                  <a:pt x="2584145" y="824845"/>
                </a:lnTo>
                <a:lnTo>
                  <a:pt x="2582558" y="827390"/>
                </a:lnTo>
                <a:lnTo>
                  <a:pt x="2581289" y="829616"/>
                </a:lnTo>
                <a:lnTo>
                  <a:pt x="2579703" y="831207"/>
                </a:lnTo>
                <a:lnTo>
                  <a:pt x="2577799" y="832479"/>
                </a:lnTo>
                <a:lnTo>
                  <a:pt x="2576213" y="832797"/>
                </a:lnTo>
                <a:lnTo>
                  <a:pt x="2574627" y="832479"/>
                </a:lnTo>
                <a:lnTo>
                  <a:pt x="2573358" y="831525"/>
                </a:lnTo>
                <a:lnTo>
                  <a:pt x="2571772" y="830252"/>
                </a:lnTo>
                <a:lnTo>
                  <a:pt x="2570503" y="828344"/>
                </a:lnTo>
                <a:lnTo>
                  <a:pt x="2569234" y="826117"/>
                </a:lnTo>
                <a:lnTo>
                  <a:pt x="2567965" y="822936"/>
                </a:lnTo>
                <a:lnTo>
                  <a:pt x="2565744" y="816257"/>
                </a:lnTo>
                <a:lnTo>
                  <a:pt x="2562889" y="826753"/>
                </a:lnTo>
                <a:lnTo>
                  <a:pt x="2559399" y="836932"/>
                </a:lnTo>
                <a:lnTo>
                  <a:pt x="2555592" y="846792"/>
                </a:lnTo>
                <a:lnTo>
                  <a:pt x="2551785" y="856971"/>
                </a:lnTo>
                <a:lnTo>
                  <a:pt x="2547343" y="866195"/>
                </a:lnTo>
                <a:lnTo>
                  <a:pt x="2542902" y="875737"/>
                </a:lnTo>
                <a:lnTo>
                  <a:pt x="2537825" y="885280"/>
                </a:lnTo>
                <a:lnTo>
                  <a:pt x="2533067" y="893868"/>
                </a:lnTo>
                <a:lnTo>
                  <a:pt x="2527356" y="902774"/>
                </a:lnTo>
                <a:lnTo>
                  <a:pt x="2522280" y="911044"/>
                </a:lnTo>
                <a:lnTo>
                  <a:pt x="2516252" y="919314"/>
                </a:lnTo>
                <a:lnTo>
                  <a:pt x="2510224" y="927266"/>
                </a:lnTo>
                <a:lnTo>
                  <a:pt x="2504197" y="934900"/>
                </a:lnTo>
                <a:lnTo>
                  <a:pt x="2497851" y="941897"/>
                </a:lnTo>
                <a:lnTo>
                  <a:pt x="2491824" y="949213"/>
                </a:lnTo>
                <a:lnTo>
                  <a:pt x="2484844" y="955893"/>
                </a:lnTo>
                <a:lnTo>
                  <a:pt x="2478499" y="962254"/>
                </a:lnTo>
                <a:lnTo>
                  <a:pt x="2472154" y="968298"/>
                </a:lnTo>
                <a:lnTo>
                  <a:pt x="2465492" y="974023"/>
                </a:lnTo>
                <a:lnTo>
                  <a:pt x="2458829" y="979430"/>
                </a:lnTo>
                <a:lnTo>
                  <a:pt x="2452167" y="984202"/>
                </a:lnTo>
                <a:lnTo>
                  <a:pt x="2445505" y="988654"/>
                </a:lnTo>
                <a:lnTo>
                  <a:pt x="2439159" y="992789"/>
                </a:lnTo>
                <a:lnTo>
                  <a:pt x="2432814" y="996607"/>
                </a:lnTo>
                <a:lnTo>
                  <a:pt x="2426469" y="1000105"/>
                </a:lnTo>
                <a:lnTo>
                  <a:pt x="2420124" y="1002968"/>
                </a:lnTo>
                <a:lnTo>
                  <a:pt x="2413462" y="1005831"/>
                </a:lnTo>
                <a:lnTo>
                  <a:pt x="2408069" y="1007421"/>
                </a:lnTo>
                <a:lnTo>
                  <a:pt x="2402041" y="1009330"/>
                </a:lnTo>
                <a:lnTo>
                  <a:pt x="2396330" y="1010602"/>
                </a:lnTo>
                <a:lnTo>
                  <a:pt x="2390937" y="1011238"/>
                </a:lnTo>
                <a:lnTo>
                  <a:pt x="2385861" y="1011238"/>
                </a:lnTo>
                <a:lnTo>
                  <a:pt x="2379516" y="1011238"/>
                </a:lnTo>
                <a:lnTo>
                  <a:pt x="2372536" y="1010602"/>
                </a:lnTo>
                <a:lnTo>
                  <a:pt x="2366191" y="1009330"/>
                </a:lnTo>
                <a:lnTo>
                  <a:pt x="2359529" y="1008057"/>
                </a:lnTo>
                <a:lnTo>
                  <a:pt x="2352866" y="1006149"/>
                </a:lnTo>
                <a:lnTo>
                  <a:pt x="2345887" y="1003286"/>
                </a:lnTo>
                <a:lnTo>
                  <a:pt x="2338907" y="1000742"/>
                </a:lnTo>
                <a:lnTo>
                  <a:pt x="2331928" y="997243"/>
                </a:lnTo>
                <a:lnTo>
                  <a:pt x="2325265" y="993744"/>
                </a:lnTo>
                <a:lnTo>
                  <a:pt x="2318286" y="989609"/>
                </a:lnTo>
                <a:lnTo>
                  <a:pt x="2311306" y="984838"/>
                </a:lnTo>
                <a:lnTo>
                  <a:pt x="2304644" y="980067"/>
                </a:lnTo>
                <a:lnTo>
                  <a:pt x="2297981" y="974659"/>
                </a:lnTo>
                <a:lnTo>
                  <a:pt x="2291636" y="969252"/>
                </a:lnTo>
                <a:lnTo>
                  <a:pt x="2284974" y="963208"/>
                </a:lnTo>
                <a:lnTo>
                  <a:pt x="2278629" y="957165"/>
                </a:lnTo>
                <a:lnTo>
                  <a:pt x="2272284" y="950167"/>
                </a:lnTo>
                <a:lnTo>
                  <a:pt x="2266256" y="943170"/>
                </a:lnTo>
                <a:lnTo>
                  <a:pt x="2260545" y="935536"/>
                </a:lnTo>
                <a:lnTo>
                  <a:pt x="2255152" y="927584"/>
                </a:lnTo>
                <a:lnTo>
                  <a:pt x="2249759" y="919314"/>
                </a:lnTo>
                <a:lnTo>
                  <a:pt x="2244365" y="911044"/>
                </a:lnTo>
                <a:lnTo>
                  <a:pt x="2239924" y="902138"/>
                </a:lnTo>
                <a:lnTo>
                  <a:pt x="2235482" y="892913"/>
                </a:lnTo>
                <a:lnTo>
                  <a:pt x="2231041" y="883689"/>
                </a:lnTo>
                <a:lnTo>
                  <a:pt x="2227234" y="873829"/>
                </a:lnTo>
                <a:lnTo>
                  <a:pt x="2223744" y="863650"/>
                </a:lnTo>
                <a:lnTo>
                  <a:pt x="2220571" y="853154"/>
                </a:lnTo>
                <a:lnTo>
                  <a:pt x="2217716" y="842657"/>
                </a:lnTo>
                <a:lnTo>
                  <a:pt x="2215178" y="831525"/>
                </a:lnTo>
                <a:lnTo>
                  <a:pt x="2213275" y="820392"/>
                </a:lnTo>
                <a:lnTo>
                  <a:pt x="2211688" y="808623"/>
                </a:lnTo>
                <a:lnTo>
                  <a:pt x="2211371" y="809577"/>
                </a:lnTo>
                <a:lnTo>
                  <a:pt x="2211054" y="809577"/>
                </a:lnTo>
                <a:lnTo>
                  <a:pt x="2210737" y="808623"/>
                </a:lnTo>
                <a:lnTo>
                  <a:pt x="2210419" y="807669"/>
                </a:lnTo>
                <a:lnTo>
                  <a:pt x="2208833" y="802898"/>
                </a:lnTo>
                <a:lnTo>
                  <a:pt x="2207564" y="796536"/>
                </a:lnTo>
                <a:lnTo>
                  <a:pt x="2204391" y="779042"/>
                </a:lnTo>
                <a:lnTo>
                  <a:pt x="2201536" y="757413"/>
                </a:lnTo>
                <a:lnTo>
                  <a:pt x="2198998" y="735465"/>
                </a:lnTo>
                <a:lnTo>
                  <a:pt x="2198364" y="725287"/>
                </a:lnTo>
                <a:lnTo>
                  <a:pt x="2198046" y="716063"/>
                </a:lnTo>
                <a:lnTo>
                  <a:pt x="2197412" y="708429"/>
                </a:lnTo>
                <a:lnTo>
                  <a:pt x="2198046" y="702067"/>
                </a:lnTo>
                <a:lnTo>
                  <a:pt x="2198364" y="699841"/>
                </a:lnTo>
                <a:lnTo>
                  <a:pt x="2198681" y="698250"/>
                </a:lnTo>
                <a:lnTo>
                  <a:pt x="2199315" y="697296"/>
                </a:lnTo>
                <a:lnTo>
                  <a:pt x="2200267" y="696660"/>
                </a:lnTo>
                <a:lnTo>
                  <a:pt x="2201219" y="697296"/>
                </a:lnTo>
                <a:lnTo>
                  <a:pt x="2202488" y="697932"/>
                </a:lnTo>
                <a:lnTo>
                  <a:pt x="2204074" y="699205"/>
                </a:lnTo>
                <a:lnTo>
                  <a:pt x="2205026" y="700159"/>
                </a:lnTo>
                <a:lnTo>
                  <a:pt x="2204391" y="687118"/>
                </a:lnTo>
                <a:lnTo>
                  <a:pt x="2204074" y="673440"/>
                </a:lnTo>
                <a:lnTo>
                  <a:pt x="2204709" y="659127"/>
                </a:lnTo>
                <a:lnTo>
                  <a:pt x="2205343" y="651493"/>
                </a:lnTo>
                <a:lnTo>
                  <a:pt x="2206295" y="643541"/>
                </a:lnTo>
                <a:lnTo>
                  <a:pt x="2209150" y="646086"/>
                </a:lnTo>
                <a:lnTo>
                  <a:pt x="2212323" y="647676"/>
                </a:lnTo>
                <a:lnTo>
                  <a:pt x="2215495" y="649267"/>
                </a:lnTo>
                <a:lnTo>
                  <a:pt x="2218985" y="650539"/>
                </a:lnTo>
                <a:lnTo>
                  <a:pt x="2222475" y="651493"/>
                </a:lnTo>
                <a:lnTo>
                  <a:pt x="2225965" y="652129"/>
                </a:lnTo>
                <a:lnTo>
                  <a:pt x="2229772" y="652447"/>
                </a:lnTo>
                <a:lnTo>
                  <a:pt x="2233896" y="652447"/>
                </a:lnTo>
                <a:lnTo>
                  <a:pt x="2238020" y="652447"/>
                </a:lnTo>
                <a:lnTo>
                  <a:pt x="2242145" y="652129"/>
                </a:lnTo>
                <a:lnTo>
                  <a:pt x="2251028" y="650539"/>
                </a:lnTo>
                <a:lnTo>
                  <a:pt x="2259911" y="648312"/>
                </a:lnTo>
                <a:lnTo>
                  <a:pt x="2269746" y="645132"/>
                </a:lnTo>
                <a:lnTo>
                  <a:pt x="2279581" y="641315"/>
                </a:lnTo>
                <a:lnTo>
                  <a:pt x="2289733" y="637180"/>
                </a:lnTo>
                <a:lnTo>
                  <a:pt x="2300519" y="632726"/>
                </a:lnTo>
                <a:lnTo>
                  <a:pt x="2310989" y="627955"/>
                </a:lnTo>
                <a:lnTo>
                  <a:pt x="2333514" y="616823"/>
                </a:lnTo>
                <a:lnTo>
                  <a:pt x="2356991" y="605690"/>
                </a:lnTo>
                <a:lnTo>
                  <a:pt x="2345569" y="610461"/>
                </a:lnTo>
                <a:lnTo>
                  <a:pt x="2334466" y="615868"/>
                </a:lnTo>
                <a:lnTo>
                  <a:pt x="2324948" y="620322"/>
                </a:lnTo>
                <a:lnTo>
                  <a:pt x="2315430" y="624138"/>
                </a:lnTo>
                <a:lnTo>
                  <a:pt x="2306865" y="626683"/>
                </a:lnTo>
                <a:lnTo>
                  <a:pt x="2298616" y="628910"/>
                </a:lnTo>
                <a:lnTo>
                  <a:pt x="2290367" y="630182"/>
                </a:lnTo>
                <a:lnTo>
                  <a:pt x="2282436" y="630818"/>
                </a:lnTo>
                <a:lnTo>
                  <a:pt x="2275456" y="630818"/>
                </a:lnTo>
                <a:lnTo>
                  <a:pt x="2268160" y="630500"/>
                </a:lnTo>
                <a:lnTo>
                  <a:pt x="2261497" y="629228"/>
                </a:lnTo>
                <a:lnTo>
                  <a:pt x="2255152" y="627955"/>
                </a:lnTo>
                <a:lnTo>
                  <a:pt x="2248807" y="626047"/>
                </a:lnTo>
                <a:lnTo>
                  <a:pt x="2243096" y="623502"/>
                </a:lnTo>
                <a:lnTo>
                  <a:pt x="2237703" y="620640"/>
                </a:lnTo>
                <a:lnTo>
                  <a:pt x="2232627" y="617777"/>
                </a:lnTo>
                <a:lnTo>
                  <a:pt x="2227551" y="614278"/>
                </a:lnTo>
                <a:lnTo>
                  <a:pt x="2223109" y="610779"/>
                </a:lnTo>
                <a:lnTo>
                  <a:pt x="2218985" y="607280"/>
                </a:lnTo>
                <a:lnTo>
                  <a:pt x="2214861" y="603463"/>
                </a:lnTo>
                <a:lnTo>
                  <a:pt x="2211371" y="599647"/>
                </a:lnTo>
                <a:lnTo>
                  <a:pt x="2208198" y="595512"/>
                </a:lnTo>
                <a:lnTo>
                  <a:pt x="2202171" y="587878"/>
                </a:lnTo>
                <a:lnTo>
                  <a:pt x="2197412" y="581198"/>
                </a:lnTo>
                <a:lnTo>
                  <a:pt x="2193922" y="574837"/>
                </a:lnTo>
                <a:lnTo>
                  <a:pt x="2191701" y="569747"/>
                </a:lnTo>
                <a:lnTo>
                  <a:pt x="2189163" y="565612"/>
                </a:lnTo>
                <a:lnTo>
                  <a:pt x="2191067" y="564340"/>
                </a:lnTo>
                <a:lnTo>
                  <a:pt x="2196777" y="559569"/>
                </a:lnTo>
                <a:lnTo>
                  <a:pt x="2205343" y="552889"/>
                </a:lnTo>
                <a:lnTo>
                  <a:pt x="2217399" y="544301"/>
                </a:lnTo>
                <a:lnTo>
                  <a:pt x="2225013" y="539848"/>
                </a:lnTo>
                <a:lnTo>
                  <a:pt x="2232944" y="534759"/>
                </a:lnTo>
                <a:lnTo>
                  <a:pt x="2241510" y="529670"/>
                </a:lnTo>
                <a:lnTo>
                  <a:pt x="2251028" y="524580"/>
                </a:lnTo>
                <a:lnTo>
                  <a:pt x="2260545" y="519491"/>
                </a:lnTo>
                <a:lnTo>
                  <a:pt x="2271649" y="514402"/>
                </a:lnTo>
                <a:lnTo>
                  <a:pt x="2282753" y="509631"/>
                </a:lnTo>
                <a:lnTo>
                  <a:pt x="2294809" y="505178"/>
                </a:lnTo>
                <a:lnTo>
                  <a:pt x="2307182" y="501043"/>
                </a:lnTo>
                <a:lnTo>
                  <a:pt x="2320506" y="497226"/>
                </a:lnTo>
                <a:lnTo>
                  <a:pt x="2334466" y="493409"/>
                </a:lnTo>
                <a:lnTo>
                  <a:pt x="2348742" y="490864"/>
                </a:lnTo>
                <a:lnTo>
                  <a:pt x="2363336" y="488638"/>
                </a:lnTo>
                <a:lnTo>
                  <a:pt x="2378564" y="486729"/>
                </a:lnTo>
                <a:lnTo>
                  <a:pt x="2394109" y="485775"/>
                </a:lnTo>
                <a:close/>
                <a:moveTo>
                  <a:pt x="1429386" y="468312"/>
                </a:moveTo>
                <a:lnTo>
                  <a:pt x="1442086" y="468630"/>
                </a:lnTo>
                <a:lnTo>
                  <a:pt x="1454151" y="469899"/>
                </a:lnTo>
                <a:lnTo>
                  <a:pt x="1465898" y="471802"/>
                </a:lnTo>
                <a:lnTo>
                  <a:pt x="1477011" y="474023"/>
                </a:lnTo>
                <a:lnTo>
                  <a:pt x="1487488" y="476562"/>
                </a:lnTo>
                <a:lnTo>
                  <a:pt x="1497649" y="479734"/>
                </a:lnTo>
                <a:lnTo>
                  <a:pt x="1507491" y="482907"/>
                </a:lnTo>
                <a:lnTo>
                  <a:pt x="1516699" y="486714"/>
                </a:lnTo>
                <a:lnTo>
                  <a:pt x="1525271" y="490522"/>
                </a:lnTo>
                <a:lnTo>
                  <a:pt x="1533526" y="494646"/>
                </a:lnTo>
                <a:lnTo>
                  <a:pt x="1541146" y="498771"/>
                </a:lnTo>
                <a:lnTo>
                  <a:pt x="1547814" y="502896"/>
                </a:lnTo>
                <a:lnTo>
                  <a:pt x="1554164" y="507020"/>
                </a:lnTo>
                <a:lnTo>
                  <a:pt x="1565594" y="514952"/>
                </a:lnTo>
                <a:lnTo>
                  <a:pt x="1574166" y="522250"/>
                </a:lnTo>
                <a:lnTo>
                  <a:pt x="1580516" y="527643"/>
                </a:lnTo>
                <a:lnTo>
                  <a:pt x="1585596" y="532720"/>
                </a:lnTo>
                <a:lnTo>
                  <a:pt x="1584009" y="536527"/>
                </a:lnTo>
                <a:lnTo>
                  <a:pt x="1581469" y="540652"/>
                </a:lnTo>
                <a:lnTo>
                  <a:pt x="1578611" y="546046"/>
                </a:lnTo>
                <a:lnTo>
                  <a:pt x="1574484" y="552074"/>
                </a:lnTo>
                <a:lnTo>
                  <a:pt x="1569721" y="558419"/>
                </a:lnTo>
                <a:lnTo>
                  <a:pt x="1563054" y="565399"/>
                </a:lnTo>
                <a:lnTo>
                  <a:pt x="1559879" y="568572"/>
                </a:lnTo>
                <a:lnTo>
                  <a:pt x="1556386" y="571745"/>
                </a:lnTo>
                <a:lnTo>
                  <a:pt x="1552259" y="575235"/>
                </a:lnTo>
                <a:lnTo>
                  <a:pt x="1548131" y="577773"/>
                </a:lnTo>
                <a:lnTo>
                  <a:pt x="1543686" y="580311"/>
                </a:lnTo>
                <a:lnTo>
                  <a:pt x="1538606" y="582850"/>
                </a:lnTo>
                <a:lnTo>
                  <a:pt x="1533844" y="584753"/>
                </a:lnTo>
                <a:lnTo>
                  <a:pt x="1528446" y="586657"/>
                </a:lnTo>
                <a:lnTo>
                  <a:pt x="1523049" y="588243"/>
                </a:lnTo>
                <a:lnTo>
                  <a:pt x="1517016" y="588878"/>
                </a:lnTo>
                <a:lnTo>
                  <a:pt x="1510984" y="589512"/>
                </a:lnTo>
                <a:lnTo>
                  <a:pt x="1503999" y="589512"/>
                </a:lnTo>
                <a:lnTo>
                  <a:pt x="1497331" y="588878"/>
                </a:lnTo>
                <a:lnTo>
                  <a:pt x="1490346" y="587926"/>
                </a:lnTo>
                <a:lnTo>
                  <a:pt x="1483043" y="586022"/>
                </a:lnTo>
                <a:lnTo>
                  <a:pt x="1475106" y="583484"/>
                </a:lnTo>
                <a:lnTo>
                  <a:pt x="1467168" y="580311"/>
                </a:lnTo>
                <a:lnTo>
                  <a:pt x="1458913" y="576187"/>
                </a:lnTo>
                <a:lnTo>
                  <a:pt x="1449388" y="571745"/>
                </a:lnTo>
                <a:lnTo>
                  <a:pt x="1439546" y="567620"/>
                </a:lnTo>
                <a:lnTo>
                  <a:pt x="1479233" y="586657"/>
                </a:lnTo>
                <a:lnTo>
                  <a:pt x="1498284" y="594906"/>
                </a:lnTo>
                <a:lnTo>
                  <a:pt x="1506856" y="598714"/>
                </a:lnTo>
                <a:lnTo>
                  <a:pt x="1515746" y="601886"/>
                </a:lnTo>
                <a:lnTo>
                  <a:pt x="1524001" y="604425"/>
                </a:lnTo>
                <a:lnTo>
                  <a:pt x="1531939" y="606646"/>
                </a:lnTo>
                <a:lnTo>
                  <a:pt x="1539559" y="607915"/>
                </a:lnTo>
                <a:lnTo>
                  <a:pt x="1546544" y="608232"/>
                </a:lnTo>
                <a:lnTo>
                  <a:pt x="1550036" y="608232"/>
                </a:lnTo>
                <a:lnTo>
                  <a:pt x="1553529" y="607915"/>
                </a:lnTo>
                <a:lnTo>
                  <a:pt x="1556704" y="607280"/>
                </a:lnTo>
                <a:lnTo>
                  <a:pt x="1559879" y="606646"/>
                </a:lnTo>
                <a:lnTo>
                  <a:pt x="1562736" y="605376"/>
                </a:lnTo>
                <a:lnTo>
                  <a:pt x="1565594" y="604107"/>
                </a:lnTo>
                <a:lnTo>
                  <a:pt x="1568451" y="602521"/>
                </a:lnTo>
                <a:lnTo>
                  <a:pt x="1570674" y="600617"/>
                </a:lnTo>
                <a:lnTo>
                  <a:pt x="1571944" y="607280"/>
                </a:lnTo>
                <a:lnTo>
                  <a:pt x="1572261" y="614260"/>
                </a:lnTo>
                <a:lnTo>
                  <a:pt x="1572896" y="626634"/>
                </a:lnTo>
                <a:lnTo>
                  <a:pt x="1572579" y="638691"/>
                </a:lnTo>
                <a:lnTo>
                  <a:pt x="1572261" y="649795"/>
                </a:lnTo>
                <a:lnTo>
                  <a:pt x="1574166" y="647574"/>
                </a:lnTo>
                <a:lnTo>
                  <a:pt x="1575119" y="647257"/>
                </a:lnTo>
                <a:lnTo>
                  <a:pt x="1576389" y="646940"/>
                </a:lnTo>
                <a:lnTo>
                  <a:pt x="1577976" y="647257"/>
                </a:lnTo>
                <a:lnTo>
                  <a:pt x="1578929" y="647892"/>
                </a:lnTo>
                <a:lnTo>
                  <a:pt x="1580516" y="649478"/>
                </a:lnTo>
                <a:lnTo>
                  <a:pt x="1582104" y="651382"/>
                </a:lnTo>
                <a:lnTo>
                  <a:pt x="1583056" y="653920"/>
                </a:lnTo>
                <a:lnTo>
                  <a:pt x="1584326" y="656775"/>
                </a:lnTo>
                <a:lnTo>
                  <a:pt x="1586549" y="663756"/>
                </a:lnTo>
                <a:lnTo>
                  <a:pt x="1588136" y="672322"/>
                </a:lnTo>
                <a:lnTo>
                  <a:pt x="1589406" y="682158"/>
                </a:lnTo>
                <a:lnTo>
                  <a:pt x="1590359" y="692945"/>
                </a:lnTo>
                <a:lnTo>
                  <a:pt x="1590676" y="704685"/>
                </a:lnTo>
                <a:lnTo>
                  <a:pt x="1590359" y="716424"/>
                </a:lnTo>
                <a:lnTo>
                  <a:pt x="1589406" y="727211"/>
                </a:lnTo>
                <a:lnTo>
                  <a:pt x="1588136" y="737047"/>
                </a:lnTo>
                <a:lnTo>
                  <a:pt x="1586549" y="745613"/>
                </a:lnTo>
                <a:lnTo>
                  <a:pt x="1584326" y="752911"/>
                </a:lnTo>
                <a:lnTo>
                  <a:pt x="1583056" y="755449"/>
                </a:lnTo>
                <a:lnTo>
                  <a:pt x="1582104" y="757987"/>
                </a:lnTo>
                <a:lnTo>
                  <a:pt x="1580516" y="759891"/>
                </a:lnTo>
                <a:lnTo>
                  <a:pt x="1578929" y="761477"/>
                </a:lnTo>
                <a:lnTo>
                  <a:pt x="1577976" y="762112"/>
                </a:lnTo>
                <a:lnTo>
                  <a:pt x="1576389" y="762429"/>
                </a:lnTo>
                <a:lnTo>
                  <a:pt x="1574801" y="762112"/>
                </a:lnTo>
                <a:lnTo>
                  <a:pt x="1573214" y="761160"/>
                </a:lnTo>
                <a:lnTo>
                  <a:pt x="1571944" y="759573"/>
                </a:lnTo>
                <a:lnTo>
                  <a:pt x="1570674" y="757670"/>
                </a:lnTo>
                <a:lnTo>
                  <a:pt x="1569086" y="755131"/>
                </a:lnTo>
                <a:lnTo>
                  <a:pt x="1568134" y="751641"/>
                </a:lnTo>
                <a:lnTo>
                  <a:pt x="1565911" y="744027"/>
                </a:lnTo>
                <a:lnTo>
                  <a:pt x="1564641" y="754180"/>
                </a:lnTo>
                <a:lnTo>
                  <a:pt x="1562736" y="764015"/>
                </a:lnTo>
                <a:lnTo>
                  <a:pt x="1560831" y="773851"/>
                </a:lnTo>
                <a:lnTo>
                  <a:pt x="1558291" y="782735"/>
                </a:lnTo>
                <a:lnTo>
                  <a:pt x="1555751" y="792253"/>
                </a:lnTo>
                <a:lnTo>
                  <a:pt x="1552576" y="800819"/>
                </a:lnTo>
                <a:lnTo>
                  <a:pt x="1549401" y="809703"/>
                </a:lnTo>
                <a:lnTo>
                  <a:pt x="1545591" y="817953"/>
                </a:lnTo>
                <a:lnTo>
                  <a:pt x="1541781" y="825567"/>
                </a:lnTo>
                <a:lnTo>
                  <a:pt x="1537336" y="833182"/>
                </a:lnTo>
                <a:lnTo>
                  <a:pt x="1532574" y="840797"/>
                </a:lnTo>
                <a:lnTo>
                  <a:pt x="1528129" y="847777"/>
                </a:lnTo>
                <a:lnTo>
                  <a:pt x="1523366" y="854757"/>
                </a:lnTo>
                <a:lnTo>
                  <a:pt x="1518286" y="861102"/>
                </a:lnTo>
                <a:lnTo>
                  <a:pt x="1513206" y="867448"/>
                </a:lnTo>
                <a:lnTo>
                  <a:pt x="1507491" y="873476"/>
                </a:lnTo>
                <a:lnTo>
                  <a:pt x="1502411" y="878553"/>
                </a:lnTo>
                <a:lnTo>
                  <a:pt x="1496696" y="883946"/>
                </a:lnTo>
                <a:lnTo>
                  <a:pt x="1490663" y="889340"/>
                </a:lnTo>
                <a:lnTo>
                  <a:pt x="1484948" y="893782"/>
                </a:lnTo>
                <a:lnTo>
                  <a:pt x="1478916" y="897907"/>
                </a:lnTo>
                <a:lnTo>
                  <a:pt x="1472883" y="901714"/>
                </a:lnTo>
                <a:lnTo>
                  <a:pt x="1466851" y="905521"/>
                </a:lnTo>
                <a:lnTo>
                  <a:pt x="1460818" y="908377"/>
                </a:lnTo>
                <a:lnTo>
                  <a:pt x="1454786" y="911232"/>
                </a:lnTo>
                <a:lnTo>
                  <a:pt x="1448753" y="914088"/>
                </a:lnTo>
                <a:lnTo>
                  <a:pt x="1442721" y="915991"/>
                </a:lnTo>
                <a:lnTo>
                  <a:pt x="1437323" y="917895"/>
                </a:lnTo>
                <a:lnTo>
                  <a:pt x="1431291" y="918847"/>
                </a:lnTo>
                <a:lnTo>
                  <a:pt x="1425576" y="920116"/>
                </a:lnTo>
                <a:lnTo>
                  <a:pt x="1419861" y="920751"/>
                </a:lnTo>
                <a:lnTo>
                  <a:pt x="1414146" y="920751"/>
                </a:lnTo>
                <a:lnTo>
                  <a:pt x="1409701" y="920751"/>
                </a:lnTo>
                <a:lnTo>
                  <a:pt x="1404938" y="920116"/>
                </a:lnTo>
                <a:lnTo>
                  <a:pt x="1399858" y="918847"/>
                </a:lnTo>
                <a:lnTo>
                  <a:pt x="1394778" y="917260"/>
                </a:lnTo>
                <a:lnTo>
                  <a:pt x="1389381" y="915357"/>
                </a:lnTo>
                <a:lnTo>
                  <a:pt x="1384301" y="913770"/>
                </a:lnTo>
                <a:lnTo>
                  <a:pt x="1378903" y="910915"/>
                </a:lnTo>
                <a:lnTo>
                  <a:pt x="1373188" y="908059"/>
                </a:lnTo>
                <a:lnTo>
                  <a:pt x="1367791" y="904569"/>
                </a:lnTo>
                <a:lnTo>
                  <a:pt x="1362076" y="900762"/>
                </a:lnTo>
                <a:lnTo>
                  <a:pt x="1356043" y="896955"/>
                </a:lnTo>
                <a:lnTo>
                  <a:pt x="1350328" y="892513"/>
                </a:lnTo>
                <a:lnTo>
                  <a:pt x="1344296" y="888071"/>
                </a:lnTo>
                <a:lnTo>
                  <a:pt x="1338581" y="883312"/>
                </a:lnTo>
                <a:lnTo>
                  <a:pt x="1333183" y="877918"/>
                </a:lnTo>
                <a:lnTo>
                  <a:pt x="1327468" y="872207"/>
                </a:lnTo>
                <a:lnTo>
                  <a:pt x="1321753" y="866813"/>
                </a:lnTo>
                <a:lnTo>
                  <a:pt x="1316038" y="860151"/>
                </a:lnTo>
                <a:lnTo>
                  <a:pt x="1310641" y="854122"/>
                </a:lnTo>
                <a:lnTo>
                  <a:pt x="1305243" y="847459"/>
                </a:lnTo>
                <a:lnTo>
                  <a:pt x="1299846" y="840797"/>
                </a:lnTo>
                <a:lnTo>
                  <a:pt x="1295083" y="833499"/>
                </a:lnTo>
                <a:lnTo>
                  <a:pt x="1290321" y="826202"/>
                </a:lnTo>
                <a:lnTo>
                  <a:pt x="1285558" y="818587"/>
                </a:lnTo>
                <a:lnTo>
                  <a:pt x="1281113" y="810655"/>
                </a:lnTo>
                <a:lnTo>
                  <a:pt x="1276668" y="802723"/>
                </a:lnTo>
                <a:lnTo>
                  <a:pt x="1272858" y="794474"/>
                </a:lnTo>
                <a:lnTo>
                  <a:pt x="1269048" y="786225"/>
                </a:lnTo>
                <a:lnTo>
                  <a:pt x="1265238" y="777658"/>
                </a:lnTo>
                <a:lnTo>
                  <a:pt x="1262381" y="768457"/>
                </a:lnTo>
                <a:lnTo>
                  <a:pt x="1259523" y="759891"/>
                </a:lnTo>
                <a:lnTo>
                  <a:pt x="1256983" y="751007"/>
                </a:lnTo>
                <a:lnTo>
                  <a:pt x="1254761" y="757035"/>
                </a:lnTo>
                <a:lnTo>
                  <a:pt x="1252538" y="761477"/>
                </a:lnTo>
                <a:lnTo>
                  <a:pt x="1251586" y="763063"/>
                </a:lnTo>
                <a:lnTo>
                  <a:pt x="1250316" y="764015"/>
                </a:lnTo>
                <a:lnTo>
                  <a:pt x="1248728" y="764967"/>
                </a:lnTo>
                <a:lnTo>
                  <a:pt x="1247776" y="765284"/>
                </a:lnTo>
                <a:lnTo>
                  <a:pt x="1246188" y="764967"/>
                </a:lnTo>
                <a:lnTo>
                  <a:pt x="1244601" y="764015"/>
                </a:lnTo>
                <a:lnTo>
                  <a:pt x="1243648" y="762429"/>
                </a:lnTo>
                <a:lnTo>
                  <a:pt x="1242061" y="760842"/>
                </a:lnTo>
                <a:lnTo>
                  <a:pt x="1240791" y="758304"/>
                </a:lnTo>
                <a:lnTo>
                  <a:pt x="1239838" y="755449"/>
                </a:lnTo>
                <a:lnTo>
                  <a:pt x="1237616" y="748151"/>
                </a:lnTo>
                <a:lnTo>
                  <a:pt x="1236028" y="739585"/>
                </a:lnTo>
                <a:lnTo>
                  <a:pt x="1234441" y="729749"/>
                </a:lnTo>
                <a:lnTo>
                  <a:pt x="1233806" y="718962"/>
                </a:lnTo>
                <a:lnTo>
                  <a:pt x="1233488" y="707223"/>
                </a:lnTo>
                <a:lnTo>
                  <a:pt x="1233806" y="695801"/>
                </a:lnTo>
                <a:lnTo>
                  <a:pt x="1234441" y="684696"/>
                </a:lnTo>
                <a:lnTo>
                  <a:pt x="1236028" y="675178"/>
                </a:lnTo>
                <a:lnTo>
                  <a:pt x="1237616" y="666294"/>
                </a:lnTo>
                <a:lnTo>
                  <a:pt x="1239838" y="659631"/>
                </a:lnTo>
                <a:lnTo>
                  <a:pt x="1240791" y="656775"/>
                </a:lnTo>
                <a:lnTo>
                  <a:pt x="1242061" y="653920"/>
                </a:lnTo>
                <a:lnTo>
                  <a:pt x="1243648" y="652016"/>
                </a:lnTo>
                <a:lnTo>
                  <a:pt x="1244601" y="651064"/>
                </a:lnTo>
                <a:lnTo>
                  <a:pt x="1246188" y="649795"/>
                </a:lnTo>
                <a:lnTo>
                  <a:pt x="1247776" y="649478"/>
                </a:lnTo>
                <a:lnTo>
                  <a:pt x="1248411" y="649795"/>
                </a:lnTo>
                <a:lnTo>
                  <a:pt x="1249363" y="650113"/>
                </a:lnTo>
                <a:lnTo>
                  <a:pt x="1249681" y="642815"/>
                </a:lnTo>
                <a:lnTo>
                  <a:pt x="1250316" y="635201"/>
                </a:lnTo>
                <a:lnTo>
                  <a:pt x="1250951" y="628220"/>
                </a:lnTo>
                <a:lnTo>
                  <a:pt x="1252221" y="622192"/>
                </a:lnTo>
                <a:lnTo>
                  <a:pt x="1251586" y="613943"/>
                </a:lnTo>
                <a:lnTo>
                  <a:pt x="1250951" y="606328"/>
                </a:lnTo>
                <a:lnTo>
                  <a:pt x="1250951" y="599031"/>
                </a:lnTo>
                <a:lnTo>
                  <a:pt x="1251586" y="592368"/>
                </a:lnTo>
                <a:lnTo>
                  <a:pt x="1251903" y="586022"/>
                </a:lnTo>
                <a:lnTo>
                  <a:pt x="1252856" y="579994"/>
                </a:lnTo>
                <a:lnTo>
                  <a:pt x="1254126" y="574283"/>
                </a:lnTo>
                <a:lnTo>
                  <a:pt x="1255713" y="569207"/>
                </a:lnTo>
                <a:lnTo>
                  <a:pt x="1257618" y="564130"/>
                </a:lnTo>
                <a:lnTo>
                  <a:pt x="1259841" y="559688"/>
                </a:lnTo>
                <a:lnTo>
                  <a:pt x="1262063" y="555564"/>
                </a:lnTo>
                <a:lnTo>
                  <a:pt x="1264603" y="551756"/>
                </a:lnTo>
                <a:lnTo>
                  <a:pt x="1267143" y="548266"/>
                </a:lnTo>
                <a:lnTo>
                  <a:pt x="1270636" y="545411"/>
                </a:lnTo>
                <a:lnTo>
                  <a:pt x="1273811" y="542873"/>
                </a:lnTo>
                <a:lnTo>
                  <a:pt x="1277303" y="540017"/>
                </a:lnTo>
                <a:lnTo>
                  <a:pt x="1261746" y="540017"/>
                </a:lnTo>
                <a:lnTo>
                  <a:pt x="1249363" y="540969"/>
                </a:lnTo>
                <a:lnTo>
                  <a:pt x="1239203" y="541286"/>
                </a:lnTo>
                <a:lnTo>
                  <a:pt x="1246188" y="537479"/>
                </a:lnTo>
                <a:lnTo>
                  <a:pt x="1253808" y="532720"/>
                </a:lnTo>
                <a:lnTo>
                  <a:pt x="1261111" y="527326"/>
                </a:lnTo>
                <a:lnTo>
                  <a:pt x="1268413" y="521615"/>
                </a:lnTo>
                <a:lnTo>
                  <a:pt x="1282701" y="511145"/>
                </a:lnTo>
                <a:lnTo>
                  <a:pt x="1289368" y="506703"/>
                </a:lnTo>
                <a:lnTo>
                  <a:pt x="1295401" y="502896"/>
                </a:lnTo>
                <a:lnTo>
                  <a:pt x="1303973" y="498771"/>
                </a:lnTo>
                <a:lnTo>
                  <a:pt x="1311911" y="494964"/>
                </a:lnTo>
                <a:lnTo>
                  <a:pt x="1320166" y="491156"/>
                </a:lnTo>
                <a:lnTo>
                  <a:pt x="1328103" y="487984"/>
                </a:lnTo>
                <a:lnTo>
                  <a:pt x="1336041" y="484811"/>
                </a:lnTo>
                <a:lnTo>
                  <a:pt x="1343978" y="482273"/>
                </a:lnTo>
                <a:lnTo>
                  <a:pt x="1359536" y="477831"/>
                </a:lnTo>
                <a:lnTo>
                  <a:pt x="1374141" y="474023"/>
                </a:lnTo>
                <a:lnTo>
                  <a:pt x="1388746" y="471485"/>
                </a:lnTo>
                <a:lnTo>
                  <a:pt x="1402716" y="469581"/>
                </a:lnTo>
                <a:lnTo>
                  <a:pt x="1416051" y="468630"/>
                </a:lnTo>
                <a:lnTo>
                  <a:pt x="1429386" y="468312"/>
                </a:lnTo>
                <a:close/>
                <a:moveTo>
                  <a:pt x="750948" y="302529"/>
                </a:moveTo>
                <a:lnTo>
                  <a:pt x="748724" y="302846"/>
                </a:lnTo>
                <a:lnTo>
                  <a:pt x="746818" y="303797"/>
                </a:lnTo>
                <a:lnTo>
                  <a:pt x="744912" y="304431"/>
                </a:lnTo>
                <a:lnTo>
                  <a:pt x="743641" y="306017"/>
                </a:lnTo>
                <a:lnTo>
                  <a:pt x="742053" y="307602"/>
                </a:lnTo>
                <a:lnTo>
                  <a:pt x="741417" y="309188"/>
                </a:lnTo>
                <a:lnTo>
                  <a:pt x="740464" y="311725"/>
                </a:lnTo>
                <a:lnTo>
                  <a:pt x="740464" y="313310"/>
                </a:lnTo>
                <a:lnTo>
                  <a:pt x="740464" y="315847"/>
                </a:lnTo>
                <a:lnTo>
                  <a:pt x="741417" y="318067"/>
                </a:lnTo>
                <a:lnTo>
                  <a:pt x="742053" y="319970"/>
                </a:lnTo>
                <a:lnTo>
                  <a:pt x="743641" y="321238"/>
                </a:lnTo>
                <a:lnTo>
                  <a:pt x="744912" y="322507"/>
                </a:lnTo>
                <a:lnTo>
                  <a:pt x="746818" y="323458"/>
                </a:lnTo>
                <a:lnTo>
                  <a:pt x="748724" y="324410"/>
                </a:lnTo>
                <a:lnTo>
                  <a:pt x="750948" y="324410"/>
                </a:lnTo>
                <a:lnTo>
                  <a:pt x="988881" y="324410"/>
                </a:lnTo>
                <a:lnTo>
                  <a:pt x="991105" y="324410"/>
                </a:lnTo>
                <a:lnTo>
                  <a:pt x="993011" y="323458"/>
                </a:lnTo>
                <a:lnTo>
                  <a:pt x="994917" y="322507"/>
                </a:lnTo>
                <a:lnTo>
                  <a:pt x="996506" y="321238"/>
                </a:lnTo>
                <a:lnTo>
                  <a:pt x="997776" y="319970"/>
                </a:lnTo>
                <a:lnTo>
                  <a:pt x="998729" y="318067"/>
                </a:lnTo>
                <a:lnTo>
                  <a:pt x="999365" y="315847"/>
                </a:lnTo>
                <a:lnTo>
                  <a:pt x="999365" y="313310"/>
                </a:lnTo>
                <a:lnTo>
                  <a:pt x="999365" y="311725"/>
                </a:lnTo>
                <a:lnTo>
                  <a:pt x="998729" y="309188"/>
                </a:lnTo>
                <a:lnTo>
                  <a:pt x="997776" y="307602"/>
                </a:lnTo>
                <a:lnTo>
                  <a:pt x="996506" y="306017"/>
                </a:lnTo>
                <a:lnTo>
                  <a:pt x="994917" y="304431"/>
                </a:lnTo>
                <a:lnTo>
                  <a:pt x="993011" y="303797"/>
                </a:lnTo>
                <a:lnTo>
                  <a:pt x="991105" y="302846"/>
                </a:lnTo>
                <a:lnTo>
                  <a:pt x="988881" y="302529"/>
                </a:lnTo>
                <a:lnTo>
                  <a:pt x="750948" y="302529"/>
                </a:lnTo>
                <a:close/>
                <a:moveTo>
                  <a:pt x="748724" y="219444"/>
                </a:moveTo>
                <a:lnTo>
                  <a:pt x="746818" y="220396"/>
                </a:lnTo>
                <a:lnTo>
                  <a:pt x="744912" y="221347"/>
                </a:lnTo>
                <a:lnTo>
                  <a:pt x="743641" y="222615"/>
                </a:lnTo>
                <a:lnTo>
                  <a:pt x="742053" y="224201"/>
                </a:lnTo>
                <a:lnTo>
                  <a:pt x="741417" y="226104"/>
                </a:lnTo>
                <a:lnTo>
                  <a:pt x="740464" y="228323"/>
                </a:lnTo>
                <a:lnTo>
                  <a:pt x="740464" y="230543"/>
                </a:lnTo>
                <a:lnTo>
                  <a:pt x="740464" y="232763"/>
                </a:lnTo>
                <a:lnTo>
                  <a:pt x="741417" y="234666"/>
                </a:lnTo>
                <a:lnTo>
                  <a:pt x="742053" y="236568"/>
                </a:lnTo>
                <a:lnTo>
                  <a:pt x="743641" y="237837"/>
                </a:lnTo>
                <a:lnTo>
                  <a:pt x="744912" y="239423"/>
                </a:lnTo>
                <a:lnTo>
                  <a:pt x="746818" y="240374"/>
                </a:lnTo>
                <a:lnTo>
                  <a:pt x="748724" y="241008"/>
                </a:lnTo>
                <a:lnTo>
                  <a:pt x="750948" y="241325"/>
                </a:lnTo>
                <a:lnTo>
                  <a:pt x="1133738" y="241325"/>
                </a:lnTo>
                <a:lnTo>
                  <a:pt x="1135644" y="241008"/>
                </a:lnTo>
                <a:lnTo>
                  <a:pt x="1137868" y="240374"/>
                </a:lnTo>
                <a:lnTo>
                  <a:pt x="1139456" y="239423"/>
                </a:lnTo>
                <a:lnTo>
                  <a:pt x="1141045" y="237837"/>
                </a:lnTo>
                <a:lnTo>
                  <a:pt x="1142316" y="236568"/>
                </a:lnTo>
                <a:lnTo>
                  <a:pt x="1143586" y="234666"/>
                </a:lnTo>
                <a:lnTo>
                  <a:pt x="1143904" y="232763"/>
                </a:lnTo>
                <a:lnTo>
                  <a:pt x="1144222" y="230543"/>
                </a:lnTo>
                <a:lnTo>
                  <a:pt x="1143904" y="228323"/>
                </a:lnTo>
                <a:lnTo>
                  <a:pt x="1143586" y="226104"/>
                </a:lnTo>
                <a:lnTo>
                  <a:pt x="1142316" y="224201"/>
                </a:lnTo>
                <a:lnTo>
                  <a:pt x="1141045" y="222615"/>
                </a:lnTo>
                <a:lnTo>
                  <a:pt x="1139456" y="221347"/>
                </a:lnTo>
                <a:lnTo>
                  <a:pt x="1137868" y="220396"/>
                </a:lnTo>
                <a:lnTo>
                  <a:pt x="1135644" y="219444"/>
                </a:lnTo>
                <a:lnTo>
                  <a:pt x="1133738" y="219444"/>
                </a:lnTo>
                <a:lnTo>
                  <a:pt x="750948" y="219444"/>
                </a:lnTo>
                <a:lnTo>
                  <a:pt x="748724" y="219444"/>
                </a:lnTo>
                <a:close/>
                <a:moveTo>
                  <a:pt x="748724" y="141751"/>
                </a:moveTo>
                <a:lnTo>
                  <a:pt x="746818" y="142702"/>
                </a:lnTo>
                <a:lnTo>
                  <a:pt x="744912" y="143336"/>
                </a:lnTo>
                <a:lnTo>
                  <a:pt x="743641" y="144922"/>
                </a:lnTo>
                <a:lnTo>
                  <a:pt x="742053" y="146191"/>
                </a:lnTo>
                <a:lnTo>
                  <a:pt x="741417" y="148093"/>
                </a:lnTo>
                <a:lnTo>
                  <a:pt x="740464" y="150630"/>
                </a:lnTo>
                <a:lnTo>
                  <a:pt x="740464" y="152216"/>
                </a:lnTo>
                <a:lnTo>
                  <a:pt x="740464" y="154753"/>
                </a:lnTo>
                <a:lnTo>
                  <a:pt x="741417" y="156972"/>
                </a:lnTo>
                <a:lnTo>
                  <a:pt x="742053" y="158875"/>
                </a:lnTo>
                <a:lnTo>
                  <a:pt x="743641" y="160144"/>
                </a:lnTo>
                <a:lnTo>
                  <a:pt x="744912" y="161729"/>
                </a:lnTo>
                <a:lnTo>
                  <a:pt x="746818" y="162363"/>
                </a:lnTo>
                <a:lnTo>
                  <a:pt x="748724" y="163315"/>
                </a:lnTo>
                <a:lnTo>
                  <a:pt x="750948" y="163315"/>
                </a:lnTo>
                <a:lnTo>
                  <a:pt x="1133738" y="163315"/>
                </a:lnTo>
                <a:lnTo>
                  <a:pt x="1135644" y="163315"/>
                </a:lnTo>
                <a:lnTo>
                  <a:pt x="1137868" y="162363"/>
                </a:lnTo>
                <a:lnTo>
                  <a:pt x="1139456" y="161729"/>
                </a:lnTo>
                <a:lnTo>
                  <a:pt x="1141045" y="160144"/>
                </a:lnTo>
                <a:lnTo>
                  <a:pt x="1142316" y="158875"/>
                </a:lnTo>
                <a:lnTo>
                  <a:pt x="1143586" y="156972"/>
                </a:lnTo>
                <a:lnTo>
                  <a:pt x="1143904" y="154753"/>
                </a:lnTo>
                <a:lnTo>
                  <a:pt x="1144222" y="152216"/>
                </a:lnTo>
                <a:lnTo>
                  <a:pt x="1143904" y="150630"/>
                </a:lnTo>
                <a:lnTo>
                  <a:pt x="1143586" y="148093"/>
                </a:lnTo>
                <a:lnTo>
                  <a:pt x="1142316" y="146191"/>
                </a:lnTo>
                <a:lnTo>
                  <a:pt x="1141045" y="144922"/>
                </a:lnTo>
                <a:lnTo>
                  <a:pt x="1139456" y="143336"/>
                </a:lnTo>
                <a:lnTo>
                  <a:pt x="1137868" y="142702"/>
                </a:lnTo>
                <a:lnTo>
                  <a:pt x="1135644" y="141751"/>
                </a:lnTo>
                <a:lnTo>
                  <a:pt x="1133738" y="141751"/>
                </a:lnTo>
                <a:lnTo>
                  <a:pt x="750948" y="141751"/>
                </a:lnTo>
                <a:lnTo>
                  <a:pt x="748724" y="141751"/>
                </a:lnTo>
                <a:close/>
                <a:moveTo>
                  <a:pt x="789068" y="0"/>
                </a:moveTo>
                <a:lnTo>
                  <a:pt x="1085770" y="0"/>
                </a:lnTo>
                <a:lnTo>
                  <a:pt x="1093712" y="317"/>
                </a:lnTo>
                <a:lnTo>
                  <a:pt x="1101336" y="635"/>
                </a:lnTo>
                <a:lnTo>
                  <a:pt x="1108960" y="1903"/>
                </a:lnTo>
                <a:lnTo>
                  <a:pt x="1116267" y="2854"/>
                </a:lnTo>
                <a:lnTo>
                  <a:pt x="1123573" y="4757"/>
                </a:lnTo>
                <a:lnTo>
                  <a:pt x="1130562" y="6660"/>
                </a:lnTo>
                <a:lnTo>
                  <a:pt x="1137868" y="8879"/>
                </a:lnTo>
                <a:lnTo>
                  <a:pt x="1144539" y="12051"/>
                </a:lnTo>
                <a:lnTo>
                  <a:pt x="1151210" y="14905"/>
                </a:lnTo>
                <a:lnTo>
                  <a:pt x="1157881" y="18393"/>
                </a:lnTo>
                <a:lnTo>
                  <a:pt x="1164235" y="21564"/>
                </a:lnTo>
                <a:lnTo>
                  <a:pt x="1170270" y="25687"/>
                </a:lnTo>
                <a:lnTo>
                  <a:pt x="1176306" y="29809"/>
                </a:lnTo>
                <a:lnTo>
                  <a:pt x="1181706" y="34566"/>
                </a:lnTo>
                <a:lnTo>
                  <a:pt x="1187424" y="39006"/>
                </a:lnTo>
                <a:lnTo>
                  <a:pt x="1192507" y="44079"/>
                </a:lnTo>
                <a:lnTo>
                  <a:pt x="1197590" y="49153"/>
                </a:lnTo>
                <a:lnTo>
                  <a:pt x="1202037" y="54861"/>
                </a:lnTo>
                <a:lnTo>
                  <a:pt x="1206802" y="60252"/>
                </a:lnTo>
                <a:lnTo>
                  <a:pt x="1210932" y="66277"/>
                </a:lnTo>
                <a:lnTo>
                  <a:pt x="1215062" y="72303"/>
                </a:lnTo>
                <a:lnTo>
                  <a:pt x="1218238" y="78645"/>
                </a:lnTo>
                <a:lnTo>
                  <a:pt x="1221733" y="84987"/>
                </a:lnTo>
                <a:lnTo>
                  <a:pt x="1224592" y="91964"/>
                </a:lnTo>
                <a:lnTo>
                  <a:pt x="1227768" y="98623"/>
                </a:lnTo>
                <a:lnTo>
                  <a:pt x="1229992" y="105917"/>
                </a:lnTo>
                <a:lnTo>
                  <a:pt x="1231898" y="112893"/>
                </a:lnTo>
                <a:lnTo>
                  <a:pt x="1233804" y="120187"/>
                </a:lnTo>
                <a:lnTo>
                  <a:pt x="1234757" y="127481"/>
                </a:lnTo>
                <a:lnTo>
                  <a:pt x="1236028" y="135092"/>
                </a:lnTo>
                <a:lnTo>
                  <a:pt x="1236345" y="143019"/>
                </a:lnTo>
                <a:lnTo>
                  <a:pt x="1236663" y="150630"/>
                </a:lnTo>
                <a:lnTo>
                  <a:pt x="1236663" y="296186"/>
                </a:lnTo>
                <a:lnTo>
                  <a:pt x="1236345" y="303797"/>
                </a:lnTo>
                <a:lnTo>
                  <a:pt x="1236028" y="311725"/>
                </a:lnTo>
                <a:lnTo>
                  <a:pt x="1234757" y="319019"/>
                </a:lnTo>
                <a:lnTo>
                  <a:pt x="1233804" y="326629"/>
                </a:lnTo>
                <a:lnTo>
                  <a:pt x="1231898" y="333606"/>
                </a:lnTo>
                <a:lnTo>
                  <a:pt x="1229992" y="340900"/>
                </a:lnTo>
                <a:lnTo>
                  <a:pt x="1227768" y="347876"/>
                </a:lnTo>
                <a:lnTo>
                  <a:pt x="1224592" y="354853"/>
                </a:lnTo>
                <a:lnTo>
                  <a:pt x="1221733" y="361512"/>
                </a:lnTo>
                <a:lnTo>
                  <a:pt x="1218238" y="367854"/>
                </a:lnTo>
                <a:lnTo>
                  <a:pt x="1215062" y="374197"/>
                </a:lnTo>
                <a:lnTo>
                  <a:pt x="1210932" y="380222"/>
                </a:lnTo>
                <a:lnTo>
                  <a:pt x="1206802" y="386247"/>
                </a:lnTo>
                <a:lnTo>
                  <a:pt x="1202037" y="391955"/>
                </a:lnTo>
                <a:lnTo>
                  <a:pt x="1197590" y="397346"/>
                </a:lnTo>
                <a:lnTo>
                  <a:pt x="1192507" y="402420"/>
                </a:lnTo>
                <a:lnTo>
                  <a:pt x="1187424" y="407811"/>
                </a:lnTo>
                <a:lnTo>
                  <a:pt x="1181706" y="412251"/>
                </a:lnTo>
                <a:lnTo>
                  <a:pt x="1176306" y="416690"/>
                </a:lnTo>
                <a:lnTo>
                  <a:pt x="1170270" y="420813"/>
                </a:lnTo>
                <a:lnTo>
                  <a:pt x="1164235" y="424935"/>
                </a:lnTo>
                <a:lnTo>
                  <a:pt x="1157881" y="428423"/>
                </a:lnTo>
                <a:lnTo>
                  <a:pt x="1151210" y="431912"/>
                </a:lnTo>
                <a:lnTo>
                  <a:pt x="1144539" y="434766"/>
                </a:lnTo>
                <a:lnTo>
                  <a:pt x="1137868" y="437303"/>
                </a:lnTo>
                <a:lnTo>
                  <a:pt x="1130562" y="440157"/>
                </a:lnTo>
                <a:lnTo>
                  <a:pt x="1123573" y="442059"/>
                </a:lnTo>
                <a:lnTo>
                  <a:pt x="1116267" y="443645"/>
                </a:lnTo>
                <a:lnTo>
                  <a:pt x="1108960" y="444914"/>
                </a:lnTo>
                <a:lnTo>
                  <a:pt x="1101336" y="446182"/>
                </a:lnTo>
                <a:lnTo>
                  <a:pt x="1093712" y="446499"/>
                </a:lnTo>
                <a:lnTo>
                  <a:pt x="1085770" y="446816"/>
                </a:lnTo>
                <a:lnTo>
                  <a:pt x="1060675" y="446816"/>
                </a:lnTo>
                <a:lnTo>
                  <a:pt x="1084500" y="523875"/>
                </a:lnTo>
                <a:lnTo>
                  <a:pt x="945996" y="446816"/>
                </a:lnTo>
                <a:lnTo>
                  <a:pt x="789068" y="446816"/>
                </a:lnTo>
                <a:lnTo>
                  <a:pt x="781444" y="446499"/>
                </a:lnTo>
                <a:lnTo>
                  <a:pt x="773502" y="446182"/>
                </a:lnTo>
                <a:lnTo>
                  <a:pt x="766196" y="444914"/>
                </a:lnTo>
                <a:lnTo>
                  <a:pt x="758889" y="443645"/>
                </a:lnTo>
                <a:lnTo>
                  <a:pt x="751583" y="442059"/>
                </a:lnTo>
                <a:lnTo>
                  <a:pt x="744277" y="440157"/>
                </a:lnTo>
                <a:lnTo>
                  <a:pt x="737288" y="437303"/>
                </a:lnTo>
                <a:lnTo>
                  <a:pt x="730299" y="434766"/>
                </a:lnTo>
                <a:lnTo>
                  <a:pt x="723946" y="431912"/>
                </a:lnTo>
                <a:lnTo>
                  <a:pt x="717275" y="428423"/>
                </a:lnTo>
                <a:lnTo>
                  <a:pt x="710921" y="424935"/>
                </a:lnTo>
                <a:lnTo>
                  <a:pt x="704886" y="420813"/>
                </a:lnTo>
                <a:lnTo>
                  <a:pt x="698850" y="416690"/>
                </a:lnTo>
                <a:lnTo>
                  <a:pt x="693132" y="412251"/>
                </a:lnTo>
                <a:lnTo>
                  <a:pt x="687731" y="407811"/>
                </a:lnTo>
                <a:lnTo>
                  <a:pt x="682649" y="402420"/>
                </a:lnTo>
                <a:lnTo>
                  <a:pt x="677566" y="397346"/>
                </a:lnTo>
                <a:lnTo>
                  <a:pt x="672801" y="391955"/>
                </a:lnTo>
                <a:lnTo>
                  <a:pt x="668354" y="386247"/>
                </a:lnTo>
                <a:lnTo>
                  <a:pt x="664224" y="380222"/>
                </a:lnTo>
                <a:lnTo>
                  <a:pt x="660094" y="374197"/>
                </a:lnTo>
                <a:lnTo>
                  <a:pt x="656600" y="367854"/>
                </a:lnTo>
                <a:lnTo>
                  <a:pt x="653106" y="361512"/>
                </a:lnTo>
                <a:lnTo>
                  <a:pt x="650247" y="354853"/>
                </a:lnTo>
                <a:lnTo>
                  <a:pt x="647705" y="347876"/>
                </a:lnTo>
                <a:lnTo>
                  <a:pt x="644846" y="340900"/>
                </a:lnTo>
                <a:lnTo>
                  <a:pt x="642940" y="333606"/>
                </a:lnTo>
                <a:lnTo>
                  <a:pt x="641669" y="326629"/>
                </a:lnTo>
                <a:lnTo>
                  <a:pt x="640081" y="319019"/>
                </a:lnTo>
                <a:lnTo>
                  <a:pt x="638810" y="311725"/>
                </a:lnTo>
                <a:lnTo>
                  <a:pt x="638493" y="303797"/>
                </a:lnTo>
                <a:lnTo>
                  <a:pt x="638175" y="296186"/>
                </a:lnTo>
                <a:lnTo>
                  <a:pt x="638175" y="150630"/>
                </a:lnTo>
                <a:lnTo>
                  <a:pt x="638493" y="143019"/>
                </a:lnTo>
                <a:lnTo>
                  <a:pt x="638810" y="135092"/>
                </a:lnTo>
                <a:lnTo>
                  <a:pt x="640081" y="127481"/>
                </a:lnTo>
                <a:lnTo>
                  <a:pt x="641669" y="120187"/>
                </a:lnTo>
                <a:lnTo>
                  <a:pt x="642940" y="112893"/>
                </a:lnTo>
                <a:lnTo>
                  <a:pt x="644846" y="105917"/>
                </a:lnTo>
                <a:lnTo>
                  <a:pt x="647705" y="98623"/>
                </a:lnTo>
                <a:lnTo>
                  <a:pt x="650247" y="91964"/>
                </a:lnTo>
                <a:lnTo>
                  <a:pt x="653106" y="84987"/>
                </a:lnTo>
                <a:lnTo>
                  <a:pt x="656600" y="78645"/>
                </a:lnTo>
                <a:lnTo>
                  <a:pt x="660094" y="72303"/>
                </a:lnTo>
                <a:lnTo>
                  <a:pt x="664224" y="66277"/>
                </a:lnTo>
                <a:lnTo>
                  <a:pt x="668354" y="60252"/>
                </a:lnTo>
                <a:lnTo>
                  <a:pt x="672801" y="54861"/>
                </a:lnTo>
                <a:lnTo>
                  <a:pt x="677566" y="49153"/>
                </a:lnTo>
                <a:lnTo>
                  <a:pt x="682649" y="44079"/>
                </a:lnTo>
                <a:lnTo>
                  <a:pt x="687731" y="39006"/>
                </a:lnTo>
                <a:lnTo>
                  <a:pt x="693132" y="34566"/>
                </a:lnTo>
                <a:lnTo>
                  <a:pt x="698850" y="29809"/>
                </a:lnTo>
                <a:lnTo>
                  <a:pt x="704886" y="25687"/>
                </a:lnTo>
                <a:lnTo>
                  <a:pt x="710921" y="21564"/>
                </a:lnTo>
                <a:lnTo>
                  <a:pt x="717275" y="18393"/>
                </a:lnTo>
                <a:lnTo>
                  <a:pt x="723946" y="14905"/>
                </a:lnTo>
                <a:lnTo>
                  <a:pt x="730299" y="12051"/>
                </a:lnTo>
                <a:lnTo>
                  <a:pt x="737288" y="8879"/>
                </a:lnTo>
                <a:lnTo>
                  <a:pt x="744277" y="6660"/>
                </a:lnTo>
                <a:lnTo>
                  <a:pt x="751583" y="4757"/>
                </a:lnTo>
                <a:lnTo>
                  <a:pt x="758889" y="2854"/>
                </a:lnTo>
                <a:lnTo>
                  <a:pt x="766196" y="1903"/>
                </a:lnTo>
                <a:lnTo>
                  <a:pt x="773502" y="635"/>
                </a:lnTo>
                <a:lnTo>
                  <a:pt x="781444" y="317"/>
                </a:lnTo>
                <a:lnTo>
                  <a:pt x="789068" y="0"/>
                </a:lnTo>
                <a:close/>
              </a:path>
            </a:pathLst>
          </a:custGeom>
          <a:solidFill>
            <a:schemeClr val="tx1">
              <a:lumMod val="75000"/>
              <a:lumOff val="2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charset="0"/>
                <a:ea typeface="宋体" panose="02010600030101010101" pitchFamily="2" charset="-122"/>
                <a:cs typeface="+mn-cs"/>
              </a:defRPr>
            </a:lvl9pPr>
          </a:lstStyle>
          <a:p>
            <a:pPr algn="ctr">
              <a:defRPr/>
            </a:pPr>
            <a:endParaRPr lang="zh-CN" altLang="en-US">
              <a:solidFill>
                <a:srgbClr val="FFFFFF"/>
              </a:solidFill>
            </a:endParaRPr>
          </a:p>
        </p:txBody>
      </p:sp>
    </p:spTree>
  </p:cSld>
  <p:clrMapOvr>
    <a:masterClrMapping/>
  </p:clrMapOvr>
  <p:transition>
    <p:zoom dir="in"/>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三</a:t>
            </a:r>
            <a:r>
              <a:rPr lang="zh-CN" altLang="en-US" sz="2000" b="1" dirty="0" smtClean="0">
                <a:solidFill>
                  <a:srgbClr val="F64C31"/>
                </a:solidFill>
                <a:cs typeface="+mn-ea"/>
              </a:rPr>
              <a:t>、招标阶段</a:t>
            </a:r>
          </a:p>
        </p:txBody>
      </p:sp>
      <p:sp>
        <p:nvSpPr>
          <p:cNvPr id="2" name="文本框 1"/>
          <p:cNvSpPr txBox="1"/>
          <p:nvPr/>
        </p:nvSpPr>
        <p:spPr>
          <a:xfrm>
            <a:off x="756042" y="278359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3</a:t>
            </a:r>
            <a:r>
              <a:rPr lang="zh-CN" altLang="en-US" sz="1800" b="1" dirty="0" smtClean="0">
                <a:solidFill>
                  <a:srgbClr val="000000"/>
                </a:solidFill>
                <a:cs typeface="+mn-ea"/>
              </a:rPr>
              <a:t>、</a:t>
            </a:r>
            <a:r>
              <a:rPr sz="1800" b="1" smtClean="0">
                <a:solidFill>
                  <a:srgbClr val="000000"/>
                </a:solidFill>
                <a:cs typeface="+mn-ea"/>
                <a:sym typeface="+mn-ea"/>
              </a:rPr>
              <a:t>评</a:t>
            </a:r>
            <a:r>
              <a:rPr lang="zh-CN" sz="1800" b="1" smtClean="0">
                <a:solidFill>
                  <a:srgbClr val="000000"/>
                </a:solidFill>
                <a:cs typeface="+mn-ea"/>
                <a:sym typeface="+mn-ea"/>
              </a:rPr>
              <a:t>标</a:t>
            </a:r>
            <a:r>
              <a:rPr sz="1800" b="1" smtClean="0">
                <a:solidFill>
                  <a:srgbClr val="000000"/>
                </a:solidFill>
                <a:cs typeface="+mn-ea"/>
                <a:sym typeface="+mn-ea"/>
              </a:rPr>
              <a:t>述标</a:t>
            </a:r>
            <a:endParaRPr lang="en-US" altLang="zh-CN" sz="1800" b="1" dirty="0">
              <a:solidFill>
                <a:srgbClr val="000000"/>
              </a:solidFill>
              <a:cs typeface="+mn-ea"/>
            </a:endParaRPr>
          </a:p>
        </p:txBody>
      </p:sp>
      <p:sp>
        <p:nvSpPr>
          <p:cNvPr id="6" name="文本框 5"/>
          <p:cNvSpPr txBox="1"/>
          <p:nvPr/>
        </p:nvSpPr>
        <p:spPr>
          <a:xfrm>
            <a:off x="756285" y="3362960"/>
            <a:ext cx="7160260" cy="267652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en-US" altLang="zh-CN" sz="1400" dirty="0" smtClean="0">
                <a:solidFill>
                  <a:srgbClr val="000000"/>
                </a:solidFill>
                <a:latin typeface="+mn-ea"/>
                <a:cs typeface="+mn-ea"/>
                <a:sym typeface="+mn-ea"/>
              </a:rPr>
              <a:t>1</a:t>
            </a:r>
            <a:r>
              <a:rPr lang="zh-CN" altLang="en-US" sz="1400" dirty="0" smtClean="0">
                <a:solidFill>
                  <a:srgbClr val="000000"/>
                </a:solidFill>
                <a:latin typeface="+mn-ea"/>
                <a:cs typeface="+mn-ea"/>
                <a:sym typeface="+mn-ea"/>
              </a:rPr>
              <a:t>、审核该单位拟派驻的项目经理、技术经理、生产经理、设计人员履历，评估该团队整体管理水平。</a:t>
            </a:r>
          </a:p>
          <a:p>
            <a:pPr>
              <a:lnSpc>
                <a:spcPct val="150000"/>
              </a:lnSpc>
            </a:pPr>
            <a:r>
              <a:rPr lang="en-US" altLang="zh-CN"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评估述标单位针对项目的重点、难点解决措施，审核述标单位的施工组织方案（施工质量预控、成品保护措施）、材料进场规划、人员配比计划等是否符合项目预估需求。      </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为保证精装品质，必须要求精装总包的现场管理团队均为中标单位的在职人员，严禁由劳务分包自行管控，规避精装质量管控失控以及精装总包管理职责不作为问题发生。</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050" name="开会"/>
          <p:cNvSpPr/>
          <p:nvPr/>
        </p:nvSpPr>
        <p:spPr bwMode="auto">
          <a:xfrm>
            <a:off x="8567103" y="3923030"/>
            <a:ext cx="2188845" cy="2188845"/>
          </a:xfrm>
          <a:custGeom>
            <a:avLst/>
            <a:gdLst>
              <a:gd name="T0" fmla="*/ 1555232 w 2741613"/>
              <a:gd name="T1" fmla="*/ 1766302 h 2557463"/>
              <a:gd name="T2" fmla="*/ 1500877 w 2741613"/>
              <a:gd name="T3" fmla="*/ 1732308 h 2557463"/>
              <a:gd name="T4" fmla="*/ 410527 w 2741613"/>
              <a:gd name="T5" fmla="*/ 1777780 h 2557463"/>
              <a:gd name="T6" fmla="*/ 294306 w 2741613"/>
              <a:gd name="T7" fmla="*/ 1747980 h 2557463"/>
              <a:gd name="T8" fmla="*/ 1473436 w 2741613"/>
              <a:gd name="T9" fmla="*/ 1657260 h 2557463"/>
              <a:gd name="T10" fmla="*/ 1387009 w 2741613"/>
              <a:gd name="T11" fmla="*/ 1662603 h 2557463"/>
              <a:gd name="T12" fmla="*/ 511578 w 2741613"/>
              <a:gd name="T13" fmla="*/ 1682417 h 2557463"/>
              <a:gd name="T14" fmla="*/ 414761 w 2741613"/>
              <a:gd name="T15" fmla="*/ 1659264 h 2557463"/>
              <a:gd name="T16" fmla="*/ 1116006 w 2741613"/>
              <a:gd name="T17" fmla="*/ 1639146 h 2557463"/>
              <a:gd name="T18" fmla="*/ 1025639 w 2741613"/>
              <a:gd name="T19" fmla="*/ 1606463 h 2557463"/>
              <a:gd name="T20" fmla="*/ 902419 w 2741613"/>
              <a:gd name="T21" fmla="*/ 1619000 h 2557463"/>
              <a:gd name="T22" fmla="*/ 844427 w 2741613"/>
              <a:gd name="T23" fmla="*/ 1606240 h 2557463"/>
              <a:gd name="T24" fmla="*/ 445447 w 2741613"/>
              <a:gd name="T25" fmla="*/ 1163753 h 2557463"/>
              <a:gd name="T26" fmla="*/ 787487 w 2741613"/>
              <a:gd name="T27" fmla="*/ 791326 h 2557463"/>
              <a:gd name="T28" fmla="*/ 436007 w 2741613"/>
              <a:gd name="T29" fmla="*/ 849224 h 2557463"/>
              <a:gd name="T30" fmla="*/ 288609 w 2741613"/>
              <a:gd name="T31" fmla="*/ 1698536 h 2557463"/>
              <a:gd name="T32" fmla="*/ 48617 w 2741613"/>
              <a:gd name="T33" fmla="*/ 1149773 h 2557463"/>
              <a:gd name="T34" fmla="*/ 9281 w 2741613"/>
              <a:gd name="T35" fmla="*/ 859603 h 2557463"/>
              <a:gd name="T36" fmla="*/ 145851 w 2741613"/>
              <a:gd name="T37" fmla="*/ 699059 h 2557463"/>
              <a:gd name="T38" fmla="*/ 1592699 w 2741613"/>
              <a:gd name="T39" fmla="*/ 734392 h 2557463"/>
              <a:gd name="T40" fmla="*/ 1871083 w 2741613"/>
              <a:gd name="T41" fmla="*/ 787391 h 2557463"/>
              <a:gd name="T42" fmla="*/ 1890905 w 2741613"/>
              <a:gd name="T43" fmla="*/ 1065196 h 2557463"/>
              <a:gd name="T44" fmla="*/ 1812940 w 2741613"/>
              <a:gd name="T45" fmla="*/ 1357575 h 2557463"/>
              <a:gd name="T46" fmla="*/ 1457031 w 2741613"/>
              <a:gd name="T47" fmla="*/ 968693 h 2557463"/>
              <a:gd name="T48" fmla="*/ 1541163 w 2741613"/>
              <a:gd name="T49" fmla="*/ 700164 h 2557463"/>
              <a:gd name="T50" fmla="*/ 1241834 w 2741613"/>
              <a:gd name="T51" fmla="*/ 723340 h 2557463"/>
              <a:gd name="T52" fmla="*/ 1102527 w 2741613"/>
              <a:gd name="T53" fmla="*/ 893083 h 2557463"/>
              <a:gd name="T54" fmla="*/ 798746 w 2741613"/>
              <a:gd name="T55" fmla="*/ 901471 h 2557463"/>
              <a:gd name="T56" fmla="*/ 624337 w 2741613"/>
              <a:gd name="T57" fmla="*/ 850924 h 2557463"/>
              <a:gd name="T58" fmla="*/ 750839 w 2741613"/>
              <a:gd name="T59" fmla="*/ 677208 h 2557463"/>
              <a:gd name="T60" fmla="*/ 1062788 w 2741613"/>
              <a:gd name="T61" fmla="*/ 640566 h 2557463"/>
              <a:gd name="T62" fmla="*/ 137222 w 2741613"/>
              <a:gd name="T63" fmla="*/ 399417 h 2557463"/>
              <a:gd name="T64" fmla="*/ 292755 w 2741613"/>
              <a:gd name="T65" fmla="*/ 345682 h 2557463"/>
              <a:gd name="T66" fmla="*/ 334009 w 2741613"/>
              <a:gd name="T67" fmla="*/ 437452 h 2557463"/>
              <a:gd name="T68" fmla="*/ 372176 w 2741613"/>
              <a:gd name="T69" fmla="*/ 447403 h 2557463"/>
              <a:gd name="T70" fmla="*/ 362248 w 2741613"/>
              <a:gd name="T71" fmla="*/ 593130 h 2557463"/>
              <a:gd name="T72" fmla="*/ 240028 w 2741613"/>
              <a:gd name="T73" fmla="*/ 702591 h 2557463"/>
              <a:gd name="T74" fmla="*/ 122440 w 2741613"/>
              <a:gd name="T75" fmla="*/ 567478 h 2557463"/>
              <a:gd name="T76" fmla="*/ 107439 w 2741613"/>
              <a:gd name="T77" fmla="*/ 480131 h 2557463"/>
              <a:gd name="T78" fmla="*/ 170093 w 2741613"/>
              <a:gd name="T79" fmla="*/ 347893 h 2557463"/>
              <a:gd name="T80" fmla="*/ 1776846 w 2741613"/>
              <a:gd name="T81" fmla="*/ 366247 h 2557463"/>
              <a:gd name="T82" fmla="*/ 1798449 w 2741613"/>
              <a:gd name="T83" fmla="*/ 502465 h 2557463"/>
              <a:gd name="T84" fmla="*/ 1760093 w 2741613"/>
              <a:gd name="T85" fmla="*/ 621435 h 2557463"/>
              <a:gd name="T86" fmla="*/ 1630031 w 2741613"/>
              <a:gd name="T87" fmla="*/ 697505 h 2557463"/>
              <a:gd name="T88" fmla="*/ 1535902 w 2741613"/>
              <a:gd name="T89" fmla="*/ 561508 h 2557463"/>
              <a:gd name="T90" fmla="*/ 1552215 w 2741613"/>
              <a:gd name="T91" fmla="*/ 453594 h 2557463"/>
              <a:gd name="T92" fmla="*/ 1541854 w 2741613"/>
              <a:gd name="T93" fmla="*/ 422193 h 2557463"/>
              <a:gd name="T94" fmla="*/ 1010412 w 2741613"/>
              <a:gd name="T95" fmla="*/ 326683 h 2557463"/>
              <a:gd name="T96" fmla="*/ 1058285 w 2741613"/>
              <a:gd name="T97" fmla="*/ 408958 h 2557463"/>
              <a:gd name="T98" fmla="*/ 1092921 w 2741613"/>
              <a:gd name="T99" fmla="*/ 435649 h 2557463"/>
              <a:gd name="T100" fmla="*/ 1092260 w 2741613"/>
              <a:gd name="T101" fmla="*/ 528071 h 2557463"/>
              <a:gd name="T102" fmla="*/ 1006661 w 2741613"/>
              <a:gd name="T103" fmla="*/ 635492 h 2557463"/>
              <a:gd name="T104" fmla="*/ 893265 w 2741613"/>
              <a:gd name="T105" fmla="*/ 569098 h 2557463"/>
              <a:gd name="T106" fmla="*/ 861497 w 2741613"/>
              <a:gd name="T107" fmla="*/ 458589 h 2557463"/>
              <a:gd name="T108" fmla="*/ 868115 w 2741613"/>
              <a:gd name="T109" fmla="*/ 376093 h 2557463"/>
              <a:gd name="T110" fmla="*/ 514509 w 2741613"/>
              <a:gd name="T111" fmla="*/ 219583 h 2557463"/>
              <a:gd name="T112" fmla="*/ 515613 w 2741613"/>
              <a:gd name="T113" fmla="*/ 155869 h 2557463"/>
              <a:gd name="T114" fmla="*/ 520248 w 2741613"/>
              <a:gd name="T115" fmla="*/ 152562 h 2557463"/>
              <a:gd name="T116" fmla="*/ 791747 w 2741613"/>
              <a:gd name="T117" fmla="*/ 99650 h 2557463"/>
              <a:gd name="T118" fmla="*/ 848917 w 2741613"/>
              <a:gd name="T119" fmla="*/ 59085 h 2557463"/>
              <a:gd name="T120" fmla="*/ 813158 w 2741613"/>
              <a:gd name="T121" fmla="*/ 292558 h 2557463"/>
              <a:gd name="T122" fmla="*/ 481620 w 2741613"/>
              <a:gd name="T123" fmla="*/ 286605 h 2557463"/>
              <a:gd name="T124" fmla="*/ 458664 w 2741613"/>
              <a:gd name="T125" fmla="*/ 50267 h 25574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41613" h="2557463">
                <a:moveTo>
                  <a:pt x="2199444" y="2463800"/>
                </a:moveTo>
                <a:lnTo>
                  <a:pt x="2327275" y="2463800"/>
                </a:lnTo>
                <a:lnTo>
                  <a:pt x="2325367" y="2467928"/>
                </a:lnTo>
                <a:lnTo>
                  <a:pt x="2325685" y="2470150"/>
                </a:lnTo>
                <a:lnTo>
                  <a:pt x="2326003" y="2473325"/>
                </a:lnTo>
                <a:lnTo>
                  <a:pt x="2326321" y="2477770"/>
                </a:lnTo>
                <a:lnTo>
                  <a:pt x="2326321" y="2483803"/>
                </a:lnTo>
                <a:lnTo>
                  <a:pt x="2325685" y="2492058"/>
                </a:lnTo>
                <a:lnTo>
                  <a:pt x="2323777" y="2502218"/>
                </a:lnTo>
                <a:lnTo>
                  <a:pt x="2321233" y="2514283"/>
                </a:lnTo>
                <a:lnTo>
                  <a:pt x="2319326" y="2515235"/>
                </a:lnTo>
                <a:lnTo>
                  <a:pt x="2316464" y="2515870"/>
                </a:lnTo>
                <a:lnTo>
                  <a:pt x="2308514" y="2516505"/>
                </a:lnTo>
                <a:lnTo>
                  <a:pt x="2293568" y="2517140"/>
                </a:lnTo>
                <a:lnTo>
                  <a:pt x="2292614" y="2517140"/>
                </a:lnTo>
                <a:lnTo>
                  <a:pt x="2292296" y="2516823"/>
                </a:lnTo>
                <a:lnTo>
                  <a:pt x="2291024" y="2515235"/>
                </a:lnTo>
                <a:lnTo>
                  <a:pt x="2290388" y="2513965"/>
                </a:lnTo>
                <a:lnTo>
                  <a:pt x="2289435" y="2512060"/>
                </a:lnTo>
                <a:lnTo>
                  <a:pt x="2288799" y="2511425"/>
                </a:lnTo>
                <a:lnTo>
                  <a:pt x="2288163" y="2511108"/>
                </a:lnTo>
                <a:lnTo>
                  <a:pt x="2286891" y="2510790"/>
                </a:lnTo>
                <a:lnTo>
                  <a:pt x="2285937" y="2511108"/>
                </a:lnTo>
                <a:lnTo>
                  <a:pt x="2284029" y="2511425"/>
                </a:lnTo>
                <a:lnTo>
                  <a:pt x="2282121" y="2512695"/>
                </a:lnTo>
                <a:lnTo>
                  <a:pt x="2276397" y="2516188"/>
                </a:lnTo>
                <a:lnTo>
                  <a:pt x="2264313" y="2525078"/>
                </a:lnTo>
                <a:lnTo>
                  <a:pt x="2251594" y="2533333"/>
                </a:lnTo>
                <a:lnTo>
                  <a:pt x="2245234" y="2537143"/>
                </a:lnTo>
                <a:lnTo>
                  <a:pt x="2238238" y="2540636"/>
                </a:lnTo>
                <a:lnTo>
                  <a:pt x="2231243" y="2543811"/>
                </a:lnTo>
                <a:lnTo>
                  <a:pt x="2223929" y="2547303"/>
                </a:lnTo>
                <a:lnTo>
                  <a:pt x="2216615" y="2549843"/>
                </a:lnTo>
                <a:lnTo>
                  <a:pt x="2208665" y="2552066"/>
                </a:lnTo>
                <a:lnTo>
                  <a:pt x="2200716" y="2554606"/>
                </a:lnTo>
                <a:lnTo>
                  <a:pt x="2192130" y="2555876"/>
                </a:lnTo>
                <a:lnTo>
                  <a:pt x="2183226" y="2557146"/>
                </a:lnTo>
                <a:lnTo>
                  <a:pt x="2174004" y="2557463"/>
                </a:lnTo>
                <a:lnTo>
                  <a:pt x="2164147" y="2557463"/>
                </a:lnTo>
                <a:lnTo>
                  <a:pt x="2153971" y="2557146"/>
                </a:lnTo>
                <a:lnTo>
                  <a:pt x="2145703" y="2556193"/>
                </a:lnTo>
                <a:lnTo>
                  <a:pt x="2139026" y="2554923"/>
                </a:lnTo>
                <a:lnTo>
                  <a:pt x="2133302" y="2553336"/>
                </a:lnTo>
                <a:lnTo>
                  <a:pt x="2128850" y="2551113"/>
                </a:lnTo>
                <a:lnTo>
                  <a:pt x="2125352" y="2548891"/>
                </a:lnTo>
                <a:lnTo>
                  <a:pt x="2123762" y="2547303"/>
                </a:lnTo>
                <a:lnTo>
                  <a:pt x="2122808" y="2545716"/>
                </a:lnTo>
                <a:lnTo>
                  <a:pt x="2121854" y="2544446"/>
                </a:lnTo>
                <a:lnTo>
                  <a:pt x="2121536" y="2542858"/>
                </a:lnTo>
                <a:lnTo>
                  <a:pt x="2120900" y="2539366"/>
                </a:lnTo>
                <a:lnTo>
                  <a:pt x="2121218" y="2535873"/>
                </a:lnTo>
                <a:lnTo>
                  <a:pt x="2122490" y="2532380"/>
                </a:lnTo>
                <a:lnTo>
                  <a:pt x="2124398" y="2528570"/>
                </a:lnTo>
                <a:lnTo>
                  <a:pt x="2126624" y="2524443"/>
                </a:lnTo>
                <a:lnTo>
                  <a:pt x="2129486" y="2520633"/>
                </a:lnTo>
                <a:lnTo>
                  <a:pt x="2132984" y="2516505"/>
                </a:lnTo>
                <a:lnTo>
                  <a:pt x="2137118" y="2512060"/>
                </a:lnTo>
                <a:lnTo>
                  <a:pt x="2141252" y="2507933"/>
                </a:lnTo>
                <a:lnTo>
                  <a:pt x="2150155" y="2499678"/>
                </a:lnTo>
                <a:lnTo>
                  <a:pt x="2160013" y="2491740"/>
                </a:lnTo>
                <a:lnTo>
                  <a:pt x="2169871" y="2484120"/>
                </a:lnTo>
                <a:lnTo>
                  <a:pt x="2178774" y="2477770"/>
                </a:lnTo>
                <a:lnTo>
                  <a:pt x="2193402" y="2467610"/>
                </a:lnTo>
                <a:lnTo>
                  <a:pt x="2199444" y="2463800"/>
                </a:lnTo>
                <a:close/>
                <a:moveTo>
                  <a:pt x="417513" y="2463800"/>
                </a:moveTo>
                <a:lnTo>
                  <a:pt x="545027" y="2463800"/>
                </a:lnTo>
                <a:lnTo>
                  <a:pt x="551069" y="2467610"/>
                </a:lnTo>
                <a:lnTo>
                  <a:pt x="565696" y="2477770"/>
                </a:lnTo>
                <a:lnTo>
                  <a:pt x="574918" y="2484120"/>
                </a:lnTo>
                <a:lnTo>
                  <a:pt x="584775" y="2491740"/>
                </a:lnTo>
                <a:lnTo>
                  <a:pt x="594315" y="2499678"/>
                </a:lnTo>
                <a:lnTo>
                  <a:pt x="603537" y="2507933"/>
                </a:lnTo>
                <a:lnTo>
                  <a:pt x="607671" y="2512060"/>
                </a:lnTo>
                <a:lnTo>
                  <a:pt x="611805" y="2516505"/>
                </a:lnTo>
                <a:lnTo>
                  <a:pt x="614984" y="2520633"/>
                </a:lnTo>
                <a:lnTo>
                  <a:pt x="618164" y="2524443"/>
                </a:lnTo>
                <a:lnTo>
                  <a:pt x="620390" y="2528570"/>
                </a:lnTo>
                <a:lnTo>
                  <a:pt x="622298" y="2532380"/>
                </a:lnTo>
                <a:lnTo>
                  <a:pt x="623570" y="2535873"/>
                </a:lnTo>
                <a:lnTo>
                  <a:pt x="623888" y="2539366"/>
                </a:lnTo>
                <a:lnTo>
                  <a:pt x="622934" y="2542858"/>
                </a:lnTo>
                <a:lnTo>
                  <a:pt x="622616" y="2544446"/>
                </a:lnTo>
                <a:lnTo>
                  <a:pt x="621980" y="2545716"/>
                </a:lnTo>
                <a:lnTo>
                  <a:pt x="620708" y="2547303"/>
                </a:lnTo>
                <a:lnTo>
                  <a:pt x="619436" y="2548891"/>
                </a:lnTo>
                <a:lnTo>
                  <a:pt x="615938" y="2551113"/>
                </a:lnTo>
                <a:lnTo>
                  <a:pt x="611487" y="2553336"/>
                </a:lnTo>
                <a:lnTo>
                  <a:pt x="605763" y="2554923"/>
                </a:lnTo>
                <a:lnTo>
                  <a:pt x="599085" y="2556193"/>
                </a:lnTo>
                <a:lnTo>
                  <a:pt x="590817" y="2557146"/>
                </a:lnTo>
                <a:lnTo>
                  <a:pt x="580642" y="2557463"/>
                </a:lnTo>
                <a:lnTo>
                  <a:pt x="570784" y="2557463"/>
                </a:lnTo>
                <a:lnTo>
                  <a:pt x="561244" y="2557146"/>
                </a:lnTo>
                <a:lnTo>
                  <a:pt x="552659" y="2555876"/>
                </a:lnTo>
                <a:lnTo>
                  <a:pt x="544073" y="2554606"/>
                </a:lnTo>
                <a:lnTo>
                  <a:pt x="536123" y="2552066"/>
                </a:lnTo>
                <a:lnTo>
                  <a:pt x="528173" y="2549843"/>
                </a:lnTo>
                <a:lnTo>
                  <a:pt x="520542" y="2547303"/>
                </a:lnTo>
                <a:lnTo>
                  <a:pt x="513546" y="2543811"/>
                </a:lnTo>
                <a:lnTo>
                  <a:pt x="506232" y="2540636"/>
                </a:lnTo>
                <a:lnTo>
                  <a:pt x="499554" y="2537143"/>
                </a:lnTo>
                <a:lnTo>
                  <a:pt x="493195" y="2533333"/>
                </a:lnTo>
                <a:lnTo>
                  <a:pt x="480475" y="2525078"/>
                </a:lnTo>
                <a:lnTo>
                  <a:pt x="468391" y="2516188"/>
                </a:lnTo>
                <a:lnTo>
                  <a:pt x="462668" y="2512695"/>
                </a:lnTo>
                <a:lnTo>
                  <a:pt x="460760" y="2511425"/>
                </a:lnTo>
                <a:lnTo>
                  <a:pt x="458852" y="2511108"/>
                </a:lnTo>
                <a:lnTo>
                  <a:pt x="457580" y="2510790"/>
                </a:lnTo>
                <a:lnTo>
                  <a:pt x="456626" y="2511108"/>
                </a:lnTo>
                <a:lnTo>
                  <a:pt x="455990" y="2511425"/>
                </a:lnTo>
                <a:lnTo>
                  <a:pt x="455036" y="2512060"/>
                </a:lnTo>
                <a:lnTo>
                  <a:pt x="454400" y="2513965"/>
                </a:lnTo>
                <a:lnTo>
                  <a:pt x="453446" y="2515235"/>
                </a:lnTo>
                <a:lnTo>
                  <a:pt x="452492" y="2516823"/>
                </a:lnTo>
                <a:lnTo>
                  <a:pt x="452174" y="2517140"/>
                </a:lnTo>
                <a:lnTo>
                  <a:pt x="450902" y="2517140"/>
                </a:lnTo>
                <a:lnTo>
                  <a:pt x="436274" y="2516505"/>
                </a:lnTo>
                <a:lnTo>
                  <a:pt x="428325" y="2515870"/>
                </a:lnTo>
                <a:lnTo>
                  <a:pt x="425463" y="2515235"/>
                </a:lnTo>
                <a:lnTo>
                  <a:pt x="423555" y="2514283"/>
                </a:lnTo>
                <a:lnTo>
                  <a:pt x="420693" y="2502218"/>
                </a:lnTo>
                <a:lnTo>
                  <a:pt x="419421" y="2492058"/>
                </a:lnTo>
                <a:lnTo>
                  <a:pt x="418149" y="2483803"/>
                </a:lnTo>
                <a:lnTo>
                  <a:pt x="418149" y="2477770"/>
                </a:lnTo>
                <a:lnTo>
                  <a:pt x="418467" y="2473325"/>
                </a:lnTo>
                <a:lnTo>
                  <a:pt x="418785" y="2470150"/>
                </a:lnTo>
                <a:lnTo>
                  <a:pt x="419421" y="2467928"/>
                </a:lnTo>
                <a:lnTo>
                  <a:pt x="417513" y="2463800"/>
                </a:lnTo>
                <a:close/>
                <a:moveTo>
                  <a:pt x="2051490" y="2346325"/>
                </a:moveTo>
                <a:lnTo>
                  <a:pt x="2152651" y="2346325"/>
                </a:lnTo>
                <a:lnTo>
                  <a:pt x="2151061" y="2349527"/>
                </a:lnTo>
                <a:lnTo>
                  <a:pt x="2151697" y="2351449"/>
                </a:lnTo>
                <a:lnTo>
                  <a:pt x="2152015" y="2353690"/>
                </a:lnTo>
                <a:lnTo>
                  <a:pt x="2152333" y="2357533"/>
                </a:lnTo>
                <a:lnTo>
                  <a:pt x="2152015" y="2362336"/>
                </a:lnTo>
                <a:lnTo>
                  <a:pt x="2151697" y="2368741"/>
                </a:lnTo>
                <a:lnTo>
                  <a:pt x="2150106" y="2376747"/>
                </a:lnTo>
                <a:lnTo>
                  <a:pt x="2148198" y="2386674"/>
                </a:lnTo>
                <a:lnTo>
                  <a:pt x="2146289" y="2387314"/>
                </a:lnTo>
                <a:lnTo>
                  <a:pt x="2144062" y="2387634"/>
                </a:lnTo>
                <a:lnTo>
                  <a:pt x="2137700" y="2388595"/>
                </a:lnTo>
                <a:lnTo>
                  <a:pt x="2125929" y="2388915"/>
                </a:lnTo>
                <a:lnTo>
                  <a:pt x="2125611" y="2388915"/>
                </a:lnTo>
                <a:lnTo>
                  <a:pt x="2124975" y="2388595"/>
                </a:lnTo>
                <a:lnTo>
                  <a:pt x="2124021" y="2387314"/>
                </a:lnTo>
                <a:lnTo>
                  <a:pt x="2123702" y="2386354"/>
                </a:lnTo>
                <a:lnTo>
                  <a:pt x="2123066" y="2384752"/>
                </a:lnTo>
                <a:lnTo>
                  <a:pt x="2122112" y="2384432"/>
                </a:lnTo>
                <a:lnTo>
                  <a:pt x="2121794" y="2383792"/>
                </a:lnTo>
                <a:lnTo>
                  <a:pt x="2120521" y="2383792"/>
                </a:lnTo>
                <a:lnTo>
                  <a:pt x="2119885" y="2383792"/>
                </a:lnTo>
                <a:lnTo>
                  <a:pt x="2117022" y="2385073"/>
                </a:lnTo>
                <a:lnTo>
                  <a:pt x="2112250" y="2387955"/>
                </a:lnTo>
                <a:lnTo>
                  <a:pt x="2103025" y="2395000"/>
                </a:lnTo>
                <a:lnTo>
                  <a:pt x="2092845" y="2401724"/>
                </a:lnTo>
                <a:lnTo>
                  <a:pt x="2087437" y="2404927"/>
                </a:lnTo>
                <a:lnTo>
                  <a:pt x="2082347" y="2407489"/>
                </a:lnTo>
                <a:lnTo>
                  <a:pt x="2076621" y="2410371"/>
                </a:lnTo>
                <a:lnTo>
                  <a:pt x="2070895" y="2412612"/>
                </a:lnTo>
                <a:lnTo>
                  <a:pt x="2064850" y="2415174"/>
                </a:lnTo>
                <a:lnTo>
                  <a:pt x="2058806" y="2416775"/>
                </a:lnTo>
                <a:lnTo>
                  <a:pt x="2052444" y="2418376"/>
                </a:lnTo>
                <a:lnTo>
                  <a:pt x="2045763" y="2419657"/>
                </a:lnTo>
                <a:lnTo>
                  <a:pt x="2038447" y="2420618"/>
                </a:lnTo>
                <a:lnTo>
                  <a:pt x="2031448" y="2420938"/>
                </a:lnTo>
                <a:lnTo>
                  <a:pt x="2023495" y="2420938"/>
                </a:lnTo>
                <a:lnTo>
                  <a:pt x="2015542" y="2420618"/>
                </a:lnTo>
                <a:lnTo>
                  <a:pt x="2008862" y="2419977"/>
                </a:lnTo>
                <a:lnTo>
                  <a:pt x="2003454" y="2418697"/>
                </a:lnTo>
                <a:lnTo>
                  <a:pt x="1999000" y="2417736"/>
                </a:lnTo>
                <a:lnTo>
                  <a:pt x="1995501" y="2415814"/>
                </a:lnTo>
                <a:lnTo>
                  <a:pt x="1992638" y="2413893"/>
                </a:lnTo>
                <a:lnTo>
                  <a:pt x="1990729" y="2411652"/>
                </a:lnTo>
                <a:lnTo>
                  <a:pt x="1989456" y="2409410"/>
                </a:lnTo>
                <a:lnTo>
                  <a:pt x="1989138" y="2406528"/>
                </a:lnTo>
                <a:lnTo>
                  <a:pt x="1989456" y="2403966"/>
                </a:lnTo>
                <a:lnTo>
                  <a:pt x="1990411" y="2401084"/>
                </a:lnTo>
                <a:lnTo>
                  <a:pt x="1991683" y="2397882"/>
                </a:lnTo>
                <a:lnTo>
                  <a:pt x="1993592" y="2394679"/>
                </a:lnTo>
                <a:lnTo>
                  <a:pt x="1996137" y="2391477"/>
                </a:lnTo>
                <a:lnTo>
                  <a:pt x="1999000" y="2387955"/>
                </a:lnTo>
                <a:lnTo>
                  <a:pt x="2005362" y="2381230"/>
                </a:lnTo>
                <a:lnTo>
                  <a:pt x="2012679" y="2374825"/>
                </a:lnTo>
                <a:lnTo>
                  <a:pt x="2019996" y="2368421"/>
                </a:lnTo>
                <a:lnTo>
                  <a:pt x="2027949" y="2362336"/>
                </a:lnTo>
                <a:lnTo>
                  <a:pt x="2035265" y="2356893"/>
                </a:lnTo>
                <a:lnTo>
                  <a:pt x="2046718" y="2349527"/>
                </a:lnTo>
                <a:lnTo>
                  <a:pt x="2051490" y="2346325"/>
                </a:lnTo>
                <a:close/>
                <a:moveTo>
                  <a:pt x="592138" y="2346325"/>
                </a:moveTo>
                <a:lnTo>
                  <a:pt x="693618" y="2346325"/>
                </a:lnTo>
                <a:lnTo>
                  <a:pt x="698072" y="2349527"/>
                </a:lnTo>
                <a:lnTo>
                  <a:pt x="709842" y="2356893"/>
                </a:lnTo>
                <a:lnTo>
                  <a:pt x="716841" y="2362336"/>
                </a:lnTo>
                <a:lnTo>
                  <a:pt x="724794" y="2368421"/>
                </a:lnTo>
                <a:lnTo>
                  <a:pt x="732428" y="2374825"/>
                </a:lnTo>
                <a:lnTo>
                  <a:pt x="739427" y="2381230"/>
                </a:lnTo>
                <a:lnTo>
                  <a:pt x="746108" y="2387955"/>
                </a:lnTo>
                <a:lnTo>
                  <a:pt x="748971" y="2391477"/>
                </a:lnTo>
                <a:lnTo>
                  <a:pt x="751197" y="2394679"/>
                </a:lnTo>
                <a:lnTo>
                  <a:pt x="753106" y="2397882"/>
                </a:lnTo>
                <a:lnTo>
                  <a:pt x="754697" y="2401084"/>
                </a:lnTo>
                <a:lnTo>
                  <a:pt x="755333" y="2403966"/>
                </a:lnTo>
                <a:lnTo>
                  <a:pt x="755651" y="2406528"/>
                </a:lnTo>
                <a:lnTo>
                  <a:pt x="755333" y="2409410"/>
                </a:lnTo>
                <a:lnTo>
                  <a:pt x="754379" y="2411652"/>
                </a:lnTo>
                <a:lnTo>
                  <a:pt x="752470" y="2413893"/>
                </a:lnTo>
                <a:lnTo>
                  <a:pt x="749607" y="2415814"/>
                </a:lnTo>
                <a:lnTo>
                  <a:pt x="746108" y="2417736"/>
                </a:lnTo>
                <a:lnTo>
                  <a:pt x="741336" y="2418697"/>
                </a:lnTo>
                <a:lnTo>
                  <a:pt x="736246" y="2419977"/>
                </a:lnTo>
                <a:lnTo>
                  <a:pt x="729565" y="2420618"/>
                </a:lnTo>
                <a:lnTo>
                  <a:pt x="721612" y="2420938"/>
                </a:lnTo>
                <a:lnTo>
                  <a:pt x="713659" y="2420938"/>
                </a:lnTo>
                <a:lnTo>
                  <a:pt x="706343" y="2420618"/>
                </a:lnTo>
                <a:lnTo>
                  <a:pt x="699344" y="2419657"/>
                </a:lnTo>
                <a:lnTo>
                  <a:pt x="692346" y="2418376"/>
                </a:lnTo>
                <a:lnTo>
                  <a:pt x="685983" y="2416775"/>
                </a:lnTo>
                <a:lnTo>
                  <a:pt x="679939" y="2415174"/>
                </a:lnTo>
                <a:lnTo>
                  <a:pt x="673895" y="2412612"/>
                </a:lnTo>
                <a:lnTo>
                  <a:pt x="668487" y="2410371"/>
                </a:lnTo>
                <a:lnTo>
                  <a:pt x="662760" y="2407489"/>
                </a:lnTo>
                <a:lnTo>
                  <a:pt x="657352" y="2404927"/>
                </a:lnTo>
                <a:lnTo>
                  <a:pt x="652263" y="2401724"/>
                </a:lnTo>
                <a:lnTo>
                  <a:pt x="642083" y="2395000"/>
                </a:lnTo>
                <a:lnTo>
                  <a:pt x="632539" y="2387955"/>
                </a:lnTo>
                <a:lnTo>
                  <a:pt x="628086" y="2385073"/>
                </a:lnTo>
                <a:lnTo>
                  <a:pt x="624904" y="2383792"/>
                </a:lnTo>
                <a:lnTo>
                  <a:pt x="624268" y="2383792"/>
                </a:lnTo>
                <a:lnTo>
                  <a:pt x="623314" y="2383792"/>
                </a:lnTo>
                <a:lnTo>
                  <a:pt x="622678" y="2384432"/>
                </a:lnTo>
                <a:lnTo>
                  <a:pt x="622041" y="2384752"/>
                </a:lnTo>
                <a:lnTo>
                  <a:pt x="621405" y="2386354"/>
                </a:lnTo>
                <a:lnTo>
                  <a:pt x="620769" y="2387314"/>
                </a:lnTo>
                <a:lnTo>
                  <a:pt x="620133" y="2388595"/>
                </a:lnTo>
                <a:lnTo>
                  <a:pt x="619496" y="2388915"/>
                </a:lnTo>
                <a:lnTo>
                  <a:pt x="619178" y="2388915"/>
                </a:lnTo>
                <a:lnTo>
                  <a:pt x="607408" y="2388595"/>
                </a:lnTo>
                <a:lnTo>
                  <a:pt x="601045" y="2387634"/>
                </a:lnTo>
                <a:lnTo>
                  <a:pt x="598819" y="2387314"/>
                </a:lnTo>
                <a:lnTo>
                  <a:pt x="596910" y="2386674"/>
                </a:lnTo>
                <a:lnTo>
                  <a:pt x="595001" y="2376747"/>
                </a:lnTo>
                <a:lnTo>
                  <a:pt x="593411" y="2368741"/>
                </a:lnTo>
                <a:lnTo>
                  <a:pt x="593092" y="2362336"/>
                </a:lnTo>
                <a:lnTo>
                  <a:pt x="592774" y="2357533"/>
                </a:lnTo>
                <a:lnTo>
                  <a:pt x="593092" y="2353690"/>
                </a:lnTo>
                <a:lnTo>
                  <a:pt x="593411" y="2351449"/>
                </a:lnTo>
                <a:lnTo>
                  <a:pt x="593729" y="2349527"/>
                </a:lnTo>
                <a:lnTo>
                  <a:pt x="592138" y="2346325"/>
                </a:lnTo>
                <a:close/>
                <a:moveTo>
                  <a:pt x="1474788" y="2290762"/>
                </a:moveTo>
                <a:lnTo>
                  <a:pt x="1567135" y="2290762"/>
                </a:lnTo>
                <a:lnTo>
                  <a:pt x="1571609" y="2293338"/>
                </a:lnTo>
                <a:lnTo>
                  <a:pt x="1582473" y="2300422"/>
                </a:lnTo>
                <a:lnTo>
                  <a:pt x="1588864" y="2305252"/>
                </a:lnTo>
                <a:lnTo>
                  <a:pt x="1595894" y="2310404"/>
                </a:lnTo>
                <a:lnTo>
                  <a:pt x="1602924" y="2316522"/>
                </a:lnTo>
                <a:lnTo>
                  <a:pt x="1609634" y="2322640"/>
                </a:lnTo>
                <a:lnTo>
                  <a:pt x="1615386" y="2328758"/>
                </a:lnTo>
                <a:lnTo>
                  <a:pt x="1617942" y="2331978"/>
                </a:lnTo>
                <a:lnTo>
                  <a:pt x="1620179" y="2334875"/>
                </a:lnTo>
                <a:lnTo>
                  <a:pt x="1621776" y="2337451"/>
                </a:lnTo>
                <a:lnTo>
                  <a:pt x="1623374" y="2340671"/>
                </a:lnTo>
                <a:lnTo>
                  <a:pt x="1624013" y="2343247"/>
                </a:lnTo>
                <a:lnTo>
                  <a:pt x="1624013" y="2345501"/>
                </a:lnTo>
                <a:lnTo>
                  <a:pt x="1623694" y="2348399"/>
                </a:lnTo>
                <a:lnTo>
                  <a:pt x="1622735" y="2350009"/>
                </a:lnTo>
                <a:lnTo>
                  <a:pt x="1620818" y="2352585"/>
                </a:lnTo>
                <a:lnTo>
                  <a:pt x="1618581" y="2353873"/>
                </a:lnTo>
                <a:lnTo>
                  <a:pt x="1615386" y="2355483"/>
                </a:lnTo>
                <a:lnTo>
                  <a:pt x="1611232" y="2357093"/>
                </a:lnTo>
                <a:lnTo>
                  <a:pt x="1606119" y="2357737"/>
                </a:lnTo>
                <a:lnTo>
                  <a:pt x="1600048" y="2358703"/>
                </a:lnTo>
                <a:lnTo>
                  <a:pt x="1593018" y="2359025"/>
                </a:lnTo>
                <a:lnTo>
                  <a:pt x="1585668" y="2359025"/>
                </a:lnTo>
                <a:lnTo>
                  <a:pt x="1578958" y="2358703"/>
                </a:lnTo>
                <a:lnTo>
                  <a:pt x="1572567" y="2357415"/>
                </a:lnTo>
                <a:lnTo>
                  <a:pt x="1566496" y="2356127"/>
                </a:lnTo>
                <a:lnTo>
                  <a:pt x="1560744" y="2355161"/>
                </a:lnTo>
                <a:lnTo>
                  <a:pt x="1554993" y="2353229"/>
                </a:lnTo>
                <a:lnTo>
                  <a:pt x="1549560" y="2351297"/>
                </a:lnTo>
                <a:lnTo>
                  <a:pt x="1544128" y="2349043"/>
                </a:lnTo>
                <a:lnTo>
                  <a:pt x="1539335" y="2346467"/>
                </a:lnTo>
                <a:lnTo>
                  <a:pt x="1529749" y="2340993"/>
                </a:lnTo>
                <a:lnTo>
                  <a:pt x="1520802" y="2334875"/>
                </a:lnTo>
                <a:lnTo>
                  <a:pt x="1511535" y="2328758"/>
                </a:lnTo>
                <a:lnTo>
                  <a:pt x="1507701" y="2326182"/>
                </a:lnTo>
                <a:lnTo>
                  <a:pt x="1505144" y="2324894"/>
                </a:lnTo>
                <a:lnTo>
                  <a:pt x="1503866" y="2324572"/>
                </a:lnTo>
                <a:lnTo>
                  <a:pt x="1503227" y="2324894"/>
                </a:lnTo>
                <a:lnTo>
                  <a:pt x="1502269" y="2325860"/>
                </a:lnTo>
                <a:lnTo>
                  <a:pt x="1501629" y="2326826"/>
                </a:lnTo>
                <a:lnTo>
                  <a:pt x="1500990" y="2328114"/>
                </a:lnTo>
                <a:lnTo>
                  <a:pt x="1500351" y="2329080"/>
                </a:lnTo>
                <a:lnTo>
                  <a:pt x="1499712" y="2329080"/>
                </a:lnTo>
                <a:lnTo>
                  <a:pt x="1499073" y="2329080"/>
                </a:lnTo>
                <a:lnTo>
                  <a:pt x="1488528" y="2328758"/>
                </a:lnTo>
                <a:lnTo>
                  <a:pt x="1482777" y="2328436"/>
                </a:lnTo>
                <a:lnTo>
                  <a:pt x="1480540" y="2328114"/>
                </a:lnTo>
                <a:lnTo>
                  <a:pt x="1478942" y="2327148"/>
                </a:lnTo>
                <a:lnTo>
                  <a:pt x="1477025" y="2318132"/>
                </a:lnTo>
                <a:lnTo>
                  <a:pt x="1476066" y="2310726"/>
                </a:lnTo>
                <a:lnTo>
                  <a:pt x="1475747" y="2305252"/>
                </a:lnTo>
                <a:lnTo>
                  <a:pt x="1475108" y="2300422"/>
                </a:lnTo>
                <a:lnTo>
                  <a:pt x="1475747" y="2297202"/>
                </a:lnTo>
                <a:lnTo>
                  <a:pt x="1476066" y="2294948"/>
                </a:lnTo>
                <a:lnTo>
                  <a:pt x="1476386" y="2293338"/>
                </a:lnTo>
                <a:lnTo>
                  <a:pt x="1474788" y="2290762"/>
                </a:lnTo>
                <a:close/>
                <a:moveTo>
                  <a:pt x="1243723" y="2290762"/>
                </a:moveTo>
                <a:lnTo>
                  <a:pt x="1335088" y="2290762"/>
                </a:lnTo>
                <a:lnTo>
                  <a:pt x="1333507" y="2293338"/>
                </a:lnTo>
                <a:lnTo>
                  <a:pt x="1334140" y="2294948"/>
                </a:lnTo>
                <a:lnTo>
                  <a:pt x="1334140" y="2297202"/>
                </a:lnTo>
                <a:lnTo>
                  <a:pt x="1334456" y="2300422"/>
                </a:lnTo>
                <a:lnTo>
                  <a:pt x="1334456" y="2305252"/>
                </a:lnTo>
                <a:lnTo>
                  <a:pt x="1333824" y="2310726"/>
                </a:lnTo>
                <a:lnTo>
                  <a:pt x="1332559" y="2318132"/>
                </a:lnTo>
                <a:lnTo>
                  <a:pt x="1330978" y="2327148"/>
                </a:lnTo>
                <a:lnTo>
                  <a:pt x="1329398" y="2328114"/>
                </a:lnTo>
                <a:lnTo>
                  <a:pt x="1327185" y="2328436"/>
                </a:lnTo>
                <a:lnTo>
                  <a:pt x="1321494" y="2328758"/>
                </a:lnTo>
                <a:lnTo>
                  <a:pt x="1311061" y="2329080"/>
                </a:lnTo>
                <a:lnTo>
                  <a:pt x="1310113" y="2329080"/>
                </a:lnTo>
                <a:lnTo>
                  <a:pt x="1309797" y="2329080"/>
                </a:lnTo>
                <a:lnTo>
                  <a:pt x="1309165" y="2328114"/>
                </a:lnTo>
                <a:lnTo>
                  <a:pt x="1308848" y="2326826"/>
                </a:lnTo>
                <a:lnTo>
                  <a:pt x="1307900" y="2325860"/>
                </a:lnTo>
                <a:lnTo>
                  <a:pt x="1306952" y="2324894"/>
                </a:lnTo>
                <a:lnTo>
                  <a:pt x="1306003" y="2324572"/>
                </a:lnTo>
                <a:lnTo>
                  <a:pt x="1305371" y="2324894"/>
                </a:lnTo>
                <a:lnTo>
                  <a:pt x="1302842" y="2326182"/>
                </a:lnTo>
                <a:lnTo>
                  <a:pt x="1298732" y="2328758"/>
                </a:lnTo>
                <a:lnTo>
                  <a:pt x="1289880" y="2334875"/>
                </a:lnTo>
                <a:lnTo>
                  <a:pt x="1281028" y="2340993"/>
                </a:lnTo>
                <a:lnTo>
                  <a:pt x="1271228" y="2346467"/>
                </a:lnTo>
                <a:lnTo>
                  <a:pt x="1266485" y="2349043"/>
                </a:lnTo>
                <a:lnTo>
                  <a:pt x="1261111" y="2351297"/>
                </a:lnTo>
                <a:lnTo>
                  <a:pt x="1256053" y="2353229"/>
                </a:lnTo>
                <a:lnTo>
                  <a:pt x="1250362" y="2355161"/>
                </a:lnTo>
                <a:lnTo>
                  <a:pt x="1244356" y="2356127"/>
                </a:lnTo>
                <a:lnTo>
                  <a:pt x="1238349" y="2357415"/>
                </a:lnTo>
                <a:lnTo>
                  <a:pt x="1232026" y="2358703"/>
                </a:lnTo>
                <a:lnTo>
                  <a:pt x="1225387" y="2359025"/>
                </a:lnTo>
                <a:lnTo>
                  <a:pt x="1218116" y="2359025"/>
                </a:lnTo>
                <a:lnTo>
                  <a:pt x="1211161" y="2358703"/>
                </a:lnTo>
                <a:lnTo>
                  <a:pt x="1205154" y="2357737"/>
                </a:lnTo>
                <a:lnTo>
                  <a:pt x="1200096" y="2357093"/>
                </a:lnTo>
                <a:lnTo>
                  <a:pt x="1195986" y="2355483"/>
                </a:lnTo>
                <a:lnTo>
                  <a:pt x="1193141" y="2353873"/>
                </a:lnTo>
                <a:lnTo>
                  <a:pt x="1190295" y="2352585"/>
                </a:lnTo>
                <a:lnTo>
                  <a:pt x="1189031" y="2350009"/>
                </a:lnTo>
                <a:lnTo>
                  <a:pt x="1187766" y="2348399"/>
                </a:lnTo>
                <a:lnTo>
                  <a:pt x="1187450" y="2345501"/>
                </a:lnTo>
                <a:lnTo>
                  <a:pt x="1187766" y="2343247"/>
                </a:lnTo>
                <a:lnTo>
                  <a:pt x="1188715" y="2340671"/>
                </a:lnTo>
                <a:lnTo>
                  <a:pt x="1189663" y="2337451"/>
                </a:lnTo>
                <a:lnTo>
                  <a:pt x="1191560" y="2334875"/>
                </a:lnTo>
                <a:lnTo>
                  <a:pt x="1193457" y="2331978"/>
                </a:lnTo>
                <a:lnTo>
                  <a:pt x="1195986" y="2328758"/>
                </a:lnTo>
                <a:lnTo>
                  <a:pt x="1201676" y="2322640"/>
                </a:lnTo>
                <a:lnTo>
                  <a:pt x="1208315" y="2316522"/>
                </a:lnTo>
                <a:lnTo>
                  <a:pt x="1215271" y="2310404"/>
                </a:lnTo>
                <a:lnTo>
                  <a:pt x="1222226" y="2305252"/>
                </a:lnTo>
                <a:lnTo>
                  <a:pt x="1228865" y="2300422"/>
                </a:lnTo>
                <a:lnTo>
                  <a:pt x="1239613" y="2293338"/>
                </a:lnTo>
                <a:lnTo>
                  <a:pt x="1243723" y="2290762"/>
                </a:lnTo>
                <a:close/>
                <a:moveTo>
                  <a:pt x="1481543" y="1798637"/>
                </a:moveTo>
                <a:lnTo>
                  <a:pt x="1701801" y="1798637"/>
                </a:lnTo>
                <a:lnTo>
                  <a:pt x="1567093" y="2273300"/>
                </a:lnTo>
                <a:lnTo>
                  <a:pt x="1465263" y="2273300"/>
                </a:lnTo>
                <a:lnTo>
                  <a:pt x="1481543" y="1798637"/>
                </a:lnTo>
                <a:close/>
                <a:moveTo>
                  <a:pt x="1119188" y="1798637"/>
                </a:moveTo>
                <a:lnTo>
                  <a:pt x="1336331" y="1798637"/>
                </a:lnTo>
                <a:lnTo>
                  <a:pt x="1346201" y="2272028"/>
                </a:lnTo>
                <a:lnTo>
                  <a:pt x="1240177" y="2273300"/>
                </a:lnTo>
                <a:lnTo>
                  <a:pt x="1119188" y="1798637"/>
                </a:lnTo>
                <a:close/>
                <a:moveTo>
                  <a:pt x="2677270" y="1559805"/>
                </a:moveTo>
                <a:lnTo>
                  <a:pt x="2530833" y="1600780"/>
                </a:lnTo>
                <a:lnTo>
                  <a:pt x="2674417" y="1589663"/>
                </a:lnTo>
                <a:lnTo>
                  <a:pt x="2677270" y="1559805"/>
                </a:lnTo>
                <a:close/>
                <a:moveTo>
                  <a:pt x="64561" y="1559805"/>
                </a:moveTo>
                <a:lnTo>
                  <a:pt x="67742" y="1589663"/>
                </a:lnTo>
                <a:lnTo>
                  <a:pt x="211812" y="1600780"/>
                </a:lnTo>
                <a:lnTo>
                  <a:pt x="64561" y="1559805"/>
                </a:lnTo>
                <a:close/>
                <a:moveTo>
                  <a:pt x="1743293" y="1510232"/>
                </a:moveTo>
                <a:lnTo>
                  <a:pt x="1815377" y="1673934"/>
                </a:lnTo>
                <a:lnTo>
                  <a:pt x="2196121" y="1673934"/>
                </a:lnTo>
                <a:lnTo>
                  <a:pt x="2051635" y="1522922"/>
                </a:lnTo>
                <a:lnTo>
                  <a:pt x="1743293" y="1510232"/>
                </a:lnTo>
                <a:close/>
                <a:moveTo>
                  <a:pt x="1093583" y="1510232"/>
                </a:moveTo>
                <a:lnTo>
                  <a:pt x="785241" y="1522922"/>
                </a:lnTo>
                <a:lnTo>
                  <a:pt x="641072" y="1673934"/>
                </a:lnTo>
                <a:lnTo>
                  <a:pt x="1021499" y="1673934"/>
                </a:lnTo>
                <a:lnTo>
                  <a:pt x="1093583" y="1510232"/>
                </a:lnTo>
                <a:close/>
                <a:moveTo>
                  <a:pt x="840494" y="1363662"/>
                </a:moveTo>
                <a:lnTo>
                  <a:pt x="1955417" y="1363662"/>
                </a:lnTo>
                <a:lnTo>
                  <a:pt x="2368551" y="1768475"/>
                </a:lnTo>
                <a:lnTo>
                  <a:pt x="398463" y="1768475"/>
                </a:lnTo>
                <a:lnTo>
                  <a:pt x="840494" y="1363662"/>
                </a:lnTo>
                <a:close/>
                <a:moveTo>
                  <a:pt x="1125700" y="1131888"/>
                </a:moveTo>
                <a:lnTo>
                  <a:pt x="1123793" y="1132523"/>
                </a:lnTo>
                <a:lnTo>
                  <a:pt x="1121569" y="1134110"/>
                </a:lnTo>
                <a:lnTo>
                  <a:pt x="1118710" y="1136650"/>
                </a:lnTo>
                <a:lnTo>
                  <a:pt x="1111084" y="1144270"/>
                </a:lnTo>
                <a:lnTo>
                  <a:pt x="1101553" y="1155065"/>
                </a:lnTo>
                <a:lnTo>
                  <a:pt x="1077405" y="1184275"/>
                </a:lnTo>
                <a:lnTo>
                  <a:pt x="1046268" y="1220153"/>
                </a:lnTo>
                <a:lnTo>
                  <a:pt x="1059613" y="1236028"/>
                </a:lnTo>
                <a:lnTo>
                  <a:pt x="1064696" y="1242378"/>
                </a:lnTo>
                <a:lnTo>
                  <a:pt x="1070098" y="1248093"/>
                </a:lnTo>
                <a:lnTo>
                  <a:pt x="1074546" y="1252538"/>
                </a:lnTo>
                <a:lnTo>
                  <a:pt x="1078994" y="1256665"/>
                </a:lnTo>
                <a:lnTo>
                  <a:pt x="1083124" y="1260158"/>
                </a:lnTo>
                <a:lnTo>
                  <a:pt x="1087890" y="1263333"/>
                </a:lnTo>
                <a:lnTo>
                  <a:pt x="1092656" y="1266508"/>
                </a:lnTo>
                <a:lnTo>
                  <a:pt x="1098375" y="1269365"/>
                </a:lnTo>
                <a:lnTo>
                  <a:pt x="1111084" y="1276350"/>
                </a:lnTo>
                <a:lnTo>
                  <a:pt x="1127606" y="1284605"/>
                </a:lnTo>
                <a:lnTo>
                  <a:pt x="1149529" y="1295400"/>
                </a:lnTo>
                <a:lnTo>
                  <a:pt x="1139362" y="1143953"/>
                </a:lnTo>
                <a:lnTo>
                  <a:pt x="1136185" y="1141413"/>
                </a:lnTo>
                <a:lnTo>
                  <a:pt x="1133325" y="1138238"/>
                </a:lnTo>
                <a:lnTo>
                  <a:pt x="1126971" y="1132205"/>
                </a:lnTo>
                <a:lnTo>
                  <a:pt x="1126017" y="1131888"/>
                </a:lnTo>
                <a:lnTo>
                  <a:pt x="1125700" y="1131888"/>
                </a:lnTo>
                <a:close/>
                <a:moveTo>
                  <a:pt x="505679" y="1004887"/>
                </a:moveTo>
                <a:lnTo>
                  <a:pt x="511721" y="1004887"/>
                </a:lnTo>
                <a:lnTo>
                  <a:pt x="517446" y="1005205"/>
                </a:lnTo>
                <a:lnTo>
                  <a:pt x="522535" y="1006158"/>
                </a:lnTo>
                <a:lnTo>
                  <a:pt x="528259" y="1007746"/>
                </a:lnTo>
                <a:lnTo>
                  <a:pt x="533348" y="1009969"/>
                </a:lnTo>
                <a:lnTo>
                  <a:pt x="538436" y="1012828"/>
                </a:lnTo>
                <a:lnTo>
                  <a:pt x="543207" y="1015687"/>
                </a:lnTo>
                <a:lnTo>
                  <a:pt x="548296" y="1019498"/>
                </a:lnTo>
                <a:lnTo>
                  <a:pt x="552748" y="1023310"/>
                </a:lnTo>
                <a:lnTo>
                  <a:pt x="557201" y="1028075"/>
                </a:lnTo>
                <a:lnTo>
                  <a:pt x="561335" y="1033157"/>
                </a:lnTo>
                <a:lnTo>
                  <a:pt x="566106" y="1038239"/>
                </a:lnTo>
                <a:lnTo>
                  <a:pt x="570240" y="1044274"/>
                </a:lnTo>
                <a:lnTo>
                  <a:pt x="573738" y="1050309"/>
                </a:lnTo>
                <a:lnTo>
                  <a:pt x="577555" y="1056980"/>
                </a:lnTo>
                <a:lnTo>
                  <a:pt x="581371" y="1063968"/>
                </a:lnTo>
                <a:lnTo>
                  <a:pt x="585188" y="1071274"/>
                </a:lnTo>
                <a:lnTo>
                  <a:pt x="588686" y="1078897"/>
                </a:lnTo>
                <a:lnTo>
                  <a:pt x="591867" y="1086838"/>
                </a:lnTo>
                <a:lnTo>
                  <a:pt x="598227" y="1103673"/>
                </a:lnTo>
                <a:lnTo>
                  <a:pt x="603952" y="1121461"/>
                </a:lnTo>
                <a:lnTo>
                  <a:pt x="609677" y="1140202"/>
                </a:lnTo>
                <a:lnTo>
                  <a:pt x="614447" y="1159260"/>
                </a:lnTo>
                <a:lnTo>
                  <a:pt x="619218" y="1179589"/>
                </a:lnTo>
                <a:lnTo>
                  <a:pt x="623670" y="1200553"/>
                </a:lnTo>
                <a:lnTo>
                  <a:pt x="627487" y="1221518"/>
                </a:lnTo>
                <a:lnTo>
                  <a:pt x="630667" y="1242799"/>
                </a:lnTo>
                <a:lnTo>
                  <a:pt x="634165" y="1264399"/>
                </a:lnTo>
                <a:lnTo>
                  <a:pt x="636710" y="1285681"/>
                </a:lnTo>
                <a:lnTo>
                  <a:pt x="639254" y="1306963"/>
                </a:lnTo>
                <a:lnTo>
                  <a:pt x="641798" y="1327927"/>
                </a:lnTo>
                <a:lnTo>
                  <a:pt x="643389" y="1348574"/>
                </a:lnTo>
                <a:lnTo>
                  <a:pt x="644979" y="1368903"/>
                </a:lnTo>
                <a:lnTo>
                  <a:pt x="647841" y="1407337"/>
                </a:lnTo>
                <a:lnTo>
                  <a:pt x="649431" y="1441960"/>
                </a:lnTo>
                <a:lnTo>
                  <a:pt x="650703" y="1471501"/>
                </a:lnTo>
                <a:lnTo>
                  <a:pt x="651021" y="1495641"/>
                </a:lnTo>
                <a:lnTo>
                  <a:pt x="645933" y="1500088"/>
                </a:lnTo>
                <a:lnTo>
                  <a:pt x="640526" y="1461971"/>
                </a:lnTo>
                <a:lnTo>
                  <a:pt x="635120" y="1423219"/>
                </a:lnTo>
                <a:lnTo>
                  <a:pt x="629713" y="1515335"/>
                </a:lnTo>
                <a:lnTo>
                  <a:pt x="623988" y="1520417"/>
                </a:lnTo>
                <a:lnTo>
                  <a:pt x="225488" y="1414008"/>
                </a:lnTo>
                <a:lnTo>
                  <a:pt x="154884" y="1399079"/>
                </a:lnTo>
                <a:lnTo>
                  <a:pt x="603316" y="1539476"/>
                </a:lnTo>
                <a:lnTo>
                  <a:pt x="319945" y="1798670"/>
                </a:lnTo>
                <a:lnTo>
                  <a:pt x="585824" y="1798670"/>
                </a:lnTo>
                <a:lnTo>
                  <a:pt x="752475" y="1798670"/>
                </a:lnTo>
                <a:lnTo>
                  <a:pt x="687596" y="2326906"/>
                </a:lnTo>
                <a:lnTo>
                  <a:pt x="595365" y="2326906"/>
                </a:lnTo>
                <a:lnTo>
                  <a:pt x="586778" y="1847904"/>
                </a:lnTo>
                <a:lnTo>
                  <a:pt x="581371" y="1857433"/>
                </a:lnTo>
                <a:lnTo>
                  <a:pt x="578509" y="1862516"/>
                </a:lnTo>
                <a:lnTo>
                  <a:pt x="575329" y="1866963"/>
                </a:lnTo>
                <a:lnTo>
                  <a:pt x="531758" y="2443162"/>
                </a:lnTo>
                <a:lnTo>
                  <a:pt x="415356" y="2443162"/>
                </a:lnTo>
                <a:lnTo>
                  <a:pt x="356837" y="1985125"/>
                </a:lnTo>
                <a:lnTo>
                  <a:pt x="349840" y="1985760"/>
                </a:lnTo>
                <a:lnTo>
                  <a:pt x="346024" y="1986078"/>
                </a:lnTo>
                <a:lnTo>
                  <a:pt x="342207" y="1986078"/>
                </a:lnTo>
                <a:lnTo>
                  <a:pt x="337437" y="1985760"/>
                </a:lnTo>
                <a:lnTo>
                  <a:pt x="332348" y="1985443"/>
                </a:lnTo>
                <a:lnTo>
                  <a:pt x="145661" y="1959078"/>
                </a:lnTo>
                <a:lnTo>
                  <a:pt x="141208" y="1957490"/>
                </a:lnTo>
                <a:lnTo>
                  <a:pt x="137074" y="1955267"/>
                </a:lnTo>
                <a:lnTo>
                  <a:pt x="133257" y="1952726"/>
                </a:lnTo>
                <a:lnTo>
                  <a:pt x="129441" y="1949867"/>
                </a:lnTo>
                <a:lnTo>
                  <a:pt x="125624" y="1946055"/>
                </a:lnTo>
                <a:lnTo>
                  <a:pt x="122126" y="1941926"/>
                </a:lnTo>
                <a:lnTo>
                  <a:pt x="119264" y="1937479"/>
                </a:lnTo>
                <a:lnTo>
                  <a:pt x="116401" y="1932397"/>
                </a:lnTo>
                <a:lnTo>
                  <a:pt x="113539" y="1927632"/>
                </a:lnTo>
                <a:lnTo>
                  <a:pt x="110995" y="1921914"/>
                </a:lnTo>
                <a:lnTo>
                  <a:pt x="108768" y="1916197"/>
                </a:lnTo>
                <a:lnTo>
                  <a:pt x="106542" y="1910162"/>
                </a:lnTo>
                <a:lnTo>
                  <a:pt x="102408" y="1897774"/>
                </a:lnTo>
                <a:lnTo>
                  <a:pt x="98909" y="1885068"/>
                </a:lnTo>
                <a:lnTo>
                  <a:pt x="96365" y="1872363"/>
                </a:lnTo>
                <a:lnTo>
                  <a:pt x="93503" y="1859339"/>
                </a:lnTo>
                <a:lnTo>
                  <a:pt x="90004" y="1836152"/>
                </a:lnTo>
                <a:lnTo>
                  <a:pt x="86824" y="1817728"/>
                </a:lnTo>
                <a:lnTo>
                  <a:pt x="85234" y="1811058"/>
                </a:lnTo>
                <a:lnTo>
                  <a:pt x="84280" y="1806293"/>
                </a:lnTo>
                <a:lnTo>
                  <a:pt x="83962" y="1800894"/>
                </a:lnTo>
                <a:lnTo>
                  <a:pt x="76965" y="1730695"/>
                </a:lnTo>
                <a:lnTo>
                  <a:pt x="69968" y="1653826"/>
                </a:lnTo>
                <a:lnTo>
                  <a:pt x="62017" y="1556628"/>
                </a:lnTo>
                <a:lnTo>
                  <a:pt x="52158" y="1552499"/>
                </a:lnTo>
                <a:lnTo>
                  <a:pt x="43571" y="1548687"/>
                </a:lnTo>
                <a:lnTo>
                  <a:pt x="35938" y="1545511"/>
                </a:lnTo>
                <a:lnTo>
                  <a:pt x="29895" y="1542017"/>
                </a:lnTo>
                <a:lnTo>
                  <a:pt x="25443" y="1538523"/>
                </a:lnTo>
                <a:lnTo>
                  <a:pt x="23535" y="1536617"/>
                </a:lnTo>
                <a:lnTo>
                  <a:pt x="21944" y="1535346"/>
                </a:lnTo>
                <a:lnTo>
                  <a:pt x="20990" y="1533758"/>
                </a:lnTo>
                <a:lnTo>
                  <a:pt x="20354" y="1532170"/>
                </a:lnTo>
                <a:lnTo>
                  <a:pt x="19718" y="1530582"/>
                </a:lnTo>
                <a:lnTo>
                  <a:pt x="20354" y="1529311"/>
                </a:lnTo>
                <a:lnTo>
                  <a:pt x="17492" y="1522641"/>
                </a:lnTo>
                <a:lnTo>
                  <a:pt x="15266" y="1515017"/>
                </a:lnTo>
                <a:lnTo>
                  <a:pt x="12721" y="1504853"/>
                </a:lnTo>
                <a:lnTo>
                  <a:pt x="10495" y="1493100"/>
                </a:lnTo>
                <a:lnTo>
                  <a:pt x="8269" y="1479759"/>
                </a:lnTo>
                <a:lnTo>
                  <a:pt x="6043" y="1465148"/>
                </a:lnTo>
                <a:lnTo>
                  <a:pt x="4134" y="1449583"/>
                </a:lnTo>
                <a:lnTo>
                  <a:pt x="2544" y="1432431"/>
                </a:lnTo>
                <a:lnTo>
                  <a:pt x="954" y="1414325"/>
                </a:lnTo>
                <a:lnTo>
                  <a:pt x="318" y="1395267"/>
                </a:lnTo>
                <a:lnTo>
                  <a:pt x="0" y="1375256"/>
                </a:lnTo>
                <a:lnTo>
                  <a:pt x="318" y="1354926"/>
                </a:lnTo>
                <a:lnTo>
                  <a:pt x="954" y="1333962"/>
                </a:lnTo>
                <a:lnTo>
                  <a:pt x="2544" y="1312363"/>
                </a:lnTo>
                <a:lnTo>
                  <a:pt x="4452" y="1290763"/>
                </a:lnTo>
                <a:lnTo>
                  <a:pt x="7315" y="1268846"/>
                </a:lnTo>
                <a:lnTo>
                  <a:pt x="11131" y="1246929"/>
                </a:lnTo>
                <a:lnTo>
                  <a:pt x="13357" y="1236447"/>
                </a:lnTo>
                <a:lnTo>
                  <a:pt x="15584" y="1225647"/>
                </a:lnTo>
                <a:lnTo>
                  <a:pt x="18446" y="1214847"/>
                </a:lnTo>
                <a:lnTo>
                  <a:pt x="21308" y="1204047"/>
                </a:lnTo>
                <a:lnTo>
                  <a:pt x="24489" y="1193248"/>
                </a:lnTo>
                <a:lnTo>
                  <a:pt x="27669" y="1183083"/>
                </a:lnTo>
                <a:lnTo>
                  <a:pt x="31486" y="1172601"/>
                </a:lnTo>
                <a:lnTo>
                  <a:pt x="35302" y="1162436"/>
                </a:lnTo>
                <a:lnTo>
                  <a:pt x="39436" y="1152272"/>
                </a:lnTo>
                <a:lnTo>
                  <a:pt x="43889" y="1142425"/>
                </a:lnTo>
                <a:lnTo>
                  <a:pt x="48978" y="1132578"/>
                </a:lnTo>
                <a:lnTo>
                  <a:pt x="54066" y="1123367"/>
                </a:lnTo>
                <a:lnTo>
                  <a:pt x="59473" y="1113838"/>
                </a:lnTo>
                <a:lnTo>
                  <a:pt x="64879" y="1104944"/>
                </a:lnTo>
                <a:lnTo>
                  <a:pt x="70922" y="1096050"/>
                </a:lnTo>
                <a:lnTo>
                  <a:pt x="77601" y="1087473"/>
                </a:lnTo>
                <a:lnTo>
                  <a:pt x="84280" y="1079215"/>
                </a:lnTo>
                <a:lnTo>
                  <a:pt x="91276" y="1071274"/>
                </a:lnTo>
                <a:lnTo>
                  <a:pt x="98591" y="1063968"/>
                </a:lnTo>
                <a:lnTo>
                  <a:pt x="106542" y="1056662"/>
                </a:lnTo>
                <a:lnTo>
                  <a:pt x="114811" y="1049674"/>
                </a:lnTo>
                <a:lnTo>
                  <a:pt x="123080" y="1043321"/>
                </a:lnTo>
                <a:lnTo>
                  <a:pt x="131985" y="1036651"/>
                </a:lnTo>
                <a:lnTo>
                  <a:pt x="141526" y="1031251"/>
                </a:lnTo>
                <a:lnTo>
                  <a:pt x="150749" y="1025851"/>
                </a:lnTo>
                <a:lnTo>
                  <a:pt x="160926" y="1021087"/>
                </a:lnTo>
                <a:lnTo>
                  <a:pt x="171740" y="1016322"/>
                </a:lnTo>
                <a:lnTo>
                  <a:pt x="182553" y="1012193"/>
                </a:lnTo>
                <a:lnTo>
                  <a:pt x="193684" y="1009016"/>
                </a:lnTo>
                <a:lnTo>
                  <a:pt x="205452" y="1005522"/>
                </a:lnTo>
                <a:lnTo>
                  <a:pt x="209904" y="1005522"/>
                </a:lnTo>
                <a:lnTo>
                  <a:pt x="218809" y="1005840"/>
                </a:lnTo>
                <a:lnTo>
                  <a:pt x="243298" y="1007428"/>
                </a:lnTo>
                <a:lnTo>
                  <a:pt x="280508" y="1009969"/>
                </a:lnTo>
                <a:lnTo>
                  <a:pt x="409313" y="1420361"/>
                </a:lnTo>
                <a:lnTo>
                  <a:pt x="397228" y="1297751"/>
                </a:lnTo>
                <a:lnTo>
                  <a:pt x="390867" y="1077309"/>
                </a:lnTo>
                <a:lnTo>
                  <a:pt x="382598" y="1056345"/>
                </a:lnTo>
                <a:lnTo>
                  <a:pt x="399136" y="1028392"/>
                </a:lnTo>
                <a:lnTo>
                  <a:pt x="436029" y="1028392"/>
                </a:lnTo>
                <a:lnTo>
                  <a:pt x="450976" y="1056345"/>
                </a:lnTo>
                <a:lnTo>
                  <a:pt x="443979" y="1081438"/>
                </a:lnTo>
                <a:lnTo>
                  <a:pt x="489141" y="1401937"/>
                </a:lnTo>
                <a:lnTo>
                  <a:pt x="481508" y="1015369"/>
                </a:lnTo>
                <a:lnTo>
                  <a:pt x="489459" y="1011875"/>
                </a:lnTo>
                <a:lnTo>
                  <a:pt x="495501" y="1009016"/>
                </a:lnTo>
                <a:lnTo>
                  <a:pt x="499000" y="1006793"/>
                </a:lnTo>
                <a:lnTo>
                  <a:pt x="499636" y="1005840"/>
                </a:lnTo>
                <a:lnTo>
                  <a:pt x="499954" y="1005522"/>
                </a:lnTo>
                <a:lnTo>
                  <a:pt x="505679" y="1004887"/>
                </a:lnTo>
                <a:close/>
                <a:moveTo>
                  <a:pt x="2233205" y="1004887"/>
                </a:moveTo>
                <a:lnTo>
                  <a:pt x="2238276" y="1005205"/>
                </a:lnTo>
                <a:lnTo>
                  <a:pt x="2243665" y="1005522"/>
                </a:lnTo>
                <a:lnTo>
                  <a:pt x="2243665" y="1005840"/>
                </a:lnTo>
                <a:lnTo>
                  <a:pt x="2244299" y="1006793"/>
                </a:lnTo>
                <a:lnTo>
                  <a:pt x="2248102" y="1009016"/>
                </a:lnTo>
                <a:lnTo>
                  <a:pt x="2253808" y="1011875"/>
                </a:lnTo>
                <a:lnTo>
                  <a:pt x="2261732" y="1015369"/>
                </a:lnTo>
                <a:lnTo>
                  <a:pt x="2254441" y="1401937"/>
                </a:lnTo>
                <a:lnTo>
                  <a:pt x="2299133" y="1081438"/>
                </a:lnTo>
                <a:lnTo>
                  <a:pt x="2292160" y="1056345"/>
                </a:lnTo>
                <a:lnTo>
                  <a:pt x="2307374" y="1028392"/>
                </a:lnTo>
                <a:lnTo>
                  <a:pt x="2344142" y="1028392"/>
                </a:lnTo>
                <a:lnTo>
                  <a:pt x="2360307" y="1056345"/>
                </a:lnTo>
                <a:lnTo>
                  <a:pt x="2352066" y="1077309"/>
                </a:lnTo>
                <a:lnTo>
                  <a:pt x="2346044" y="1297751"/>
                </a:lnTo>
                <a:lnTo>
                  <a:pt x="2333682" y="1420361"/>
                </a:lnTo>
                <a:lnTo>
                  <a:pt x="2462052" y="1009969"/>
                </a:lnTo>
                <a:lnTo>
                  <a:pt x="2499137" y="1007428"/>
                </a:lnTo>
                <a:lnTo>
                  <a:pt x="2523860" y="1005840"/>
                </a:lnTo>
                <a:lnTo>
                  <a:pt x="2532735" y="1005522"/>
                </a:lnTo>
                <a:lnTo>
                  <a:pt x="2536855" y="1005522"/>
                </a:lnTo>
                <a:lnTo>
                  <a:pt x="2548266" y="1009016"/>
                </a:lnTo>
                <a:lnTo>
                  <a:pt x="2559677" y="1012193"/>
                </a:lnTo>
                <a:lnTo>
                  <a:pt x="2570453" y="1016322"/>
                </a:lnTo>
                <a:lnTo>
                  <a:pt x="2580913" y="1021087"/>
                </a:lnTo>
                <a:lnTo>
                  <a:pt x="2591056" y="1025851"/>
                </a:lnTo>
                <a:lnTo>
                  <a:pt x="2600882" y="1031251"/>
                </a:lnTo>
                <a:lnTo>
                  <a:pt x="2610391" y="1036651"/>
                </a:lnTo>
                <a:lnTo>
                  <a:pt x="2618949" y="1043321"/>
                </a:lnTo>
                <a:lnTo>
                  <a:pt x="2627507" y="1049674"/>
                </a:lnTo>
                <a:lnTo>
                  <a:pt x="2635431" y="1056662"/>
                </a:lnTo>
                <a:lnTo>
                  <a:pt x="2643355" y="1063968"/>
                </a:lnTo>
                <a:lnTo>
                  <a:pt x="2650962" y="1071274"/>
                </a:lnTo>
                <a:lnTo>
                  <a:pt x="2657618" y="1079215"/>
                </a:lnTo>
                <a:lnTo>
                  <a:pt x="2664274" y="1087473"/>
                </a:lnTo>
                <a:lnTo>
                  <a:pt x="2670614" y="1096050"/>
                </a:lnTo>
                <a:lnTo>
                  <a:pt x="2676636" y="1104944"/>
                </a:lnTo>
                <a:lnTo>
                  <a:pt x="2682341" y="1113838"/>
                </a:lnTo>
                <a:lnTo>
                  <a:pt x="2688047" y="1123367"/>
                </a:lnTo>
                <a:lnTo>
                  <a:pt x="2692801" y="1132578"/>
                </a:lnTo>
                <a:lnTo>
                  <a:pt x="2697872" y="1142425"/>
                </a:lnTo>
                <a:lnTo>
                  <a:pt x="2702310" y="1152272"/>
                </a:lnTo>
                <a:lnTo>
                  <a:pt x="2706430" y="1162436"/>
                </a:lnTo>
                <a:lnTo>
                  <a:pt x="2710551" y="1172601"/>
                </a:lnTo>
                <a:lnTo>
                  <a:pt x="2714037" y="1183083"/>
                </a:lnTo>
                <a:lnTo>
                  <a:pt x="2717207" y="1193248"/>
                </a:lnTo>
                <a:lnTo>
                  <a:pt x="2720694" y="1204047"/>
                </a:lnTo>
                <a:lnTo>
                  <a:pt x="2723229" y="1214847"/>
                </a:lnTo>
                <a:lnTo>
                  <a:pt x="2726082" y="1225647"/>
                </a:lnTo>
                <a:lnTo>
                  <a:pt x="2728618" y="1236447"/>
                </a:lnTo>
                <a:lnTo>
                  <a:pt x="2730836" y="1246929"/>
                </a:lnTo>
                <a:lnTo>
                  <a:pt x="2734640" y="1268846"/>
                </a:lnTo>
                <a:lnTo>
                  <a:pt x="2737176" y="1290763"/>
                </a:lnTo>
                <a:lnTo>
                  <a:pt x="2739394" y="1312363"/>
                </a:lnTo>
                <a:lnTo>
                  <a:pt x="2740979" y="1333962"/>
                </a:lnTo>
                <a:lnTo>
                  <a:pt x="2741613" y="1354926"/>
                </a:lnTo>
                <a:lnTo>
                  <a:pt x="2741613" y="1375256"/>
                </a:lnTo>
                <a:lnTo>
                  <a:pt x="2741296" y="1395267"/>
                </a:lnTo>
                <a:lnTo>
                  <a:pt x="2740662" y="1414325"/>
                </a:lnTo>
                <a:lnTo>
                  <a:pt x="2739394" y="1432431"/>
                </a:lnTo>
                <a:lnTo>
                  <a:pt x="2737493" y="1449583"/>
                </a:lnTo>
                <a:lnTo>
                  <a:pt x="2735591" y="1465148"/>
                </a:lnTo>
                <a:lnTo>
                  <a:pt x="2733689" y="1479759"/>
                </a:lnTo>
                <a:lnTo>
                  <a:pt x="2731470" y="1493100"/>
                </a:lnTo>
                <a:lnTo>
                  <a:pt x="2728935" y="1504853"/>
                </a:lnTo>
                <a:lnTo>
                  <a:pt x="2726716" y="1515017"/>
                </a:lnTo>
                <a:lnTo>
                  <a:pt x="2724180" y="1522641"/>
                </a:lnTo>
                <a:lnTo>
                  <a:pt x="2721962" y="1529311"/>
                </a:lnTo>
                <a:lnTo>
                  <a:pt x="2721962" y="1530582"/>
                </a:lnTo>
                <a:lnTo>
                  <a:pt x="2721328" y="1532170"/>
                </a:lnTo>
                <a:lnTo>
                  <a:pt x="2720694" y="1533758"/>
                </a:lnTo>
                <a:lnTo>
                  <a:pt x="2719426" y="1535346"/>
                </a:lnTo>
                <a:lnTo>
                  <a:pt x="2718158" y="1536617"/>
                </a:lnTo>
                <a:lnTo>
                  <a:pt x="2716573" y="1538523"/>
                </a:lnTo>
                <a:lnTo>
                  <a:pt x="2711819" y="1542017"/>
                </a:lnTo>
                <a:lnTo>
                  <a:pt x="2705796" y="1545511"/>
                </a:lnTo>
                <a:lnTo>
                  <a:pt x="2698506" y="1548687"/>
                </a:lnTo>
                <a:lnTo>
                  <a:pt x="2689948" y="1552499"/>
                </a:lnTo>
                <a:lnTo>
                  <a:pt x="2680122" y="1556628"/>
                </a:lnTo>
                <a:lnTo>
                  <a:pt x="2671881" y="1653826"/>
                </a:lnTo>
                <a:lnTo>
                  <a:pt x="2664908" y="1730695"/>
                </a:lnTo>
                <a:lnTo>
                  <a:pt x="2657935" y="1800894"/>
                </a:lnTo>
                <a:lnTo>
                  <a:pt x="2657618" y="1806293"/>
                </a:lnTo>
                <a:lnTo>
                  <a:pt x="2656350" y="1811058"/>
                </a:lnTo>
                <a:lnTo>
                  <a:pt x="2655399" y="1817728"/>
                </a:lnTo>
                <a:lnTo>
                  <a:pt x="2652230" y="1836152"/>
                </a:lnTo>
                <a:lnTo>
                  <a:pt x="2648109" y="1859339"/>
                </a:lnTo>
                <a:lnTo>
                  <a:pt x="2645890" y="1872363"/>
                </a:lnTo>
                <a:lnTo>
                  <a:pt x="2643038" y="1885068"/>
                </a:lnTo>
                <a:lnTo>
                  <a:pt x="2639551" y="1897774"/>
                </a:lnTo>
                <a:lnTo>
                  <a:pt x="2635431" y="1910162"/>
                </a:lnTo>
                <a:lnTo>
                  <a:pt x="2633529" y="1916197"/>
                </a:lnTo>
                <a:lnTo>
                  <a:pt x="2630993" y="1921914"/>
                </a:lnTo>
                <a:lnTo>
                  <a:pt x="2628458" y="1927632"/>
                </a:lnTo>
                <a:lnTo>
                  <a:pt x="2625605" y="1932397"/>
                </a:lnTo>
                <a:lnTo>
                  <a:pt x="2622752" y="1937479"/>
                </a:lnTo>
                <a:lnTo>
                  <a:pt x="2619583" y="1941926"/>
                </a:lnTo>
                <a:lnTo>
                  <a:pt x="2616413" y="1946055"/>
                </a:lnTo>
                <a:lnTo>
                  <a:pt x="2612926" y="1949867"/>
                </a:lnTo>
                <a:lnTo>
                  <a:pt x="2609123" y="1952726"/>
                </a:lnTo>
                <a:lnTo>
                  <a:pt x="2605002" y="1955267"/>
                </a:lnTo>
                <a:lnTo>
                  <a:pt x="2600882" y="1957490"/>
                </a:lnTo>
                <a:lnTo>
                  <a:pt x="2596444" y="1959078"/>
                </a:lnTo>
                <a:lnTo>
                  <a:pt x="2410704" y="1985443"/>
                </a:lnTo>
                <a:lnTo>
                  <a:pt x="2405633" y="1985760"/>
                </a:lnTo>
                <a:lnTo>
                  <a:pt x="2400561" y="1986078"/>
                </a:lnTo>
                <a:lnTo>
                  <a:pt x="2397075" y="1986078"/>
                </a:lnTo>
                <a:lnTo>
                  <a:pt x="2393271" y="1985760"/>
                </a:lnTo>
                <a:lnTo>
                  <a:pt x="2385981" y="1985125"/>
                </a:lnTo>
                <a:lnTo>
                  <a:pt x="2327660" y="2443162"/>
                </a:lnTo>
                <a:lnTo>
                  <a:pt x="2211651" y="2443162"/>
                </a:lnTo>
                <a:lnTo>
                  <a:pt x="2168545" y="1866963"/>
                </a:lnTo>
                <a:lnTo>
                  <a:pt x="2165375" y="1862516"/>
                </a:lnTo>
                <a:lnTo>
                  <a:pt x="2162522" y="1857433"/>
                </a:lnTo>
                <a:lnTo>
                  <a:pt x="2156817" y="1847904"/>
                </a:lnTo>
                <a:lnTo>
                  <a:pt x="2148576" y="2326906"/>
                </a:lnTo>
                <a:lnTo>
                  <a:pt x="2063630" y="2320235"/>
                </a:lnTo>
                <a:lnTo>
                  <a:pt x="1992313" y="1798670"/>
                </a:lnTo>
                <a:lnTo>
                  <a:pt x="2157768" y="1798670"/>
                </a:lnTo>
                <a:lnTo>
                  <a:pt x="2443668" y="1798670"/>
                </a:lnTo>
                <a:lnTo>
                  <a:pt x="2170129" y="1529946"/>
                </a:lnTo>
                <a:lnTo>
                  <a:pt x="2587569" y="1399079"/>
                </a:lnTo>
                <a:lnTo>
                  <a:pt x="2517204" y="1414008"/>
                </a:lnTo>
                <a:lnTo>
                  <a:pt x="2151746" y="1511841"/>
                </a:lnTo>
                <a:lnTo>
                  <a:pt x="2111808" y="1472771"/>
                </a:lnTo>
                <a:lnTo>
                  <a:pt x="2108956" y="1423219"/>
                </a:lnTo>
                <a:lnTo>
                  <a:pt x="2103250" y="1464513"/>
                </a:lnTo>
                <a:lnTo>
                  <a:pt x="2093741" y="1455301"/>
                </a:lnTo>
                <a:lnTo>
                  <a:pt x="2095009" y="1426078"/>
                </a:lnTo>
                <a:lnTo>
                  <a:pt x="2096911" y="1393361"/>
                </a:lnTo>
                <a:lnTo>
                  <a:pt x="2099447" y="1358103"/>
                </a:lnTo>
                <a:lnTo>
                  <a:pt x="2103250" y="1320621"/>
                </a:lnTo>
                <a:lnTo>
                  <a:pt x="2105152" y="1301563"/>
                </a:lnTo>
                <a:lnTo>
                  <a:pt x="2107371" y="1282504"/>
                </a:lnTo>
                <a:lnTo>
                  <a:pt x="2109906" y="1262811"/>
                </a:lnTo>
                <a:lnTo>
                  <a:pt x="2113076" y="1243752"/>
                </a:lnTo>
                <a:lnTo>
                  <a:pt x="2115929" y="1224059"/>
                </a:lnTo>
                <a:lnTo>
                  <a:pt x="2119415" y="1205318"/>
                </a:lnTo>
                <a:lnTo>
                  <a:pt x="2123219" y="1186577"/>
                </a:lnTo>
                <a:lnTo>
                  <a:pt x="2127339" y="1168154"/>
                </a:lnTo>
                <a:lnTo>
                  <a:pt x="2131777" y="1150366"/>
                </a:lnTo>
                <a:lnTo>
                  <a:pt x="2136214" y="1133214"/>
                </a:lnTo>
                <a:lnTo>
                  <a:pt x="2140969" y="1116379"/>
                </a:lnTo>
                <a:lnTo>
                  <a:pt x="2146674" y="1100497"/>
                </a:lnTo>
                <a:lnTo>
                  <a:pt x="2152379" y="1085568"/>
                </a:lnTo>
                <a:lnTo>
                  <a:pt x="2158719" y="1071274"/>
                </a:lnTo>
                <a:lnTo>
                  <a:pt x="2165058" y="1058568"/>
                </a:lnTo>
                <a:lnTo>
                  <a:pt x="2168545" y="1052533"/>
                </a:lnTo>
                <a:lnTo>
                  <a:pt x="2172031" y="1046815"/>
                </a:lnTo>
                <a:lnTo>
                  <a:pt x="2175518" y="1041416"/>
                </a:lnTo>
                <a:lnTo>
                  <a:pt x="2179321" y="1036333"/>
                </a:lnTo>
                <a:lnTo>
                  <a:pt x="2183125" y="1031569"/>
                </a:lnTo>
                <a:lnTo>
                  <a:pt x="2187245" y="1027122"/>
                </a:lnTo>
                <a:lnTo>
                  <a:pt x="2191366" y="1023310"/>
                </a:lnTo>
                <a:lnTo>
                  <a:pt x="2195486" y="1019498"/>
                </a:lnTo>
                <a:lnTo>
                  <a:pt x="2199607" y="1016004"/>
                </a:lnTo>
                <a:lnTo>
                  <a:pt x="2204044" y="1013146"/>
                </a:lnTo>
                <a:lnTo>
                  <a:pt x="2208799" y="1010922"/>
                </a:lnTo>
                <a:lnTo>
                  <a:pt x="2213236" y="1008699"/>
                </a:lnTo>
                <a:lnTo>
                  <a:pt x="2217991" y="1007111"/>
                </a:lnTo>
                <a:lnTo>
                  <a:pt x="2223062" y="1005840"/>
                </a:lnTo>
                <a:lnTo>
                  <a:pt x="2227817" y="1005205"/>
                </a:lnTo>
                <a:lnTo>
                  <a:pt x="2233205" y="1004887"/>
                </a:lnTo>
                <a:close/>
                <a:moveTo>
                  <a:pt x="1560668" y="914401"/>
                </a:moveTo>
                <a:lnTo>
                  <a:pt x="1571788" y="914401"/>
                </a:lnTo>
                <a:lnTo>
                  <a:pt x="1582591" y="915671"/>
                </a:lnTo>
                <a:lnTo>
                  <a:pt x="1594029" y="917258"/>
                </a:lnTo>
                <a:lnTo>
                  <a:pt x="1604514" y="919480"/>
                </a:lnTo>
                <a:lnTo>
                  <a:pt x="1615317" y="922021"/>
                </a:lnTo>
                <a:lnTo>
                  <a:pt x="1625802" y="925196"/>
                </a:lnTo>
                <a:lnTo>
                  <a:pt x="1636287" y="928688"/>
                </a:lnTo>
                <a:lnTo>
                  <a:pt x="1646772" y="933133"/>
                </a:lnTo>
                <a:lnTo>
                  <a:pt x="1656939" y="937261"/>
                </a:lnTo>
                <a:lnTo>
                  <a:pt x="1666788" y="942023"/>
                </a:lnTo>
                <a:lnTo>
                  <a:pt x="1676638" y="946786"/>
                </a:lnTo>
                <a:lnTo>
                  <a:pt x="1686487" y="952183"/>
                </a:lnTo>
                <a:lnTo>
                  <a:pt x="1695384" y="957263"/>
                </a:lnTo>
                <a:lnTo>
                  <a:pt x="1704598" y="962978"/>
                </a:lnTo>
                <a:lnTo>
                  <a:pt x="1712859" y="968693"/>
                </a:lnTo>
                <a:lnTo>
                  <a:pt x="1721120" y="974726"/>
                </a:lnTo>
                <a:lnTo>
                  <a:pt x="1729063" y="980441"/>
                </a:lnTo>
                <a:lnTo>
                  <a:pt x="1736371" y="986473"/>
                </a:lnTo>
                <a:lnTo>
                  <a:pt x="1750033" y="997586"/>
                </a:lnTo>
                <a:lnTo>
                  <a:pt x="1762106" y="1008698"/>
                </a:lnTo>
                <a:lnTo>
                  <a:pt x="1771956" y="1018858"/>
                </a:lnTo>
                <a:lnTo>
                  <a:pt x="1779264" y="1027748"/>
                </a:lnTo>
                <a:lnTo>
                  <a:pt x="1782441" y="1031558"/>
                </a:lnTo>
                <a:lnTo>
                  <a:pt x="1784665" y="1034733"/>
                </a:lnTo>
                <a:lnTo>
                  <a:pt x="1786254" y="1037908"/>
                </a:lnTo>
                <a:lnTo>
                  <a:pt x="1787207" y="1040448"/>
                </a:lnTo>
                <a:lnTo>
                  <a:pt x="1788160" y="1045845"/>
                </a:lnTo>
                <a:lnTo>
                  <a:pt x="1788478" y="1053783"/>
                </a:lnTo>
                <a:lnTo>
                  <a:pt x="1789113" y="1076643"/>
                </a:lnTo>
                <a:lnTo>
                  <a:pt x="1789113" y="1107440"/>
                </a:lnTo>
                <a:lnTo>
                  <a:pt x="1788478" y="1144588"/>
                </a:lnTo>
                <a:lnTo>
                  <a:pt x="1787525" y="1187133"/>
                </a:lnTo>
                <a:lnTo>
                  <a:pt x="1786254" y="1233488"/>
                </a:lnTo>
                <a:lnTo>
                  <a:pt x="1784347" y="1282383"/>
                </a:lnTo>
                <a:lnTo>
                  <a:pt x="1782123" y="1331913"/>
                </a:lnTo>
                <a:lnTo>
                  <a:pt x="1672507" y="1331913"/>
                </a:lnTo>
                <a:lnTo>
                  <a:pt x="1674096" y="1293813"/>
                </a:lnTo>
                <a:lnTo>
                  <a:pt x="1674732" y="1258253"/>
                </a:lnTo>
                <a:lnTo>
                  <a:pt x="1675685" y="1225550"/>
                </a:lnTo>
                <a:lnTo>
                  <a:pt x="1676002" y="1197293"/>
                </a:lnTo>
                <a:lnTo>
                  <a:pt x="1675685" y="1174115"/>
                </a:lnTo>
                <a:lnTo>
                  <a:pt x="1674732" y="1156970"/>
                </a:lnTo>
                <a:lnTo>
                  <a:pt x="1674096" y="1150938"/>
                </a:lnTo>
                <a:lnTo>
                  <a:pt x="1673143" y="1147445"/>
                </a:lnTo>
                <a:lnTo>
                  <a:pt x="1672825" y="1145858"/>
                </a:lnTo>
                <a:lnTo>
                  <a:pt x="1672507" y="1144905"/>
                </a:lnTo>
                <a:lnTo>
                  <a:pt x="1672190" y="1144905"/>
                </a:lnTo>
                <a:lnTo>
                  <a:pt x="1671237" y="1145540"/>
                </a:lnTo>
                <a:lnTo>
                  <a:pt x="1669648" y="1147445"/>
                </a:lnTo>
                <a:lnTo>
                  <a:pt x="1668059" y="1149668"/>
                </a:lnTo>
                <a:lnTo>
                  <a:pt x="1666471" y="1151890"/>
                </a:lnTo>
                <a:lnTo>
                  <a:pt x="1654079" y="1331913"/>
                </a:lnTo>
                <a:lnTo>
                  <a:pt x="1602608" y="1331913"/>
                </a:lnTo>
                <a:lnTo>
                  <a:pt x="1602290" y="1283335"/>
                </a:lnTo>
                <a:lnTo>
                  <a:pt x="1598477" y="1283653"/>
                </a:lnTo>
                <a:lnTo>
                  <a:pt x="1586721" y="1284605"/>
                </a:lnTo>
                <a:lnTo>
                  <a:pt x="1568293" y="1285240"/>
                </a:lnTo>
                <a:lnTo>
                  <a:pt x="1556537" y="1285558"/>
                </a:lnTo>
                <a:lnTo>
                  <a:pt x="1543828" y="1285558"/>
                </a:lnTo>
                <a:lnTo>
                  <a:pt x="1529213" y="1285240"/>
                </a:lnTo>
                <a:lnTo>
                  <a:pt x="1513009" y="1284605"/>
                </a:lnTo>
                <a:lnTo>
                  <a:pt x="1496169" y="1283653"/>
                </a:lnTo>
                <a:lnTo>
                  <a:pt x="1477741" y="1282383"/>
                </a:lnTo>
                <a:lnTo>
                  <a:pt x="1457724" y="1280478"/>
                </a:lnTo>
                <a:lnTo>
                  <a:pt x="1437390" y="1277620"/>
                </a:lnTo>
                <a:lnTo>
                  <a:pt x="1415467" y="1274763"/>
                </a:lnTo>
                <a:lnTo>
                  <a:pt x="1392908" y="1270953"/>
                </a:lnTo>
                <a:lnTo>
                  <a:pt x="1381787" y="1268730"/>
                </a:lnTo>
                <a:lnTo>
                  <a:pt x="1370349" y="1266508"/>
                </a:lnTo>
                <a:lnTo>
                  <a:pt x="1359547" y="1263968"/>
                </a:lnTo>
                <a:lnTo>
                  <a:pt x="1348426" y="1261110"/>
                </a:lnTo>
                <a:lnTo>
                  <a:pt x="1328092" y="1254760"/>
                </a:lnTo>
                <a:lnTo>
                  <a:pt x="1308710" y="1248410"/>
                </a:lnTo>
                <a:lnTo>
                  <a:pt x="1290282" y="1241743"/>
                </a:lnTo>
                <a:lnTo>
                  <a:pt x="1273443" y="1234440"/>
                </a:lnTo>
                <a:lnTo>
                  <a:pt x="1257556" y="1227455"/>
                </a:lnTo>
                <a:lnTo>
                  <a:pt x="1243259" y="1220153"/>
                </a:lnTo>
                <a:lnTo>
                  <a:pt x="1229914" y="1213485"/>
                </a:lnTo>
                <a:lnTo>
                  <a:pt x="1218794" y="1207135"/>
                </a:lnTo>
                <a:lnTo>
                  <a:pt x="1208626" y="1201103"/>
                </a:lnTo>
                <a:lnTo>
                  <a:pt x="1200366" y="1196340"/>
                </a:lnTo>
                <a:lnTo>
                  <a:pt x="1189245" y="1188720"/>
                </a:lnTo>
                <a:lnTo>
                  <a:pt x="1185115" y="1186180"/>
                </a:lnTo>
                <a:lnTo>
                  <a:pt x="1204814" y="1331913"/>
                </a:lnTo>
                <a:lnTo>
                  <a:pt x="1152071" y="1331913"/>
                </a:lnTo>
                <a:lnTo>
                  <a:pt x="1149529" y="1296670"/>
                </a:lnTo>
                <a:lnTo>
                  <a:pt x="1143810" y="1297305"/>
                </a:lnTo>
                <a:lnTo>
                  <a:pt x="1135549" y="1299210"/>
                </a:lnTo>
                <a:lnTo>
                  <a:pt x="1112355" y="1303655"/>
                </a:lnTo>
                <a:lnTo>
                  <a:pt x="1082489" y="1309688"/>
                </a:lnTo>
                <a:lnTo>
                  <a:pt x="1066285" y="1313180"/>
                </a:lnTo>
                <a:lnTo>
                  <a:pt x="1049445" y="1316038"/>
                </a:lnTo>
                <a:lnTo>
                  <a:pt x="1032606" y="1318895"/>
                </a:lnTo>
                <a:lnTo>
                  <a:pt x="1015766" y="1321118"/>
                </a:lnTo>
                <a:lnTo>
                  <a:pt x="999880" y="1322388"/>
                </a:lnTo>
                <a:lnTo>
                  <a:pt x="984629" y="1323658"/>
                </a:lnTo>
                <a:lnTo>
                  <a:pt x="977639" y="1323658"/>
                </a:lnTo>
                <a:lnTo>
                  <a:pt x="970649" y="1323658"/>
                </a:lnTo>
                <a:lnTo>
                  <a:pt x="964295" y="1323340"/>
                </a:lnTo>
                <a:lnTo>
                  <a:pt x="958575" y="1323023"/>
                </a:lnTo>
                <a:lnTo>
                  <a:pt x="953174" y="1322070"/>
                </a:lnTo>
                <a:lnTo>
                  <a:pt x="948090" y="1320483"/>
                </a:lnTo>
                <a:lnTo>
                  <a:pt x="943960" y="1319213"/>
                </a:lnTo>
                <a:lnTo>
                  <a:pt x="940783" y="1317625"/>
                </a:lnTo>
                <a:lnTo>
                  <a:pt x="934746" y="1305560"/>
                </a:lnTo>
                <a:lnTo>
                  <a:pt x="928709" y="1295083"/>
                </a:lnTo>
                <a:lnTo>
                  <a:pt x="917271" y="1275398"/>
                </a:lnTo>
                <a:lnTo>
                  <a:pt x="912505" y="1266508"/>
                </a:lnTo>
                <a:lnTo>
                  <a:pt x="908057" y="1257935"/>
                </a:lnTo>
                <a:lnTo>
                  <a:pt x="904244" y="1249680"/>
                </a:lnTo>
                <a:lnTo>
                  <a:pt x="902338" y="1244918"/>
                </a:lnTo>
                <a:lnTo>
                  <a:pt x="901067" y="1240790"/>
                </a:lnTo>
                <a:lnTo>
                  <a:pt x="900114" y="1236663"/>
                </a:lnTo>
                <a:lnTo>
                  <a:pt x="899161" y="1232535"/>
                </a:lnTo>
                <a:lnTo>
                  <a:pt x="898843" y="1228408"/>
                </a:lnTo>
                <a:lnTo>
                  <a:pt x="898525" y="1223963"/>
                </a:lnTo>
                <a:lnTo>
                  <a:pt x="898843" y="1219835"/>
                </a:lnTo>
                <a:lnTo>
                  <a:pt x="899161" y="1215390"/>
                </a:lnTo>
                <a:lnTo>
                  <a:pt x="900431" y="1210628"/>
                </a:lnTo>
                <a:lnTo>
                  <a:pt x="901385" y="1205865"/>
                </a:lnTo>
                <a:lnTo>
                  <a:pt x="903291" y="1201103"/>
                </a:lnTo>
                <a:lnTo>
                  <a:pt x="905197" y="1195705"/>
                </a:lnTo>
                <a:lnTo>
                  <a:pt x="908057" y="1190943"/>
                </a:lnTo>
                <a:lnTo>
                  <a:pt x="910916" y="1185228"/>
                </a:lnTo>
                <a:lnTo>
                  <a:pt x="914729" y="1179513"/>
                </a:lnTo>
                <a:lnTo>
                  <a:pt x="918542" y="1173480"/>
                </a:lnTo>
                <a:lnTo>
                  <a:pt x="922990" y="1167765"/>
                </a:lnTo>
                <a:lnTo>
                  <a:pt x="928391" y="1161098"/>
                </a:lnTo>
                <a:lnTo>
                  <a:pt x="939512" y="1146810"/>
                </a:lnTo>
                <a:lnTo>
                  <a:pt x="949361" y="1133793"/>
                </a:lnTo>
                <a:lnTo>
                  <a:pt x="967154" y="1109345"/>
                </a:lnTo>
                <a:lnTo>
                  <a:pt x="976050" y="1096963"/>
                </a:lnTo>
                <a:lnTo>
                  <a:pt x="985900" y="1084580"/>
                </a:lnTo>
                <a:lnTo>
                  <a:pt x="997338" y="1070928"/>
                </a:lnTo>
                <a:lnTo>
                  <a:pt x="1004328" y="1063943"/>
                </a:lnTo>
                <a:lnTo>
                  <a:pt x="1011318" y="1056323"/>
                </a:lnTo>
                <a:lnTo>
                  <a:pt x="1017673" y="1045528"/>
                </a:lnTo>
                <a:lnTo>
                  <a:pt x="1024663" y="1035368"/>
                </a:lnTo>
                <a:lnTo>
                  <a:pt x="1031335" y="1025525"/>
                </a:lnTo>
                <a:lnTo>
                  <a:pt x="1038007" y="1016318"/>
                </a:lnTo>
                <a:lnTo>
                  <a:pt x="1044997" y="1008063"/>
                </a:lnTo>
                <a:lnTo>
                  <a:pt x="1051669" y="1000443"/>
                </a:lnTo>
                <a:lnTo>
                  <a:pt x="1058659" y="993141"/>
                </a:lnTo>
                <a:lnTo>
                  <a:pt x="1065967" y="986473"/>
                </a:lnTo>
                <a:lnTo>
                  <a:pt x="1073593" y="980123"/>
                </a:lnTo>
                <a:lnTo>
                  <a:pt x="1080583" y="974091"/>
                </a:lnTo>
                <a:lnTo>
                  <a:pt x="1088208" y="968693"/>
                </a:lnTo>
                <a:lnTo>
                  <a:pt x="1096151" y="963931"/>
                </a:lnTo>
                <a:lnTo>
                  <a:pt x="1104094" y="959168"/>
                </a:lnTo>
                <a:lnTo>
                  <a:pt x="1111720" y="954723"/>
                </a:lnTo>
                <a:lnTo>
                  <a:pt x="1119663" y="950913"/>
                </a:lnTo>
                <a:lnTo>
                  <a:pt x="1127924" y="947738"/>
                </a:lnTo>
                <a:lnTo>
                  <a:pt x="1136185" y="944246"/>
                </a:lnTo>
                <a:lnTo>
                  <a:pt x="1145081" y="941388"/>
                </a:lnTo>
                <a:lnTo>
                  <a:pt x="1153660" y="938531"/>
                </a:lnTo>
                <a:lnTo>
                  <a:pt x="1162238" y="935991"/>
                </a:lnTo>
                <a:lnTo>
                  <a:pt x="1171452" y="933768"/>
                </a:lnTo>
                <a:lnTo>
                  <a:pt x="1180349" y="931863"/>
                </a:lnTo>
                <a:lnTo>
                  <a:pt x="1199412" y="928053"/>
                </a:lnTo>
                <a:lnTo>
                  <a:pt x="1218794" y="924561"/>
                </a:lnTo>
                <a:lnTo>
                  <a:pt x="1239128" y="921703"/>
                </a:lnTo>
                <a:lnTo>
                  <a:pt x="1282021" y="915988"/>
                </a:lnTo>
                <a:lnTo>
                  <a:pt x="1284881" y="915671"/>
                </a:lnTo>
                <a:lnTo>
                  <a:pt x="1287740" y="915671"/>
                </a:lnTo>
                <a:lnTo>
                  <a:pt x="1292824" y="915671"/>
                </a:lnTo>
                <a:lnTo>
                  <a:pt x="1366537" y="1187768"/>
                </a:lnTo>
                <a:lnTo>
                  <a:pt x="1368125" y="1176973"/>
                </a:lnTo>
                <a:lnTo>
                  <a:pt x="1393226" y="990283"/>
                </a:lnTo>
                <a:lnTo>
                  <a:pt x="1386236" y="972186"/>
                </a:lnTo>
                <a:lnTo>
                  <a:pt x="1400216" y="947738"/>
                </a:lnTo>
                <a:lnTo>
                  <a:pt x="1432306" y="947421"/>
                </a:lnTo>
                <a:lnTo>
                  <a:pt x="1445968" y="972186"/>
                </a:lnTo>
                <a:lnTo>
                  <a:pt x="1439614" y="993776"/>
                </a:lnTo>
                <a:lnTo>
                  <a:pt x="1462490" y="1190943"/>
                </a:lnTo>
                <a:lnTo>
                  <a:pt x="1522858" y="924243"/>
                </a:lnTo>
                <a:lnTo>
                  <a:pt x="1529530" y="921386"/>
                </a:lnTo>
                <a:lnTo>
                  <a:pt x="1534932" y="918846"/>
                </a:lnTo>
                <a:lnTo>
                  <a:pt x="1537791" y="916940"/>
                </a:lnTo>
                <a:lnTo>
                  <a:pt x="1538427" y="915988"/>
                </a:lnTo>
                <a:lnTo>
                  <a:pt x="1549865" y="915036"/>
                </a:lnTo>
                <a:lnTo>
                  <a:pt x="1560668" y="914401"/>
                </a:lnTo>
                <a:close/>
                <a:moveTo>
                  <a:pt x="170497" y="661035"/>
                </a:moveTo>
                <a:lnTo>
                  <a:pt x="168576" y="681657"/>
                </a:lnTo>
                <a:lnTo>
                  <a:pt x="168275" y="683619"/>
                </a:lnTo>
                <a:lnTo>
                  <a:pt x="167640" y="691889"/>
                </a:lnTo>
                <a:lnTo>
                  <a:pt x="167640" y="695282"/>
                </a:lnTo>
                <a:lnTo>
                  <a:pt x="167322" y="700477"/>
                </a:lnTo>
                <a:lnTo>
                  <a:pt x="167640" y="700795"/>
                </a:lnTo>
                <a:lnTo>
                  <a:pt x="167640" y="695282"/>
                </a:lnTo>
                <a:lnTo>
                  <a:pt x="168275" y="684891"/>
                </a:lnTo>
                <a:lnTo>
                  <a:pt x="168576" y="681657"/>
                </a:lnTo>
                <a:lnTo>
                  <a:pt x="169545" y="675349"/>
                </a:lnTo>
                <a:lnTo>
                  <a:pt x="170497" y="668033"/>
                </a:lnTo>
                <a:lnTo>
                  <a:pt x="170497" y="664534"/>
                </a:lnTo>
                <a:lnTo>
                  <a:pt x="170497" y="661035"/>
                </a:lnTo>
                <a:close/>
                <a:moveTo>
                  <a:pt x="2571454" y="661035"/>
                </a:moveTo>
                <a:lnTo>
                  <a:pt x="2571454" y="664534"/>
                </a:lnTo>
                <a:lnTo>
                  <a:pt x="2571137" y="668033"/>
                </a:lnTo>
                <a:lnTo>
                  <a:pt x="2572406" y="675349"/>
                </a:lnTo>
                <a:lnTo>
                  <a:pt x="2573358" y="683619"/>
                </a:lnTo>
                <a:lnTo>
                  <a:pt x="2573992" y="691889"/>
                </a:lnTo>
                <a:lnTo>
                  <a:pt x="2574310" y="700795"/>
                </a:lnTo>
                <a:lnTo>
                  <a:pt x="2574627" y="700477"/>
                </a:lnTo>
                <a:lnTo>
                  <a:pt x="2573675" y="684891"/>
                </a:lnTo>
                <a:lnTo>
                  <a:pt x="2571454" y="661035"/>
                </a:lnTo>
                <a:close/>
                <a:moveTo>
                  <a:pt x="197485" y="574519"/>
                </a:moveTo>
                <a:lnTo>
                  <a:pt x="195897" y="575155"/>
                </a:lnTo>
                <a:lnTo>
                  <a:pt x="194310" y="576109"/>
                </a:lnTo>
                <a:lnTo>
                  <a:pt x="192405" y="577381"/>
                </a:lnTo>
                <a:lnTo>
                  <a:pt x="190817" y="579290"/>
                </a:lnTo>
                <a:lnTo>
                  <a:pt x="189230" y="581198"/>
                </a:lnTo>
                <a:lnTo>
                  <a:pt x="186690" y="585969"/>
                </a:lnTo>
                <a:lnTo>
                  <a:pt x="189865" y="582789"/>
                </a:lnTo>
                <a:lnTo>
                  <a:pt x="192722" y="579608"/>
                </a:lnTo>
                <a:lnTo>
                  <a:pt x="195897" y="576745"/>
                </a:lnTo>
                <a:lnTo>
                  <a:pt x="199390" y="574519"/>
                </a:lnTo>
                <a:lnTo>
                  <a:pt x="197485" y="574519"/>
                </a:lnTo>
                <a:close/>
                <a:moveTo>
                  <a:pt x="2542584" y="574518"/>
                </a:moveTo>
                <a:lnTo>
                  <a:pt x="2545757" y="576745"/>
                </a:lnTo>
                <a:lnTo>
                  <a:pt x="2549247" y="579608"/>
                </a:lnTo>
                <a:lnTo>
                  <a:pt x="2552102" y="582788"/>
                </a:lnTo>
                <a:lnTo>
                  <a:pt x="2555274" y="585969"/>
                </a:lnTo>
                <a:lnTo>
                  <a:pt x="2552102" y="581198"/>
                </a:lnTo>
                <a:lnTo>
                  <a:pt x="2550833" y="579290"/>
                </a:lnTo>
                <a:lnTo>
                  <a:pt x="2549247" y="577381"/>
                </a:lnTo>
                <a:lnTo>
                  <a:pt x="2547660" y="576109"/>
                </a:lnTo>
                <a:lnTo>
                  <a:pt x="2545757" y="575155"/>
                </a:lnTo>
                <a:lnTo>
                  <a:pt x="2544488" y="574518"/>
                </a:lnTo>
                <a:lnTo>
                  <a:pt x="2542584" y="574518"/>
                </a:lnTo>
                <a:close/>
                <a:moveTo>
                  <a:pt x="331470" y="485775"/>
                </a:moveTo>
                <a:lnTo>
                  <a:pt x="347662" y="485775"/>
                </a:lnTo>
                <a:lnTo>
                  <a:pt x="363537" y="486729"/>
                </a:lnTo>
                <a:lnTo>
                  <a:pt x="378460" y="488638"/>
                </a:lnTo>
                <a:lnTo>
                  <a:pt x="393700" y="490864"/>
                </a:lnTo>
                <a:lnTo>
                  <a:pt x="407988" y="493409"/>
                </a:lnTo>
                <a:lnTo>
                  <a:pt x="421323" y="497226"/>
                </a:lnTo>
                <a:lnTo>
                  <a:pt x="434658" y="501043"/>
                </a:lnTo>
                <a:lnTo>
                  <a:pt x="447040" y="505178"/>
                </a:lnTo>
                <a:lnTo>
                  <a:pt x="459105" y="509631"/>
                </a:lnTo>
                <a:lnTo>
                  <a:pt x="470535" y="514402"/>
                </a:lnTo>
                <a:lnTo>
                  <a:pt x="481013" y="519491"/>
                </a:lnTo>
                <a:lnTo>
                  <a:pt x="491173" y="524580"/>
                </a:lnTo>
                <a:lnTo>
                  <a:pt x="500698" y="529670"/>
                </a:lnTo>
                <a:lnTo>
                  <a:pt x="509270" y="534759"/>
                </a:lnTo>
                <a:lnTo>
                  <a:pt x="517208" y="539848"/>
                </a:lnTo>
                <a:lnTo>
                  <a:pt x="524510" y="544301"/>
                </a:lnTo>
                <a:lnTo>
                  <a:pt x="536575" y="552889"/>
                </a:lnTo>
                <a:lnTo>
                  <a:pt x="545465" y="559569"/>
                </a:lnTo>
                <a:lnTo>
                  <a:pt x="550863" y="564340"/>
                </a:lnTo>
                <a:lnTo>
                  <a:pt x="552450" y="565612"/>
                </a:lnTo>
                <a:lnTo>
                  <a:pt x="550863" y="569747"/>
                </a:lnTo>
                <a:lnTo>
                  <a:pt x="548005" y="574837"/>
                </a:lnTo>
                <a:lnTo>
                  <a:pt x="544195" y="581198"/>
                </a:lnTo>
                <a:lnTo>
                  <a:pt x="539750" y="587878"/>
                </a:lnTo>
                <a:lnTo>
                  <a:pt x="534035" y="595512"/>
                </a:lnTo>
                <a:lnTo>
                  <a:pt x="530860" y="599647"/>
                </a:lnTo>
                <a:lnTo>
                  <a:pt x="527050" y="603463"/>
                </a:lnTo>
                <a:lnTo>
                  <a:pt x="523240" y="607280"/>
                </a:lnTo>
                <a:lnTo>
                  <a:pt x="518795" y="610779"/>
                </a:lnTo>
                <a:lnTo>
                  <a:pt x="514350" y="614278"/>
                </a:lnTo>
                <a:lnTo>
                  <a:pt x="509588" y="617777"/>
                </a:lnTo>
                <a:lnTo>
                  <a:pt x="504508" y="620640"/>
                </a:lnTo>
                <a:lnTo>
                  <a:pt x="498793" y="623502"/>
                </a:lnTo>
                <a:lnTo>
                  <a:pt x="493078" y="626047"/>
                </a:lnTo>
                <a:lnTo>
                  <a:pt x="487045" y="627955"/>
                </a:lnTo>
                <a:lnTo>
                  <a:pt x="480695" y="629228"/>
                </a:lnTo>
                <a:lnTo>
                  <a:pt x="474028" y="630500"/>
                </a:lnTo>
                <a:lnTo>
                  <a:pt x="466725" y="630818"/>
                </a:lnTo>
                <a:lnTo>
                  <a:pt x="459423" y="630818"/>
                </a:lnTo>
                <a:lnTo>
                  <a:pt x="451803" y="630182"/>
                </a:lnTo>
                <a:lnTo>
                  <a:pt x="443548" y="628910"/>
                </a:lnTo>
                <a:lnTo>
                  <a:pt x="434975" y="626683"/>
                </a:lnTo>
                <a:lnTo>
                  <a:pt x="426403" y="624139"/>
                </a:lnTo>
                <a:lnTo>
                  <a:pt x="417195" y="620322"/>
                </a:lnTo>
                <a:lnTo>
                  <a:pt x="407353" y="615869"/>
                </a:lnTo>
                <a:lnTo>
                  <a:pt x="396557" y="610461"/>
                </a:lnTo>
                <a:lnTo>
                  <a:pt x="385127" y="605690"/>
                </a:lnTo>
                <a:lnTo>
                  <a:pt x="408305" y="616823"/>
                </a:lnTo>
                <a:lnTo>
                  <a:pt x="430848" y="627955"/>
                </a:lnTo>
                <a:lnTo>
                  <a:pt x="441643" y="632727"/>
                </a:lnTo>
                <a:lnTo>
                  <a:pt x="452120" y="637180"/>
                </a:lnTo>
                <a:lnTo>
                  <a:pt x="462280" y="641315"/>
                </a:lnTo>
                <a:lnTo>
                  <a:pt x="472440" y="645132"/>
                </a:lnTo>
                <a:lnTo>
                  <a:pt x="481965" y="648312"/>
                </a:lnTo>
                <a:lnTo>
                  <a:pt x="491173" y="650539"/>
                </a:lnTo>
                <a:lnTo>
                  <a:pt x="500063" y="652129"/>
                </a:lnTo>
                <a:lnTo>
                  <a:pt x="504190" y="652447"/>
                </a:lnTo>
                <a:lnTo>
                  <a:pt x="508318" y="652447"/>
                </a:lnTo>
                <a:lnTo>
                  <a:pt x="512128" y="652447"/>
                </a:lnTo>
                <a:lnTo>
                  <a:pt x="515620" y="652129"/>
                </a:lnTo>
                <a:lnTo>
                  <a:pt x="519430" y="651493"/>
                </a:lnTo>
                <a:lnTo>
                  <a:pt x="522923" y="650539"/>
                </a:lnTo>
                <a:lnTo>
                  <a:pt x="526415" y="649267"/>
                </a:lnTo>
                <a:lnTo>
                  <a:pt x="529590" y="647676"/>
                </a:lnTo>
                <a:lnTo>
                  <a:pt x="532765" y="646086"/>
                </a:lnTo>
                <a:lnTo>
                  <a:pt x="535623" y="643541"/>
                </a:lnTo>
                <a:lnTo>
                  <a:pt x="536893" y="651493"/>
                </a:lnTo>
                <a:lnTo>
                  <a:pt x="537210" y="659127"/>
                </a:lnTo>
                <a:lnTo>
                  <a:pt x="537845" y="673440"/>
                </a:lnTo>
                <a:lnTo>
                  <a:pt x="537845" y="687118"/>
                </a:lnTo>
                <a:lnTo>
                  <a:pt x="537210" y="700159"/>
                </a:lnTo>
                <a:lnTo>
                  <a:pt x="538163" y="699205"/>
                </a:lnTo>
                <a:lnTo>
                  <a:pt x="539433" y="697932"/>
                </a:lnTo>
                <a:lnTo>
                  <a:pt x="540703" y="697296"/>
                </a:lnTo>
                <a:lnTo>
                  <a:pt x="541973" y="696660"/>
                </a:lnTo>
                <a:lnTo>
                  <a:pt x="542925" y="697296"/>
                </a:lnTo>
                <a:lnTo>
                  <a:pt x="543243" y="698251"/>
                </a:lnTo>
                <a:lnTo>
                  <a:pt x="543878" y="699841"/>
                </a:lnTo>
                <a:lnTo>
                  <a:pt x="543878" y="702067"/>
                </a:lnTo>
                <a:lnTo>
                  <a:pt x="544195" y="708429"/>
                </a:lnTo>
                <a:lnTo>
                  <a:pt x="544195" y="716063"/>
                </a:lnTo>
                <a:lnTo>
                  <a:pt x="543878" y="725287"/>
                </a:lnTo>
                <a:lnTo>
                  <a:pt x="542925" y="735466"/>
                </a:lnTo>
                <a:lnTo>
                  <a:pt x="540703" y="757413"/>
                </a:lnTo>
                <a:lnTo>
                  <a:pt x="537528" y="779042"/>
                </a:lnTo>
                <a:lnTo>
                  <a:pt x="534670" y="796536"/>
                </a:lnTo>
                <a:lnTo>
                  <a:pt x="533083" y="802898"/>
                </a:lnTo>
                <a:lnTo>
                  <a:pt x="531813" y="807669"/>
                </a:lnTo>
                <a:lnTo>
                  <a:pt x="531178" y="808623"/>
                </a:lnTo>
                <a:lnTo>
                  <a:pt x="530860" y="809577"/>
                </a:lnTo>
                <a:lnTo>
                  <a:pt x="530543" y="809577"/>
                </a:lnTo>
                <a:lnTo>
                  <a:pt x="529908" y="808623"/>
                </a:lnTo>
                <a:lnTo>
                  <a:pt x="528638" y="820392"/>
                </a:lnTo>
                <a:lnTo>
                  <a:pt x="526733" y="831525"/>
                </a:lnTo>
                <a:lnTo>
                  <a:pt x="524510" y="842657"/>
                </a:lnTo>
                <a:lnTo>
                  <a:pt x="521335" y="853154"/>
                </a:lnTo>
                <a:lnTo>
                  <a:pt x="518478" y="863650"/>
                </a:lnTo>
                <a:lnTo>
                  <a:pt x="514985" y="873829"/>
                </a:lnTo>
                <a:lnTo>
                  <a:pt x="510858" y="883689"/>
                </a:lnTo>
                <a:lnTo>
                  <a:pt x="506730" y="892913"/>
                </a:lnTo>
                <a:lnTo>
                  <a:pt x="502285" y="902138"/>
                </a:lnTo>
                <a:lnTo>
                  <a:pt x="497205" y="911044"/>
                </a:lnTo>
                <a:lnTo>
                  <a:pt x="492443" y="919314"/>
                </a:lnTo>
                <a:lnTo>
                  <a:pt x="486728" y="927584"/>
                </a:lnTo>
                <a:lnTo>
                  <a:pt x="481013" y="935536"/>
                </a:lnTo>
                <a:lnTo>
                  <a:pt x="475615" y="943170"/>
                </a:lnTo>
                <a:lnTo>
                  <a:pt x="469583" y="950167"/>
                </a:lnTo>
                <a:lnTo>
                  <a:pt x="463550" y="957165"/>
                </a:lnTo>
                <a:lnTo>
                  <a:pt x="457200" y="963209"/>
                </a:lnTo>
                <a:lnTo>
                  <a:pt x="450850" y="969252"/>
                </a:lnTo>
                <a:lnTo>
                  <a:pt x="443865" y="974659"/>
                </a:lnTo>
                <a:lnTo>
                  <a:pt x="437198" y="980067"/>
                </a:lnTo>
                <a:lnTo>
                  <a:pt x="430530" y="984838"/>
                </a:lnTo>
                <a:lnTo>
                  <a:pt x="423545" y="989609"/>
                </a:lnTo>
                <a:lnTo>
                  <a:pt x="416878" y="993744"/>
                </a:lnTo>
                <a:lnTo>
                  <a:pt x="410210" y="997243"/>
                </a:lnTo>
                <a:lnTo>
                  <a:pt x="402908" y="1000742"/>
                </a:lnTo>
                <a:lnTo>
                  <a:pt x="396240" y="1003286"/>
                </a:lnTo>
                <a:lnTo>
                  <a:pt x="389255" y="1006149"/>
                </a:lnTo>
                <a:lnTo>
                  <a:pt x="382587" y="1008057"/>
                </a:lnTo>
                <a:lnTo>
                  <a:pt x="375920" y="1009330"/>
                </a:lnTo>
                <a:lnTo>
                  <a:pt x="369252" y="1010602"/>
                </a:lnTo>
                <a:lnTo>
                  <a:pt x="362585" y="1011238"/>
                </a:lnTo>
                <a:lnTo>
                  <a:pt x="356235" y="1011238"/>
                </a:lnTo>
                <a:lnTo>
                  <a:pt x="351155" y="1011238"/>
                </a:lnTo>
                <a:lnTo>
                  <a:pt x="345440" y="1010602"/>
                </a:lnTo>
                <a:lnTo>
                  <a:pt x="339725" y="1009330"/>
                </a:lnTo>
                <a:lnTo>
                  <a:pt x="334010" y="1007421"/>
                </a:lnTo>
                <a:lnTo>
                  <a:pt x="327977" y="1005831"/>
                </a:lnTo>
                <a:lnTo>
                  <a:pt x="321945" y="1002968"/>
                </a:lnTo>
                <a:lnTo>
                  <a:pt x="315595" y="1000105"/>
                </a:lnTo>
                <a:lnTo>
                  <a:pt x="309245" y="996607"/>
                </a:lnTo>
                <a:lnTo>
                  <a:pt x="302895" y="992790"/>
                </a:lnTo>
                <a:lnTo>
                  <a:pt x="296227" y="988655"/>
                </a:lnTo>
                <a:lnTo>
                  <a:pt x="289877" y="984202"/>
                </a:lnTo>
                <a:lnTo>
                  <a:pt x="282892" y="979430"/>
                </a:lnTo>
                <a:lnTo>
                  <a:pt x="276542" y="974023"/>
                </a:lnTo>
                <a:lnTo>
                  <a:pt x="269875" y="968298"/>
                </a:lnTo>
                <a:lnTo>
                  <a:pt x="263207" y="962254"/>
                </a:lnTo>
                <a:lnTo>
                  <a:pt x="256540" y="955893"/>
                </a:lnTo>
                <a:lnTo>
                  <a:pt x="250190" y="949213"/>
                </a:lnTo>
                <a:lnTo>
                  <a:pt x="243840" y="941897"/>
                </a:lnTo>
                <a:lnTo>
                  <a:pt x="237490" y="934900"/>
                </a:lnTo>
                <a:lnTo>
                  <a:pt x="231457" y="927266"/>
                </a:lnTo>
                <a:lnTo>
                  <a:pt x="225425" y="919314"/>
                </a:lnTo>
                <a:lnTo>
                  <a:pt x="219710" y="911044"/>
                </a:lnTo>
                <a:lnTo>
                  <a:pt x="214312" y="902774"/>
                </a:lnTo>
                <a:lnTo>
                  <a:pt x="208915" y="893868"/>
                </a:lnTo>
                <a:lnTo>
                  <a:pt x="203517" y="885280"/>
                </a:lnTo>
                <a:lnTo>
                  <a:pt x="198755" y="875737"/>
                </a:lnTo>
                <a:lnTo>
                  <a:pt x="194310" y="866195"/>
                </a:lnTo>
                <a:lnTo>
                  <a:pt x="190182" y="856971"/>
                </a:lnTo>
                <a:lnTo>
                  <a:pt x="186055" y="846792"/>
                </a:lnTo>
                <a:lnTo>
                  <a:pt x="182245" y="836932"/>
                </a:lnTo>
                <a:lnTo>
                  <a:pt x="179070" y="826754"/>
                </a:lnTo>
                <a:lnTo>
                  <a:pt x="176212" y="816257"/>
                </a:lnTo>
                <a:lnTo>
                  <a:pt x="173990" y="822937"/>
                </a:lnTo>
                <a:lnTo>
                  <a:pt x="172402" y="826117"/>
                </a:lnTo>
                <a:lnTo>
                  <a:pt x="171450" y="828344"/>
                </a:lnTo>
                <a:lnTo>
                  <a:pt x="169862" y="830252"/>
                </a:lnTo>
                <a:lnTo>
                  <a:pt x="168275" y="831525"/>
                </a:lnTo>
                <a:lnTo>
                  <a:pt x="167322" y="832479"/>
                </a:lnTo>
                <a:lnTo>
                  <a:pt x="165417" y="832797"/>
                </a:lnTo>
                <a:lnTo>
                  <a:pt x="163830" y="832479"/>
                </a:lnTo>
                <a:lnTo>
                  <a:pt x="162242" y="831207"/>
                </a:lnTo>
                <a:lnTo>
                  <a:pt x="160655" y="829616"/>
                </a:lnTo>
                <a:lnTo>
                  <a:pt x="159385" y="827390"/>
                </a:lnTo>
                <a:lnTo>
                  <a:pt x="157797" y="824845"/>
                </a:lnTo>
                <a:lnTo>
                  <a:pt x="156210" y="821346"/>
                </a:lnTo>
                <a:lnTo>
                  <a:pt x="153987" y="813076"/>
                </a:lnTo>
                <a:lnTo>
                  <a:pt x="152082" y="803534"/>
                </a:lnTo>
                <a:lnTo>
                  <a:pt x="150495" y="792083"/>
                </a:lnTo>
                <a:lnTo>
                  <a:pt x="149542" y="779678"/>
                </a:lnTo>
                <a:lnTo>
                  <a:pt x="149225" y="766637"/>
                </a:lnTo>
                <a:lnTo>
                  <a:pt x="149542" y="753914"/>
                </a:lnTo>
                <a:lnTo>
                  <a:pt x="150177" y="742781"/>
                </a:lnTo>
                <a:lnTo>
                  <a:pt x="151765" y="732285"/>
                </a:lnTo>
                <a:lnTo>
                  <a:pt x="153352" y="722742"/>
                </a:lnTo>
                <a:lnTo>
                  <a:pt x="155257" y="714790"/>
                </a:lnTo>
                <a:lnTo>
                  <a:pt x="157797" y="708429"/>
                </a:lnTo>
                <a:lnTo>
                  <a:pt x="159067" y="705884"/>
                </a:lnTo>
                <a:lnTo>
                  <a:pt x="160337" y="703976"/>
                </a:lnTo>
                <a:lnTo>
                  <a:pt x="161607" y="702067"/>
                </a:lnTo>
                <a:lnTo>
                  <a:pt x="163195" y="700795"/>
                </a:lnTo>
                <a:lnTo>
                  <a:pt x="158432" y="696024"/>
                </a:lnTo>
                <a:lnTo>
                  <a:pt x="154622" y="690617"/>
                </a:lnTo>
                <a:lnTo>
                  <a:pt x="151447" y="685209"/>
                </a:lnTo>
                <a:lnTo>
                  <a:pt x="148907" y="679166"/>
                </a:lnTo>
                <a:lnTo>
                  <a:pt x="147002" y="672804"/>
                </a:lnTo>
                <a:lnTo>
                  <a:pt x="145097" y="666443"/>
                </a:lnTo>
                <a:lnTo>
                  <a:pt x="143827" y="659763"/>
                </a:lnTo>
                <a:lnTo>
                  <a:pt x="143192" y="653083"/>
                </a:lnTo>
                <a:lnTo>
                  <a:pt x="142875" y="646086"/>
                </a:lnTo>
                <a:lnTo>
                  <a:pt x="142875" y="639088"/>
                </a:lnTo>
                <a:lnTo>
                  <a:pt x="143510" y="632090"/>
                </a:lnTo>
                <a:lnTo>
                  <a:pt x="144145" y="624775"/>
                </a:lnTo>
                <a:lnTo>
                  <a:pt x="145415" y="617777"/>
                </a:lnTo>
                <a:lnTo>
                  <a:pt x="146367" y="610461"/>
                </a:lnTo>
                <a:lnTo>
                  <a:pt x="148272" y="603782"/>
                </a:lnTo>
                <a:lnTo>
                  <a:pt x="149860" y="596466"/>
                </a:lnTo>
                <a:lnTo>
                  <a:pt x="154305" y="583425"/>
                </a:lnTo>
                <a:lnTo>
                  <a:pt x="159385" y="570702"/>
                </a:lnTo>
                <a:lnTo>
                  <a:pt x="164465" y="558933"/>
                </a:lnTo>
                <a:lnTo>
                  <a:pt x="169862" y="548436"/>
                </a:lnTo>
                <a:lnTo>
                  <a:pt x="174942" y="539212"/>
                </a:lnTo>
                <a:lnTo>
                  <a:pt x="180022" y="532214"/>
                </a:lnTo>
                <a:lnTo>
                  <a:pt x="182562" y="529034"/>
                </a:lnTo>
                <a:lnTo>
                  <a:pt x="184467" y="526807"/>
                </a:lnTo>
                <a:lnTo>
                  <a:pt x="186690" y="525535"/>
                </a:lnTo>
                <a:lnTo>
                  <a:pt x="188277" y="524262"/>
                </a:lnTo>
                <a:lnTo>
                  <a:pt x="198120" y="519491"/>
                </a:lnTo>
                <a:lnTo>
                  <a:pt x="207327" y="514720"/>
                </a:lnTo>
                <a:lnTo>
                  <a:pt x="216852" y="510585"/>
                </a:lnTo>
                <a:lnTo>
                  <a:pt x="226377" y="507086"/>
                </a:lnTo>
                <a:lnTo>
                  <a:pt x="235267" y="503587"/>
                </a:lnTo>
                <a:lnTo>
                  <a:pt x="244792" y="500407"/>
                </a:lnTo>
                <a:lnTo>
                  <a:pt x="253682" y="497862"/>
                </a:lnTo>
                <a:lnTo>
                  <a:pt x="262572" y="495317"/>
                </a:lnTo>
                <a:lnTo>
                  <a:pt x="271780" y="493409"/>
                </a:lnTo>
                <a:lnTo>
                  <a:pt x="280352" y="491501"/>
                </a:lnTo>
                <a:lnTo>
                  <a:pt x="288925" y="489910"/>
                </a:lnTo>
                <a:lnTo>
                  <a:pt x="298132" y="488638"/>
                </a:lnTo>
                <a:lnTo>
                  <a:pt x="306387" y="487365"/>
                </a:lnTo>
                <a:lnTo>
                  <a:pt x="314960" y="486729"/>
                </a:lnTo>
                <a:lnTo>
                  <a:pt x="323215" y="486093"/>
                </a:lnTo>
                <a:lnTo>
                  <a:pt x="331470" y="485775"/>
                </a:lnTo>
                <a:close/>
                <a:moveTo>
                  <a:pt x="2394109" y="485775"/>
                </a:moveTo>
                <a:lnTo>
                  <a:pt x="2410607" y="485775"/>
                </a:lnTo>
                <a:lnTo>
                  <a:pt x="2418538" y="486093"/>
                </a:lnTo>
                <a:lnTo>
                  <a:pt x="2427104" y="486729"/>
                </a:lnTo>
                <a:lnTo>
                  <a:pt x="2435352" y="487365"/>
                </a:lnTo>
                <a:lnTo>
                  <a:pt x="2443918" y="488638"/>
                </a:lnTo>
                <a:lnTo>
                  <a:pt x="2452801" y="489910"/>
                </a:lnTo>
                <a:lnTo>
                  <a:pt x="2461367" y="491500"/>
                </a:lnTo>
                <a:lnTo>
                  <a:pt x="2470250" y="493409"/>
                </a:lnTo>
                <a:lnTo>
                  <a:pt x="2479451" y="495317"/>
                </a:lnTo>
                <a:lnTo>
                  <a:pt x="2488334" y="497862"/>
                </a:lnTo>
                <a:lnTo>
                  <a:pt x="2497534" y="500407"/>
                </a:lnTo>
                <a:lnTo>
                  <a:pt x="2506417" y="503587"/>
                </a:lnTo>
                <a:lnTo>
                  <a:pt x="2515935" y="507086"/>
                </a:lnTo>
                <a:lnTo>
                  <a:pt x="2525135" y="510585"/>
                </a:lnTo>
                <a:lnTo>
                  <a:pt x="2534653" y="514720"/>
                </a:lnTo>
                <a:lnTo>
                  <a:pt x="2543853" y="519491"/>
                </a:lnTo>
                <a:lnTo>
                  <a:pt x="2553371" y="524262"/>
                </a:lnTo>
                <a:lnTo>
                  <a:pt x="2555274" y="525535"/>
                </a:lnTo>
                <a:lnTo>
                  <a:pt x="2557178" y="526807"/>
                </a:lnTo>
                <a:lnTo>
                  <a:pt x="2559399" y="529033"/>
                </a:lnTo>
                <a:lnTo>
                  <a:pt x="2561620" y="532214"/>
                </a:lnTo>
                <a:lnTo>
                  <a:pt x="2566378" y="539212"/>
                </a:lnTo>
                <a:lnTo>
                  <a:pt x="2571772" y="548436"/>
                </a:lnTo>
                <a:lnTo>
                  <a:pt x="2577482" y="558933"/>
                </a:lnTo>
                <a:lnTo>
                  <a:pt x="2582558" y="570702"/>
                </a:lnTo>
                <a:lnTo>
                  <a:pt x="2587634" y="583425"/>
                </a:lnTo>
                <a:lnTo>
                  <a:pt x="2591759" y="596466"/>
                </a:lnTo>
                <a:lnTo>
                  <a:pt x="2593662" y="603782"/>
                </a:lnTo>
                <a:lnTo>
                  <a:pt x="2594931" y="610461"/>
                </a:lnTo>
                <a:lnTo>
                  <a:pt x="2596517" y="617777"/>
                </a:lnTo>
                <a:lnTo>
                  <a:pt x="2597786" y="624775"/>
                </a:lnTo>
                <a:lnTo>
                  <a:pt x="2598421" y="632090"/>
                </a:lnTo>
                <a:lnTo>
                  <a:pt x="2598738" y="639088"/>
                </a:lnTo>
                <a:lnTo>
                  <a:pt x="2598738" y="646086"/>
                </a:lnTo>
                <a:lnTo>
                  <a:pt x="2598421" y="653083"/>
                </a:lnTo>
                <a:lnTo>
                  <a:pt x="2598104" y="659763"/>
                </a:lnTo>
                <a:lnTo>
                  <a:pt x="2596517" y="666443"/>
                </a:lnTo>
                <a:lnTo>
                  <a:pt x="2594931" y="672804"/>
                </a:lnTo>
                <a:lnTo>
                  <a:pt x="2592710" y="679166"/>
                </a:lnTo>
                <a:lnTo>
                  <a:pt x="2590172" y="685209"/>
                </a:lnTo>
                <a:lnTo>
                  <a:pt x="2586683" y="690617"/>
                </a:lnTo>
                <a:lnTo>
                  <a:pt x="2583193" y="696024"/>
                </a:lnTo>
                <a:lnTo>
                  <a:pt x="2578434" y="700795"/>
                </a:lnTo>
                <a:lnTo>
                  <a:pt x="2580020" y="702067"/>
                </a:lnTo>
                <a:lnTo>
                  <a:pt x="2581607" y="703976"/>
                </a:lnTo>
                <a:lnTo>
                  <a:pt x="2582558" y="705884"/>
                </a:lnTo>
                <a:lnTo>
                  <a:pt x="2584145" y="708429"/>
                </a:lnTo>
                <a:lnTo>
                  <a:pt x="2586365" y="714790"/>
                </a:lnTo>
                <a:lnTo>
                  <a:pt x="2588269" y="722742"/>
                </a:lnTo>
                <a:lnTo>
                  <a:pt x="2590172" y="732285"/>
                </a:lnTo>
                <a:lnTo>
                  <a:pt x="2591441" y="742781"/>
                </a:lnTo>
                <a:lnTo>
                  <a:pt x="2592076" y="753914"/>
                </a:lnTo>
                <a:lnTo>
                  <a:pt x="2592393" y="766637"/>
                </a:lnTo>
                <a:lnTo>
                  <a:pt x="2592076" y="779678"/>
                </a:lnTo>
                <a:lnTo>
                  <a:pt x="2591441" y="792083"/>
                </a:lnTo>
                <a:lnTo>
                  <a:pt x="2589855" y="803534"/>
                </a:lnTo>
                <a:lnTo>
                  <a:pt x="2587634" y="813076"/>
                </a:lnTo>
                <a:lnTo>
                  <a:pt x="2585414" y="821346"/>
                </a:lnTo>
                <a:lnTo>
                  <a:pt x="2584145" y="824845"/>
                </a:lnTo>
                <a:lnTo>
                  <a:pt x="2582558" y="827390"/>
                </a:lnTo>
                <a:lnTo>
                  <a:pt x="2581289" y="829616"/>
                </a:lnTo>
                <a:lnTo>
                  <a:pt x="2579703" y="831207"/>
                </a:lnTo>
                <a:lnTo>
                  <a:pt x="2577799" y="832479"/>
                </a:lnTo>
                <a:lnTo>
                  <a:pt x="2576213" y="832797"/>
                </a:lnTo>
                <a:lnTo>
                  <a:pt x="2574627" y="832479"/>
                </a:lnTo>
                <a:lnTo>
                  <a:pt x="2573358" y="831525"/>
                </a:lnTo>
                <a:lnTo>
                  <a:pt x="2571772" y="830252"/>
                </a:lnTo>
                <a:lnTo>
                  <a:pt x="2570503" y="828344"/>
                </a:lnTo>
                <a:lnTo>
                  <a:pt x="2569234" y="826117"/>
                </a:lnTo>
                <a:lnTo>
                  <a:pt x="2567965" y="822936"/>
                </a:lnTo>
                <a:lnTo>
                  <a:pt x="2565744" y="816257"/>
                </a:lnTo>
                <a:lnTo>
                  <a:pt x="2562889" y="826753"/>
                </a:lnTo>
                <a:lnTo>
                  <a:pt x="2559399" y="836932"/>
                </a:lnTo>
                <a:lnTo>
                  <a:pt x="2555592" y="846792"/>
                </a:lnTo>
                <a:lnTo>
                  <a:pt x="2551785" y="856971"/>
                </a:lnTo>
                <a:lnTo>
                  <a:pt x="2547343" y="866195"/>
                </a:lnTo>
                <a:lnTo>
                  <a:pt x="2542902" y="875737"/>
                </a:lnTo>
                <a:lnTo>
                  <a:pt x="2537825" y="885280"/>
                </a:lnTo>
                <a:lnTo>
                  <a:pt x="2533067" y="893868"/>
                </a:lnTo>
                <a:lnTo>
                  <a:pt x="2527356" y="902774"/>
                </a:lnTo>
                <a:lnTo>
                  <a:pt x="2522280" y="911044"/>
                </a:lnTo>
                <a:lnTo>
                  <a:pt x="2516252" y="919314"/>
                </a:lnTo>
                <a:lnTo>
                  <a:pt x="2510224" y="927266"/>
                </a:lnTo>
                <a:lnTo>
                  <a:pt x="2504197" y="934900"/>
                </a:lnTo>
                <a:lnTo>
                  <a:pt x="2497851" y="941897"/>
                </a:lnTo>
                <a:lnTo>
                  <a:pt x="2491824" y="949213"/>
                </a:lnTo>
                <a:lnTo>
                  <a:pt x="2484844" y="955893"/>
                </a:lnTo>
                <a:lnTo>
                  <a:pt x="2478499" y="962254"/>
                </a:lnTo>
                <a:lnTo>
                  <a:pt x="2472154" y="968298"/>
                </a:lnTo>
                <a:lnTo>
                  <a:pt x="2465492" y="974023"/>
                </a:lnTo>
                <a:lnTo>
                  <a:pt x="2458829" y="979430"/>
                </a:lnTo>
                <a:lnTo>
                  <a:pt x="2452167" y="984202"/>
                </a:lnTo>
                <a:lnTo>
                  <a:pt x="2445505" y="988654"/>
                </a:lnTo>
                <a:lnTo>
                  <a:pt x="2439159" y="992789"/>
                </a:lnTo>
                <a:lnTo>
                  <a:pt x="2432814" y="996607"/>
                </a:lnTo>
                <a:lnTo>
                  <a:pt x="2426469" y="1000105"/>
                </a:lnTo>
                <a:lnTo>
                  <a:pt x="2420124" y="1002968"/>
                </a:lnTo>
                <a:lnTo>
                  <a:pt x="2413462" y="1005831"/>
                </a:lnTo>
                <a:lnTo>
                  <a:pt x="2408069" y="1007421"/>
                </a:lnTo>
                <a:lnTo>
                  <a:pt x="2402041" y="1009330"/>
                </a:lnTo>
                <a:lnTo>
                  <a:pt x="2396330" y="1010602"/>
                </a:lnTo>
                <a:lnTo>
                  <a:pt x="2390937" y="1011238"/>
                </a:lnTo>
                <a:lnTo>
                  <a:pt x="2385861" y="1011238"/>
                </a:lnTo>
                <a:lnTo>
                  <a:pt x="2379516" y="1011238"/>
                </a:lnTo>
                <a:lnTo>
                  <a:pt x="2372536" y="1010602"/>
                </a:lnTo>
                <a:lnTo>
                  <a:pt x="2366191" y="1009330"/>
                </a:lnTo>
                <a:lnTo>
                  <a:pt x="2359529" y="1008057"/>
                </a:lnTo>
                <a:lnTo>
                  <a:pt x="2352866" y="1006149"/>
                </a:lnTo>
                <a:lnTo>
                  <a:pt x="2345887" y="1003286"/>
                </a:lnTo>
                <a:lnTo>
                  <a:pt x="2338907" y="1000742"/>
                </a:lnTo>
                <a:lnTo>
                  <a:pt x="2331928" y="997243"/>
                </a:lnTo>
                <a:lnTo>
                  <a:pt x="2325265" y="993744"/>
                </a:lnTo>
                <a:lnTo>
                  <a:pt x="2318286" y="989609"/>
                </a:lnTo>
                <a:lnTo>
                  <a:pt x="2311306" y="984838"/>
                </a:lnTo>
                <a:lnTo>
                  <a:pt x="2304644" y="980067"/>
                </a:lnTo>
                <a:lnTo>
                  <a:pt x="2297981" y="974659"/>
                </a:lnTo>
                <a:lnTo>
                  <a:pt x="2291636" y="969252"/>
                </a:lnTo>
                <a:lnTo>
                  <a:pt x="2284974" y="963208"/>
                </a:lnTo>
                <a:lnTo>
                  <a:pt x="2278629" y="957165"/>
                </a:lnTo>
                <a:lnTo>
                  <a:pt x="2272284" y="950167"/>
                </a:lnTo>
                <a:lnTo>
                  <a:pt x="2266256" y="943170"/>
                </a:lnTo>
                <a:lnTo>
                  <a:pt x="2260545" y="935536"/>
                </a:lnTo>
                <a:lnTo>
                  <a:pt x="2255152" y="927584"/>
                </a:lnTo>
                <a:lnTo>
                  <a:pt x="2249759" y="919314"/>
                </a:lnTo>
                <a:lnTo>
                  <a:pt x="2244365" y="911044"/>
                </a:lnTo>
                <a:lnTo>
                  <a:pt x="2239924" y="902138"/>
                </a:lnTo>
                <a:lnTo>
                  <a:pt x="2235482" y="892913"/>
                </a:lnTo>
                <a:lnTo>
                  <a:pt x="2231041" y="883689"/>
                </a:lnTo>
                <a:lnTo>
                  <a:pt x="2227234" y="873829"/>
                </a:lnTo>
                <a:lnTo>
                  <a:pt x="2223744" y="863650"/>
                </a:lnTo>
                <a:lnTo>
                  <a:pt x="2220571" y="853154"/>
                </a:lnTo>
                <a:lnTo>
                  <a:pt x="2217716" y="842657"/>
                </a:lnTo>
                <a:lnTo>
                  <a:pt x="2215178" y="831525"/>
                </a:lnTo>
                <a:lnTo>
                  <a:pt x="2213275" y="820392"/>
                </a:lnTo>
                <a:lnTo>
                  <a:pt x="2211688" y="808623"/>
                </a:lnTo>
                <a:lnTo>
                  <a:pt x="2211371" y="809577"/>
                </a:lnTo>
                <a:lnTo>
                  <a:pt x="2211054" y="809577"/>
                </a:lnTo>
                <a:lnTo>
                  <a:pt x="2210737" y="808623"/>
                </a:lnTo>
                <a:lnTo>
                  <a:pt x="2210419" y="807669"/>
                </a:lnTo>
                <a:lnTo>
                  <a:pt x="2208833" y="802898"/>
                </a:lnTo>
                <a:lnTo>
                  <a:pt x="2207564" y="796536"/>
                </a:lnTo>
                <a:lnTo>
                  <a:pt x="2204391" y="779042"/>
                </a:lnTo>
                <a:lnTo>
                  <a:pt x="2201536" y="757413"/>
                </a:lnTo>
                <a:lnTo>
                  <a:pt x="2198998" y="735465"/>
                </a:lnTo>
                <a:lnTo>
                  <a:pt x="2198364" y="725287"/>
                </a:lnTo>
                <a:lnTo>
                  <a:pt x="2198046" y="716063"/>
                </a:lnTo>
                <a:lnTo>
                  <a:pt x="2197412" y="708429"/>
                </a:lnTo>
                <a:lnTo>
                  <a:pt x="2198046" y="702067"/>
                </a:lnTo>
                <a:lnTo>
                  <a:pt x="2198364" y="699841"/>
                </a:lnTo>
                <a:lnTo>
                  <a:pt x="2198681" y="698250"/>
                </a:lnTo>
                <a:lnTo>
                  <a:pt x="2199315" y="697296"/>
                </a:lnTo>
                <a:lnTo>
                  <a:pt x="2200267" y="696660"/>
                </a:lnTo>
                <a:lnTo>
                  <a:pt x="2201219" y="697296"/>
                </a:lnTo>
                <a:lnTo>
                  <a:pt x="2202488" y="697932"/>
                </a:lnTo>
                <a:lnTo>
                  <a:pt x="2204074" y="699205"/>
                </a:lnTo>
                <a:lnTo>
                  <a:pt x="2205026" y="700159"/>
                </a:lnTo>
                <a:lnTo>
                  <a:pt x="2204391" y="687118"/>
                </a:lnTo>
                <a:lnTo>
                  <a:pt x="2204074" y="673440"/>
                </a:lnTo>
                <a:lnTo>
                  <a:pt x="2204709" y="659127"/>
                </a:lnTo>
                <a:lnTo>
                  <a:pt x="2205343" y="651493"/>
                </a:lnTo>
                <a:lnTo>
                  <a:pt x="2206295" y="643541"/>
                </a:lnTo>
                <a:lnTo>
                  <a:pt x="2209150" y="646086"/>
                </a:lnTo>
                <a:lnTo>
                  <a:pt x="2212323" y="647676"/>
                </a:lnTo>
                <a:lnTo>
                  <a:pt x="2215495" y="649267"/>
                </a:lnTo>
                <a:lnTo>
                  <a:pt x="2218985" y="650539"/>
                </a:lnTo>
                <a:lnTo>
                  <a:pt x="2222475" y="651493"/>
                </a:lnTo>
                <a:lnTo>
                  <a:pt x="2225965" y="652129"/>
                </a:lnTo>
                <a:lnTo>
                  <a:pt x="2229772" y="652447"/>
                </a:lnTo>
                <a:lnTo>
                  <a:pt x="2233896" y="652447"/>
                </a:lnTo>
                <a:lnTo>
                  <a:pt x="2238020" y="652447"/>
                </a:lnTo>
                <a:lnTo>
                  <a:pt x="2242145" y="652129"/>
                </a:lnTo>
                <a:lnTo>
                  <a:pt x="2251028" y="650539"/>
                </a:lnTo>
                <a:lnTo>
                  <a:pt x="2259911" y="648312"/>
                </a:lnTo>
                <a:lnTo>
                  <a:pt x="2269746" y="645132"/>
                </a:lnTo>
                <a:lnTo>
                  <a:pt x="2279581" y="641315"/>
                </a:lnTo>
                <a:lnTo>
                  <a:pt x="2289733" y="637180"/>
                </a:lnTo>
                <a:lnTo>
                  <a:pt x="2300519" y="632726"/>
                </a:lnTo>
                <a:lnTo>
                  <a:pt x="2310989" y="627955"/>
                </a:lnTo>
                <a:lnTo>
                  <a:pt x="2333514" y="616823"/>
                </a:lnTo>
                <a:lnTo>
                  <a:pt x="2356991" y="605690"/>
                </a:lnTo>
                <a:lnTo>
                  <a:pt x="2345569" y="610461"/>
                </a:lnTo>
                <a:lnTo>
                  <a:pt x="2334466" y="615868"/>
                </a:lnTo>
                <a:lnTo>
                  <a:pt x="2324948" y="620322"/>
                </a:lnTo>
                <a:lnTo>
                  <a:pt x="2315430" y="624138"/>
                </a:lnTo>
                <a:lnTo>
                  <a:pt x="2306865" y="626683"/>
                </a:lnTo>
                <a:lnTo>
                  <a:pt x="2298616" y="628910"/>
                </a:lnTo>
                <a:lnTo>
                  <a:pt x="2290367" y="630182"/>
                </a:lnTo>
                <a:lnTo>
                  <a:pt x="2282436" y="630818"/>
                </a:lnTo>
                <a:lnTo>
                  <a:pt x="2275456" y="630818"/>
                </a:lnTo>
                <a:lnTo>
                  <a:pt x="2268160" y="630500"/>
                </a:lnTo>
                <a:lnTo>
                  <a:pt x="2261497" y="629228"/>
                </a:lnTo>
                <a:lnTo>
                  <a:pt x="2255152" y="627955"/>
                </a:lnTo>
                <a:lnTo>
                  <a:pt x="2248807" y="626047"/>
                </a:lnTo>
                <a:lnTo>
                  <a:pt x="2243096" y="623502"/>
                </a:lnTo>
                <a:lnTo>
                  <a:pt x="2237703" y="620640"/>
                </a:lnTo>
                <a:lnTo>
                  <a:pt x="2232627" y="617777"/>
                </a:lnTo>
                <a:lnTo>
                  <a:pt x="2227551" y="614278"/>
                </a:lnTo>
                <a:lnTo>
                  <a:pt x="2223109" y="610779"/>
                </a:lnTo>
                <a:lnTo>
                  <a:pt x="2218985" y="607280"/>
                </a:lnTo>
                <a:lnTo>
                  <a:pt x="2214861" y="603463"/>
                </a:lnTo>
                <a:lnTo>
                  <a:pt x="2211371" y="599647"/>
                </a:lnTo>
                <a:lnTo>
                  <a:pt x="2208198" y="595512"/>
                </a:lnTo>
                <a:lnTo>
                  <a:pt x="2202171" y="587878"/>
                </a:lnTo>
                <a:lnTo>
                  <a:pt x="2197412" y="581198"/>
                </a:lnTo>
                <a:lnTo>
                  <a:pt x="2193922" y="574837"/>
                </a:lnTo>
                <a:lnTo>
                  <a:pt x="2191701" y="569747"/>
                </a:lnTo>
                <a:lnTo>
                  <a:pt x="2189163" y="565612"/>
                </a:lnTo>
                <a:lnTo>
                  <a:pt x="2191067" y="564340"/>
                </a:lnTo>
                <a:lnTo>
                  <a:pt x="2196777" y="559569"/>
                </a:lnTo>
                <a:lnTo>
                  <a:pt x="2205343" y="552889"/>
                </a:lnTo>
                <a:lnTo>
                  <a:pt x="2217399" y="544301"/>
                </a:lnTo>
                <a:lnTo>
                  <a:pt x="2225013" y="539848"/>
                </a:lnTo>
                <a:lnTo>
                  <a:pt x="2232944" y="534759"/>
                </a:lnTo>
                <a:lnTo>
                  <a:pt x="2241510" y="529670"/>
                </a:lnTo>
                <a:lnTo>
                  <a:pt x="2251028" y="524580"/>
                </a:lnTo>
                <a:lnTo>
                  <a:pt x="2260545" y="519491"/>
                </a:lnTo>
                <a:lnTo>
                  <a:pt x="2271649" y="514402"/>
                </a:lnTo>
                <a:lnTo>
                  <a:pt x="2282753" y="509631"/>
                </a:lnTo>
                <a:lnTo>
                  <a:pt x="2294809" y="505178"/>
                </a:lnTo>
                <a:lnTo>
                  <a:pt x="2307182" y="501043"/>
                </a:lnTo>
                <a:lnTo>
                  <a:pt x="2320506" y="497226"/>
                </a:lnTo>
                <a:lnTo>
                  <a:pt x="2334466" y="493409"/>
                </a:lnTo>
                <a:lnTo>
                  <a:pt x="2348742" y="490864"/>
                </a:lnTo>
                <a:lnTo>
                  <a:pt x="2363336" y="488638"/>
                </a:lnTo>
                <a:lnTo>
                  <a:pt x="2378564" y="486729"/>
                </a:lnTo>
                <a:lnTo>
                  <a:pt x="2394109" y="485775"/>
                </a:lnTo>
                <a:close/>
                <a:moveTo>
                  <a:pt x="1429386" y="468312"/>
                </a:moveTo>
                <a:lnTo>
                  <a:pt x="1442086" y="468630"/>
                </a:lnTo>
                <a:lnTo>
                  <a:pt x="1454151" y="469899"/>
                </a:lnTo>
                <a:lnTo>
                  <a:pt x="1465898" y="471802"/>
                </a:lnTo>
                <a:lnTo>
                  <a:pt x="1477011" y="474023"/>
                </a:lnTo>
                <a:lnTo>
                  <a:pt x="1487488" y="476562"/>
                </a:lnTo>
                <a:lnTo>
                  <a:pt x="1497649" y="479734"/>
                </a:lnTo>
                <a:lnTo>
                  <a:pt x="1507491" y="482907"/>
                </a:lnTo>
                <a:lnTo>
                  <a:pt x="1516699" y="486714"/>
                </a:lnTo>
                <a:lnTo>
                  <a:pt x="1525271" y="490522"/>
                </a:lnTo>
                <a:lnTo>
                  <a:pt x="1533526" y="494646"/>
                </a:lnTo>
                <a:lnTo>
                  <a:pt x="1541146" y="498771"/>
                </a:lnTo>
                <a:lnTo>
                  <a:pt x="1547814" y="502896"/>
                </a:lnTo>
                <a:lnTo>
                  <a:pt x="1554164" y="507020"/>
                </a:lnTo>
                <a:lnTo>
                  <a:pt x="1565594" y="514952"/>
                </a:lnTo>
                <a:lnTo>
                  <a:pt x="1574166" y="522250"/>
                </a:lnTo>
                <a:lnTo>
                  <a:pt x="1580516" y="527643"/>
                </a:lnTo>
                <a:lnTo>
                  <a:pt x="1585596" y="532720"/>
                </a:lnTo>
                <a:lnTo>
                  <a:pt x="1584009" y="536527"/>
                </a:lnTo>
                <a:lnTo>
                  <a:pt x="1581469" y="540652"/>
                </a:lnTo>
                <a:lnTo>
                  <a:pt x="1578611" y="546046"/>
                </a:lnTo>
                <a:lnTo>
                  <a:pt x="1574484" y="552074"/>
                </a:lnTo>
                <a:lnTo>
                  <a:pt x="1569721" y="558419"/>
                </a:lnTo>
                <a:lnTo>
                  <a:pt x="1563054" y="565399"/>
                </a:lnTo>
                <a:lnTo>
                  <a:pt x="1559879" y="568572"/>
                </a:lnTo>
                <a:lnTo>
                  <a:pt x="1556386" y="571745"/>
                </a:lnTo>
                <a:lnTo>
                  <a:pt x="1552259" y="575235"/>
                </a:lnTo>
                <a:lnTo>
                  <a:pt x="1548131" y="577773"/>
                </a:lnTo>
                <a:lnTo>
                  <a:pt x="1543686" y="580311"/>
                </a:lnTo>
                <a:lnTo>
                  <a:pt x="1538606" y="582850"/>
                </a:lnTo>
                <a:lnTo>
                  <a:pt x="1533844" y="584753"/>
                </a:lnTo>
                <a:lnTo>
                  <a:pt x="1528446" y="586657"/>
                </a:lnTo>
                <a:lnTo>
                  <a:pt x="1523049" y="588243"/>
                </a:lnTo>
                <a:lnTo>
                  <a:pt x="1517016" y="588878"/>
                </a:lnTo>
                <a:lnTo>
                  <a:pt x="1510984" y="589512"/>
                </a:lnTo>
                <a:lnTo>
                  <a:pt x="1503999" y="589512"/>
                </a:lnTo>
                <a:lnTo>
                  <a:pt x="1497331" y="588878"/>
                </a:lnTo>
                <a:lnTo>
                  <a:pt x="1490346" y="587926"/>
                </a:lnTo>
                <a:lnTo>
                  <a:pt x="1483043" y="586022"/>
                </a:lnTo>
                <a:lnTo>
                  <a:pt x="1475106" y="583484"/>
                </a:lnTo>
                <a:lnTo>
                  <a:pt x="1467168" y="580311"/>
                </a:lnTo>
                <a:lnTo>
                  <a:pt x="1458913" y="576187"/>
                </a:lnTo>
                <a:lnTo>
                  <a:pt x="1449388" y="571745"/>
                </a:lnTo>
                <a:lnTo>
                  <a:pt x="1439546" y="567620"/>
                </a:lnTo>
                <a:lnTo>
                  <a:pt x="1479233" y="586657"/>
                </a:lnTo>
                <a:lnTo>
                  <a:pt x="1498284" y="594906"/>
                </a:lnTo>
                <a:lnTo>
                  <a:pt x="1506856" y="598714"/>
                </a:lnTo>
                <a:lnTo>
                  <a:pt x="1515746" y="601886"/>
                </a:lnTo>
                <a:lnTo>
                  <a:pt x="1524001" y="604425"/>
                </a:lnTo>
                <a:lnTo>
                  <a:pt x="1531939" y="606646"/>
                </a:lnTo>
                <a:lnTo>
                  <a:pt x="1539559" y="607915"/>
                </a:lnTo>
                <a:lnTo>
                  <a:pt x="1546544" y="608232"/>
                </a:lnTo>
                <a:lnTo>
                  <a:pt x="1550036" y="608232"/>
                </a:lnTo>
                <a:lnTo>
                  <a:pt x="1553529" y="607915"/>
                </a:lnTo>
                <a:lnTo>
                  <a:pt x="1556704" y="607280"/>
                </a:lnTo>
                <a:lnTo>
                  <a:pt x="1559879" y="606646"/>
                </a:lnTo>
                <a:lnTo>
                  <a:pt x="1562736" y="605376"/>
                </a:lnTo>
                <a:lnTo>
                  <a:pt x="1565594" y="604107"/>
                </a:lnTo>
                <a:lnTo>
                  <a:pt x="1568451" y="602521"/>
                </a:lnTo>
                <a:lnTo>
                  <a:pt x="1570674" y="600617"/>
                </a:lnTo>
                <a:lnTo>
                  <a:pt x="1571944" y="607280"/>
                </a:lnTo>
                <a:lnTo>
                  <a:pt x="1572261" y="614260"/>
                </a:lnTo>
                <a:lnTo>
                  <a:pt x="1572896" y="626634"/>
                </a:lnTo>
                <a:lnTo>
                  <a:pt x="1572579" y="638691"/>
                </a:lnTo>
                <a:lnTo>
                  <a:pt x="1572261" y="649795"/>
                </a:lnTo>
                <a:lnTo>
                  <a:pt x="1574166" y="647574"/>
                </a:lnTo>
                <a:lnTo>
                  <a:pt x="1575119" y="647257"/>
                </a:lnTo>
                <a:lnTo>
                  <a:pt x="1576389" y="646940"/>
                </a:lnTo>
                <a:lnTo>
                  <a:pt x="1577976" y="647257"/>
                </a:lnTo>
                <a:lnTo>
                  <a:pt x="1578929" y="647892"/>
                </a:lnTo>
                <a:lnTo>
                  <a:pt x="1580516" y="649478"/>
                </a:lnTo>
                <a:lnTo>
                  <a:pt x="1582104" y="651382"/>
                </a:lnTo>
                <a:lnTo>
                  <a:pt x="1583056" y="653920"/>
                </a:lnTo>
                <a:lnTo>
                  <a:pt x="1584326" y="656775"/>
                </a:lnTo>
                <a:lnTo>
                  <a:pt x="1586549" y="663756"/>
                </a:lnTo>
                <a:lnTo>
                  <a:pt x="1588136" y="672322"/>
                </a:lnTo>
                <a:lnTo>
                  <a:pt x="1589406" y="682158"/>
                </a:lnTo>
                <a:lnTo>
                  <a:pt x="1590359" y="692945"/>
                </a:lnTo>
                <a:lnTo>
                  <a:pt x="1590676" y="704685"/>
                </a:lnTo>
                <a:lnTo>
                  <a:pt x="1590359" y="716424"/>
                </a:lnTo>
                <a:lnTo>
                  <a:pt x="1589406" y="727211"/>
                </a:lnTo>
                <a:lnTo>
                  <a:pt x="1588136" y="737047"/>
                </a:lnTo>
                <a:lnTo>
                  <a:pt x="1586549" y="745613"/>
                </a:lnTo>
                <a:lnTo>
                  <a:pt x="1584326" y="752911"/>
                </a:lnTo>
                <a:lnTo>
                  <a:pt x="1583056" y="755449"/>
                </a:lnTo>
                <a:lnTo>
                  <a:pt x="1582104" y="757987"/>
                </a:lnTo>
                <a:lnTo>
                  <a:pt x="1580516" y="759891"/>
                </a:lnTo>
                <a:lnTo>
                  <a:pt x="1578929" y="761477"/>
                </a:lnTo>
                <a:lnTo>
                  <a:pt x="1577976" y="762112"/>
                </a:lnTo>
                <a:lnTo>
                  <a:pt x="1576389" y="762429"/>
                </a:lnTo>
                <a:lnTo>
                  <a:pt x="1574801" y="762112"/>
                </a:lnTo>
                <a:lnTo>
                  <a:pt x="1573214" y="761160"/>
                </a:lnTo>
                <a:lnTo>
                  <a:pt x="1571944" y="759573"/>
                </a:lnTo>
                <a:lnTo>
                  <a:pt x="1570674" y="757670"/>
                </a:lnTo>
                <a:lnTo>
                  <a:pt x="1569086" y="755131"/>
                </a:lnTo>
                <a:lnTo>
                  <a:pt x="1568134" y="751641"/>
                </a:lnTo>
                <a:lnTo>
                  <a:pt x="1565911" y="744027"/>
                </a:lnTo>
                <a:lnTo>
                  <a:pt x="1564641" y="754180"/>
                </a:lnTo>
                <a:lnTo>
                  <a:pt x="1562736" y="764015"/>
                </a:lnTo>
                <a:lnTo>
                  <a:pt x="1560831" y="773851"/>
                </a:lnTo>
                <a:lnTo>
                  <a:pt x="1558291" y="782735"/>
                </a:lnTo>
                <a:lnTo>
                  <a:pt x="1555751" y="792253"/>
                </a:lnTo>
                <a:lnTo>
                  <a:pt x="1552576" y="800819"/>
                </a:lnTo>
                <a:lnTo>
                  <a:pt x="1549401" y="809703"/>
                </a:lnTo>
                <a:lnTo>
                  <a:pt x="1545591" y="817953"/>
                </a:lnTo>
                <a:lnTo>
                  <a:pt x="1541781" y="825567"/>
                </a:lnTo>
                <a:lnTo>
                  <a:pt x="1537336" y="833182"/>
                </a:lnTo>
                <a:lnTo>
                  <a:pt x="1532574" y="840797"/>
                </a:lnTo>
                <a:lnTo>
                  <a:pt x="1528129" y="847777"/>
                </a:lnTo>
                <a:lnTo>
                  <a:pt x="1523366" y="854757"/>
                </a:lnTo>
                <a:lnTo>
                  <a:pt x="1518286" y="861102"/>
                </a:lnTo>
                <a:lnTo>
                  <a:pt x="1513206" y="867448"/>
                </a:lnTo>
                <a:lnTo>
                  <a:pt x="1507491" y="873476"/>
                </a:lnTo>
                <a:lnTo>
                  <a:pt x="1502411" y="878553"/>
                </a:lnTo>
                <a:lnTo>
                  <a:pt x="1496696" y="883946"/>
                </a:lnTo>
                <a:lnTo>
                  <a:pt x="1490663" y="889340"/>
                </a:lnTo>
                <a:lnTo>
                  <a:pt x="1484948" y="893782"/>
                </a:lnTo>
                <a:lnTo>
                  <a:pt x="1478916" y="897907"/>
                </a:lnTo>
                <a:lnTo>
                  <a:pt x="1472883" y="901714"/>
                </a:lnTo>
                <a:lnTo>
                  <a:pt x="1466851" y="905521"/>
                </a:lnTo>
                <a:lnTo>
                  <a:pt x="1460818" y="908377"/>
                </a:lnTo>
                <a:lnTo>
                  <a:pt x="1454786" y="911232"/>
                </a:lnTo>
                <a:lnTo>
                  <a:pt x="1448753" y="914088"/>
                </a:lnTo>
                <a:lnTo>
                  <a:pt x="1442721" y="915991"/>
                </a:lnTo>
                <a:lnTo>
                  <a:pt x="1437323" y="917895"/>
                </a:lnTo>
                <a:lnTo>
                  <a:pt x="1431291" y="918847"/>
                </a:lnTo>
                <a:lnTo>
                  <a:pt x="1425576" y="920116"/>
                </a:lnTo>
                <a:lnTo>
                  <a:pt x="1419861" y="920751"/>
                </a:lnTo>
                <a:lnTo>
                  <a:pt x="1414146" y="920751"/>
                </a:lnTo>
                <a:lnTo>
                  <a:pt x="1409701" y="920751"/>
                </a:lnTo>
                <a:lnTo>
                  <a:pt x="1404938" y="920116"/>
                </a:lnTo>
                <a:lnTo>
                  <a:pt x="1399858" y="918847"/>
                </a:lnTo>
                <a:lnTo>
                  <a:pt x="1394778" y="917260"/>
                </a:lnTo>
                <a:lnTo>
                  <a:pt x="1389381" y="915357"/>
                </a:lnTo>
                <a:lnTo>
                  <a:pt x="1384301" y="913770"/>
                </a:lnTo>
                <a:lnTo>
                  <a:pt x="1378903" y="910915"/>
                </a:lnTo>
                <a:lnTo>
                  <a:pt x="1373188" y="908059"/>
                </a:lnTo>
                <a:lnTo>
                  <a:pt x="1367791" y="904569"/>
                </a:lnTo>
                <a:lnTo>
                  <a:pt x="1362076" y="900762"/>
                </a:lnTo>
                <a:lnTo>
                  <a:pt x="1356043" y="896955"/>
                </a:lnTo>
                <a:lnTo>
                  <a:pt x="1350328" y="892513"/>
                </a:lnTo>
                <a:lnTo>
                  <a:pt x="1344296" y="888071"/>
                </a:lnTo>
                <a:lnTo>
                  <a:pt x="1338581" y="883312"/>
                </a:lnTo>
                <a:lnTo>
                  <a:pt x="1333183" y="877918"/>
                </a:lnTo>
                <a:lnTo>
                  <a:pt x="1327468" y="872207"/>
                </a:lnTo>
                <a:lnTo>
                  <a:pt x="1321753" y="866813"/>
                </a:lnTo>
                <a:lnTo>
                  <a:pt x="1316038" y="860151"/>
                </a:lnTo>
                <a:lnTo>
                  <a:pt x="1310641" y="854122"/>
                </a:lnTo>
                <a:lnTo>
                  <a:pt x="1305243" y="847459"/>
                </a:lnTo>
                <a:lnTo>
                  <a:pt x="1299846" y="840797"/>
                </a:lnTo>
                <a:lnTo>
                  <a:pt x="1295083" y="833499"/>
                </a:lnTo>
                <a:lnTo>
                  <a:pt x="1290321" y="826202"/>
                </a:lnTo>
                <a:lnTo>
                  <a:pt x="1285558" y="818587"/>
                </a:lnTo>
                <a:lnTo>
                  <a:pt x="1281113" y="810655"/>
                </a:lnTo>
                <a:lnTo>
                  <a:pt x="1276668" y="802723"/>
                </a:lnTo>
                <a:lnTo>
                  <a:pt x="1272858" y="794474"/>
                </a:lnTo>
                <a:lnTo>
                  <a:pt x="1269048" y="786225"/>
                </a:lnTo>
                <a:lnTo>
                  <a:pt x="1265238" y="777658"/>
                </a:lnTo>
                <a:lnTo>
                  <a:pt x="1262381" y="768457"/>
                </a:lnTo>
                <a:lnTo>
                  <a:pt x="1259523" y="759891"/>
                </a:lnTo>
                <a:lnTo>
                  <a:pt x="1256983" y="751007"/>
                </a:lnTo>
                <a:lnTo>
                  <a:pt x="1254761" y="757035"/>
                </a:lnTo>
                <a:lnTo>
                  <a:pt x="1252538" y="761477"/>
                </a:lnTo>
                <a:lnTo>
                  <a:pt x="1251586" y="763063"/>
                </a:lnTo>
                <a:lnTo>
                  <a:pt x="1250316" y="764015"/>
                </a:lnTo>
                <a:lnTo>
                  <a:pt x="1248728" y="764967"/>
                </a:lnTo>
                <a:lnTo>
                  <a:pt x="1247776" y="765284"/>
                </a:lnTo>
                <a:lnTo>
                  <a:pt x="1246188" y="764967"/>
                </a:lnTo>
                <a:lnTo>
                  <a:pt x="1244601" y="764015"/>
                </a:lnTo>
                <a:lnTo>
                  <a:pt x="1243648" y="762429"/>
                </a:lnTo>
                <a:lnTo>
                  <a:pt x="1242061" y="760842"/>
                </a:lnTo>
                <a:lnTo>
                  <a:pt x="1240791" y="758304"/>
                </a:lnTo>
                <a:lnTo>
                  <a:pt x="1239838" y="755449"/>
                </a:lnTo>
                <a:lnTo>
                  <a:pt x="1237616" y="748151"/>
                </a:lnTo>
                <a:lnTo>
                  <a:pt x="1236028" y="739585"/>
                </a:lnTo>
                <a:lnTo>
                  <a:pt x="1234441" y="729749"/>
                </a:lnTo>
                <a:lnTo>
                  <a:pt x="1233806" y="718962"/>
                </a:lnTo>
                <a:lnTo>
                  <a:pt x="1233488" y="707223"/>
                </a:lnTo>
                <a:lnTo>
                  <a:pt x="1233806" y="695801"/>
                </a:lnTo>
                <a:lnTo>
                  <a:pt x="1234441" y="684696"/>
                </a:lnTo>
                <a:lnTo>
                  <a:pt x="1236028" y="675178"/>
                </a:lnTo>
                <a:lnTo>
                  <a:pt x="1237616" y="666294"/>
                </a:lnTo>
                <a:lnTo>
                  <a:pt x="1239838" y="659631"/>
                </a:lnTo>
                <a:lnTo>
                  <a:pt x="1240791" y="656775"/>
                </a:lnTo>
                <a:lnTo>
                  <a:pt x="1242061" y="653920"/>
                </a:lnTo>
                <a:lnTo>
                  <a:pt x="1243648" y="652016"/>
                </a:lnTo>
                <a:lnTo>
                  <a:pt x="1244601" y="651064"/>
                </a:lnTo>
                <a:lnTo>
                  <a:pt x="1246188" y="649795"/>
                </a:lnTo>
                <a:lnTo>
                  <a:pt x="1247776" y="649478"/>
                </a:lnTo>
                <a:lnTo>
                  <a:pt x="1248411" y="649795"/>
                </a:lnTo>
                <a:lnTo>
                  <a:pt x="1249363" y="650113"/>
                </a:lnTo>
                <a:lnTo>
                  <a:pt x="1249681" y="642815"/>
                </a:lnTo>
                <a:lnTo>
                  <a:pt x="1250316" y="635201"/>
                </a:lnTo>
                <a:lnTo>
                  <a:pt x="1250951" y="628220"/>
                </a:lnTo>
                <a:lnTo>
                  <a:pt x="1252221" y="622192"/>
                </a:lnTo>
                <a:lnTo>
                  <a:pt x="1251586" y="613943"/>
                </a:lnTo>
                <a:lnTo>
                  <a:pt x="1250951" y="606328"/>
                </a:lnTo>
                <a:lnTo>
                  <a:pt x="1250951" y="599031"/>
                </a:lnTo>
                <a:lnTo>
                  <a:pt x="1251586" y="592368"/>
                </a:lnTo>
                <a:lnTo>
                  <a:pt x="1251903" y="586022"/>
                </a:lnTo>
                <a:lnTo>
                  <a:pt x="1252856" y="579994"/>
                </a:lnTo>
                <a:lnTo>
                  <a:pt x="1254126" y="574283"/>
                </a:lnTo>
                <a:lnTo>
                  <a:pt x="1255713" y="569207"/>
                </a:lnTo>
                <a:lnTo>
                  <a:pt x="1257618" y="564130"/>
                </a:lnTo>
                <a:lnTo>
                  <a:pt x="1259841" y="559688"/>
                </a:lnTo>
                <a:lnTo>
                  <a:pt x="1262063" y="555564"/>
                </a:lnTo>
                <a:lnTo>
                  <a:pt x="1264603" y="551756"/>
                </a:lnTo>
                <a:lnTo>
                  <a:pt x="1267143" y="548266"/>
                </a:lnTo>
                <a:lnTo>
                  <a:pt x="1270636" y="545411"/>
                </a:lnTo>
                <a:lnTo>
                  <a:pt x="1273811" y="542873"/>
                </a:lnTo>
                <a:lnTo>
                  <a:pt x="1277303" y="540017"/>
                </a:lnTo>
                <a:lnTo>
                  <a:pt x="1261746" y="540017"/>
                </a:lnTo>
                <a:lnTo>
                  <a:pt x="1249363" y="540969"/>
                </a:lnTo>
                <a:lnTo>
                  <a:pt x="1239203" y="541286"/>
                </a:lnTo>
                <a:lnTo>
                  <a:pt x="1246188" y="537479"/>
                </a:lnTo>
                <a:lnTo>
                  <a:pt x="1253808" y="532720"/>
                </a:lnTo>
                <a:lnTo>
                  <a:pt x="1261111" y="527326"/>
                </a:lnTo>
                <a:lnTo>
                  <a:pt x="1268413" y="521615"/>
                </a:lnTo>
                <a:lnTo>
                  <a:pt x="1282701" y="511145"/>
                </a:lnTo>
                <a:lnTo>
                  <a:pt x="1289368" y="506703"/>
                </a:lnTo>
                <a:lnTo>
                  <a:pt x="1295401" y="502896"/>
                </a:lnTo>
                <a:lnTo>
                  <a:pt x="1303973" y="498771"/>
                </a:lnTo>
                <a:lnTo>
                  <a:pt x="1311911" y="494964"/>
                </a:lnTo>
                <a:lnTo>
                  <a:pt x="1320166" y="491156"/>
                </a:lnTo>
                <a:lnTo>
                  <a:pt x="1328103" y="487984"/>
                </a:lnTo>
                <a:lnTo>
                  <a:pt x="1336041" y="484811"/>
                </a:lnTo>
                <a:lnTo>
                  <a:pt x="1343978" y="482273"/>
                </a:lnTo>
                <a:lnTo>
                  <a:pt x="1359536" y="477831"/>
                </a:lnTo>
                <a:lnTo>
                  <a:pt x="1374141" y="474023"/>
                </a:lnTo>
                <a:lnTo>
                  <a:pt x="1388746" y="471485"/>
                </a:lnTo>
                <a:lnTo>
                  <a:pt x="1402716" y="469581"/>
                </a:lnTo>
                <a:lnTo>
                  <a:pt x="1416051" y="468630"/>
                </a:lnTo>
                <a:lnTo>
                  <a:pt x="1429386" y="468312"/>
                </a:lnTo>
                <a:close/>
                <a:moveTo>
                  <a:pt x="750948" y="302529"/>
                </a:moveTo>
                <a:lnTo>
                  <a:pt x="748724" y="302846"/>
                </a:lnTo>
                <a:lnTo>
                  <a:pt x="746818" y="303797"/>
                </a:lnTo>
                <a:lnTo>
                  <a:pt x="744912" y="304431"/>
                </a:lnTo>
                <a:lnTo>
                  <a:pt x="743641" y="306017"/>
                </a:lnTo>
                <a:lnTo>
                  <a:pt x="742053" y="307602"/>
                </a:lnTo>
                <a:lnTo>
                  <a:pt x="741417" y="309188"/>
                </a:lnTo>
                <a:lnTo>
                  <a:pt x="740464" y="311725"/>
                </a:lnTo>
                <a:lnTo>
                  <a:pt x="740464" y="313310"/>
                </a:lnTo>
                <a:lnTo>
                  <a:pt x="740464" y="315847"/>
                </a:lnTo>
                <a:lnTo>
                  <a:pt x="741417" y="318067"/>
                </a:lnTo>
                <a:lnTo>
                  <a:pt x="742053" y="319970"/>
                </a:lnTo>
                <a:lnTo>
                  <a:pt x="743641" y="321238"/>
                </a:lnTo>
                <a:lnTo>
                  <a:pt x="744912" y="322507"/>
                </a:lnTo>
                <a:lnTo>
                  <a:pt x="746818" y="323458"/>
                </a:lnTo>
                <a:lnTo>
                  <a:pt x="748724" y="324410"/>
                </a:lnTo>
                <a:lnTo>
                  <a:pt x="750948" y="324410"/>
                </a:lnTo>
                <a:lnTo>
                  <a:pt x="988881" y="324410"/>
                </a:lnTo>
                <a:lnTo>
                  <a:pt x="991105" y="324410"/>
                </a:lnTo>
                <a:lnTo>
                  <a:pt x="993011" y="323458"/>
                </a:lnTo>
                <a:lnTo>
                  <a:pt x="994917" y="322507"/>
                </a:lnTo>
                <a:lnTo>
                  <a:pt x="996506" y="321238"/>
                </a:lnTo>
                <a:lnTo>
                  <a:pt x="997776" y="319970"/>
                </a:lnTo>
                <a:lnTo>
                  <a:pt x="998729" y="318067"/>
                </a:lnTo>
                <a:lnTo>
                  <a:pt x="999365" y="315847"/>
                </a:lnTo>
                <a:lnTo>
                  <a:pt x="999365" y="313310"/>
                </a:lnTo>
                <a:lnTo>
                  <a:pt x="999365" y="311725"/>
                </a:lnTo>
                <a:lnTo>
                  <a:pt x="998729" y="309188"/>
                </a:lnTo>
                <a:lnTo>
                  <a:pt x="997776" y="307602"/>
                </a:lnTo>
                <a:lnTo>
                  <a:pt x="996506" y="306017"/>
                </a:lnTo>
                <a:lnTo>
                  <a:pt x="994917" y="304431"/>
                </a:lnTo>
                <a:lnTo>
                  <a:pt x="993011" y="303797"/>
                </a:lnTo>
                <a:lnTo>
                  <a:pt x="991105" y="302846"/>
                </a:lnTo>
                <a:lnTo>
                  <a:pt x="988881" y="302529"/>
                </a:lnTo>
                <a:lnTo>
                  <a:pt x="750948" y="302529"/>
                </a:lnTo>
                <a:close/>
                <a:moveTo>
                  <a:pt x="748724" y="219444"/>
                </a:moveTo>
                <a:lnTo>
                  <a:pt x="746818" y="220396"/>
                </a:lnTo>
                <a:lnTo>
                  <a:pt x="744912" y="221347"/>
                </a:lnTo>
                <a:lnTo>
                  <a:pt x="743641" y="222615"/>
                </a:lnTo>
                <a:lnTo>
                  <a:pt x="742053" y="224201"/>
                </a:lnTo>
                <a:lnTo>
                  <a:pt x="741417" y="226104"/>
                </a:lnTo>
                <a:lnTo>
                  <a:pt x="740464" y="228323"/>
                </a:lnTo>
                <a:lnTo>
                  <a:pt x="740464" y="230543"/>
                </a:lnTo>
                <a:lnTo>
                  <a:pt x="740464" y="232763"/>
                </a:lnTo>
                <a:lnTo>
                  <a:pt x="741417" y="234666"/>
                </a:lnTo>
                <a:lnTo>
                  <a:pt x="742053" y="236568"/>
                </a:lnTo>
                <a:lnTo>
                  <a:pt x="743641" y="237837"/>
                </a:lnTo>
                <a:lnTo>
                  <a:pt x="744912" y="239423"/>
                </a:lnTo>
                <a:lnTo>
                  <a:pt x="746818" y="240374"/>
                </a:lnTo>
                <a:lnTo>
                  <a:pt x="748724" y="241008"/>
                </a:lnTo>
                <a:lnTo>
                  <a:pt x="750948" y="241325"/>
                </a:lnTo>
                <a:lnTo>
                  <a:pt x="1133738" y="241325"/>
                </a:lnTo>
                <a:lnTo>
                  <a:pt x="1135644" y="241008"/>
                </a:lnTo>
                <a:lnTo>
                  <a:pt x="1137868" y="240374"/>
                </a:lnTo>
                <a:lnTo>
                  <a:pt x="1139456" y="239423"/>
                </a:lnTo>
                <a:lnTo>
                  <a:pt x="1141045" y="237837"/>
                </a:lnTo>
                <a:lnTo>
                  <a:pt x="1142316" y="236568"/>
                </a:lnTo>
                <a:lnTo>
                  <a:pt x="1143586" y="234666"/>
                </a:lnTo>
                <a:lnTo>
                  <a:pt x="1143904" y="232763"/>
                </a:lnTo>
                <a:lnTo>
                  <a:pt x="1144222" y="230543"/>
                </a:lnTo>
                <a:lnTo>
                  <a:pt x="1143904" y="228323"/>
                </a:lnTo>
                <a:lnTo>
                  <a:pt x="1143586" y="226104"/>
                </a:lnTo>
                <a:lnTo>
                  <a:pt x="1142316" y="224201"/>
                </a:lnTo>
                <a:lnTo>
                  <a:pt x="1141045" y="222615"/>
                </a:lnTo>
                <a:lnTo>
                  <a:pt x="1139456" y="221347"/>
                </a:lnTo>
                <a:lnTo>
                  <a:pt x="1137868" y="220396"/>
                </a:lnTo>
                <a:lnTo>
                  <a:pt x="1135644" y="219444"/>
                </a:lnTo>
                <a:lnTo>
                  <a:pt x="1133738" y="219444"/>
                </a:lnTo>
                <a:lnTo>
                  <a:pt x="750948" y="219444"/>
                </a:lnTo>
                <a:lnTo>
                  <a:pt x="748724" y="219444"/>
                </a:lnTo>
                <a:close/>
                <a:moveTo>
                  <a:pt x="748724" y="141751"/>
                </a:moveTo>
                <a:lnTo>
                  <a:pt x="746818" y="142702"/>
                </a:lnTo>
                <a:lnTo>
                  <a:pt x="744912" y="143336"/>
                </a:lnTo>
                <a:lnTo>
                  <a:pt x="743641" y="144922"/>
                </a:lnTo>
                <a:lnTo>
                  <a:pt x="742053" y="146191"/>
                </a:lnTo>
                <a:lnTo>
                  <a:pt x="741417" y="148093"/>
                </a:lnTo>
                <a:lnTo>
                  <a:pt x="740464" y="150630"/>
                </a:lnTo>
                <a:lnTo>
                  <a:pt x="740464" y="152216"/>
                </a:lnTo>
                <a:lnTo>
                  <a:pt x="740464" y="154753"/>
                </a:lnTo>
                <a:lnTo>
                  <a:pt x="741417" y="156972"/>
                </a:lnTo>
                <a:lnTo>
                  <a:pt x="742053" y="158875"/>
                </a:lnTo>
                <a:lnTo>
                  <a:pt x="743641" y="160144"/>
                </a:lnTo>
                <a:lnTo>
                  <a:pt x="744912" y="161729"/>
                </a:lnTo>
                <a:lnTo>
                  <a:pt x="746818" y="162363"/>
                </a:lnTo>
                <a:lnTo>
                  <a:pt x="748724" y="163315"/>
                </a:lnTo>
                <a:lnTo>
                  <a:pt x="750948" y="163315"/>
                </a:lnTo>
                <a:lnTo>
                  <a:pt x="1133738" y="163315"/>
                </a:lnTo>
                <a:lnTo>
                  <a:pt x="1135644" y="163315"/>
                </a:lnTo>
                <a:lnTo>
                  <a:pt x="1137868" y="162363"/>
                </a:lnTo>
                <a:lnTo>
                  <a:pt x="1139456" y="161729"/>
                </a:lnTo>
                <a:lnTo>
                  <a:pt x="1141045" y="160144"/>
                </a:lnTo>
                <a:lnTo>
                  <a:pt x="1142316" y="158875"/>
                </a:lnTo>
                <a:lnTo>
                  <a:pt x="1143586" y="156972"/>
                </a:lnTo>
                <a:lnTo>
                  <a:pt x="1143904" y="154753"/>
                </a:lnTo>
                <a:lnTo>
                  <a:pt x="1144222" y="152216"/>
                </a:lnTo>
                <a:lnTo>
                  <a:pt x="1143904" y="150630"/>
                </a:lnTo>
                <a:lnTo>
                  <a:pt x="1143586" y="148093"/>
                </a:lnTo>
                <a:lnTo>
                  <a:pt x="1142316" y="146191"/>
                </a:lnTo>
                <a:lnTo>
                  <a:pt x="1141045" y="144922"/>
                </a:lnTo>
                <a:lnTo>
                  <a:pt x="1139456" y="143336"/>
                </a:lnTo>
                <a:lnTo>
                  <a:pt x="1137868" y="142702"/>
                </a:lnTo>
                <a:lnTo>
                  <a:pt x="1135644" y="141751"/>
                </a:lnTo>
                <a:lnTo>
                  <a:pt x="1133738" y="141751"/>
                </a:lnTo>
                <a:lnTo>
                  <a:pt x="750948" y="141751"/>
                </a:lnTo>
                <a:lnTo>
                  <a:pt x="748724" y="141751"/>
                </a:lnTo>
                <a:close/>
                <a:moveTo>
                  <a:pt x="789068" y="0"/>
                </a:moveTo>
                <a:lnTo>
                  <a:pt x="1085770" y="0"/>
                </a:lnTo>
                <a:lnTo>
                  <a:pt x="1093712" y="317"/>
                </a:lnTo>
                <a:lnTo>
                  <a:pt x="1101336" y="635"/>
                </a:lnTo>
                <a:lnTo>
                  <a:pt x="1108960" y="1903"/>
                </a:lnTo>
                <a:lnTo>
                  <a:pt x="1116267" y="2854"/>
                </a:lnTo>
                <a:lnTo>
                  <a:pt x="1123573" y="4757"/>
                </a:lnTo>
                <a:lnTo>
                  <a:pt x="1130562" y="6660"/>
                </a:lnTo>
                <a:lnTo>
                  <a:pt x="1137868" y="8879"/>
                </a:lnTo>
                <a:lnTo>
                  <a:pt x="1144539" y="12051"/>
                </a:lnTo>
                <a:lnTo>
                  <a:pt x="1151210" y="14905"/>
                </a:lnTo>
                <a:lnTo>
                  <a:pt x="1157881" y="18393"/>
                </a:lnTo>
                <a:lnTo>
                  <a:pt x="1164235" y="21564"/>
                </a:lnTo>
                <a:lnTo>
                  <a:pt x="1170270" y="25687"/>
                </a:lnTo>
                <a:lnTo>
                  <a:pt x="1176306" y="29809"/>
                </a:lnTo>
                <a:lnTo>
                  <a:pt x="1181706" y="34566"/>
                </a:lnTo>
                <a:lnTo>
                  <a:pt x="1187424" y="39006"/>
                </a:lnTo>
                <a:lnTo>
                  <a:pt x="1192507" y="44079"/>
                </a:lnTo>
                <a:lnTo>
                  <a:pt x="1197590" y="49153"/>
                </a:lnTo>
                <a:lnTo>
                  <a:pt x="1202037" y="54861"/>
                </a:lnTo>
                <a:lnTo>
                  <a:pt x="1206802" y="60252"/>
                </a:lnTo>
                <a:lnTo>
                  <a:pt x="1210932" y="66277"/>
                </a:lnTo>
                <a:lnTo>
                  <a:pt x="1215062" y="72303"/>
                </a:lnTo>
                <a:lnTo>
                  <a:pt x="1218238" y="78645"/>
                </a:lnTo>
                <a:lnTo>
                  <a:pt x="1221733" y="84987"/>
                </a:lnTo>
                <a:lnTo>
                  <a:pt x="1224592" y="91964"/>
                </a:lnTo>
                <a:lnTo>
                  <a:pt x="1227768" y="98623"/>
                </a:lnTo>
                <a:lnTo>
                  <a:pt x="1229992" y="105917"/>
                </a:lnTo>
                <a:lnTo>
                  <a:pt x="1231898" y="112893"/>
                </a:lnTo>
                <a:lnTo>
                  <a:pt x="1233804" y="120187"/>
                </a:lnTo>
                <a:lnTo>
                  <a:pt x="1234757" y="127481"/>
                </a:lnTo>
                <a:lnTo>
                  <a:pt x="1236028" y="135092"/>
                </a:lnTo>
                <a:lnTo>
                  <a:pt x="1236345" y="143019"/>
                </a:lnTo>
                <a:lnTo>
                  <a:pt x="1236663" y="150630"/>
                </a:lnTo>
                <a:lnTo>
                  <a:pt x="1236663" y="296186"/>
                </a:lnTo>
                <a:lnTo>
                  <a:pt x="1236345" y="303797"/>
                </a:lnTo>
                <a:lnTo>
                  <a:pt x="1236028" y="311725"/>
                </a:lnTo>
                <a:lnTo>
                  <a:pt x="1234757" y="319019"/>
                </a:lnTo>
                <a:lnTo>
                  <a:pt x="1233804" y="326629"/>
                </a:lnTo>
                <a:lnTo>
                  <a:pt x="1231898" y="333606"/>
                </a:lnTo>
                <a:lnTo>
                  <a:pt x="1229992" y="340900"/>
                </a:lnTo>
                <a:lnTo>
                  <a:pt x="1227768" y="347876"/>
                </a:lnTo>
                <a:lnTo>
                  <a:pt x="1224592" y="354853"/>
                </a:lnTo>
                <a:lnTo>
                  <a:pt x="1221733" y="361512"/>
                </a:lnTo>
                <a:lnTo>
                  <a:pt x="1218238" y="367854"/>
                </a:lnTo>
                <a:lnTo>
                  <a:pt x="1215062" y="374197"/>
                </a:lnTo>
                <a:lnTo>
                  <a:pt x="1210932" y="380222"/>
                </a:lnTo>
                <a:lnTo>
                  <a:pt x="1206802" y="386247"/>
                </a:lnTo>
                <a:lnTo>
                  <a:pt x="1202037" y="391955"/>
                </a:lnTo>
                <a:lnTo>
                  <a:pt x="1197590" y="397346"/>
                </a:lnTo>
                <a:lnTo>
                  <a:pt x="1192507" y="402420"/>
                </a:lnTo>
                <a:lnTo>
                  <a:pt x="1187424" y="407811"/>
                </a:lnTo>
                <a:lnTo>
                  <a:pt x="1181706" y="412251"/>
                </a:lnTo>
                <a:lnTo>
                  <a:pt x="1176306" y="416690"/>
                </a:lnTo>
                <a:lnTo>
                  <a:pt x="1170270" y="420813"/>
                </a:lnTo>
                <a:lnTo>
                  <a:pt x="1164235" y="424935"/>
                </a:lnTo>
                <a:lnTo>
                  <a:pt x="1157881" y="428423"/>
                </a:lnTo>
                <a:lnTo>
                  <a:pt x="1151210" y="431912"/>
                </a:lnTo>
                <a:lnTo>
                  <a:pt x="1144539" y="434766"/>
                </a:lnTo>
                <a:lnTo>
                  <a:pt x="1137868" y="437303"/>
                </a:lnTo>
                <a:lnTo>
                  <a:pt x="1130562" y="440157"/>
                </a:lnTo>
                <a:lnTo>
                  <a:pt x="1123573" y="442059"/>
                </a:lnTo>
                <a:lnTo>
                  <a:pt x="1116267" y="443645"/>
                </a:lnTo>
                <a:lnTo>
                  <a:pt x="1108960" y="444914"/>
                </a:lnTo>
                <a:lnTo>
                  <a:pt x="1101336" y="446182"/>
                </a:lnTo>
                <a:lnTo>
                  <a:pt x="1093712" y="446499"/>
                </a:lnTo>
                <a:lnTo>
                  <a:pt x="1085770" y="446816"/>
                </a:lnTo>
                <a:lnTo>
                  <a:pt x="1060675" y="446816"/>
                </a:lnTo>
                <a:lnTo>
                  <a:pt x="1084500" y="523875"/>
                </a:lnTo>
                <a:lnTo>
                  <a:pt x="945996" y="446816"/>
                </a:lnTo>
                <a:lnTo>
                  <a:pt x="789068" y="446816"/>
                </a:lnTo>
                <a:lnTo>
                  <a:pt x="781444" y="446499"/>
                </a:lnTo>
                <a:lnTo>
                  <a:pt x="773502" y="446182"/>
                </a:lnTo>
                <a:lnTo>
                  <a:pt x="766196" y="444914"/>
                </a:lnTo>
                <a:lnTo>
                  <a:pt x="758889" y="443645"/>
                </a:lnTo>
                <a:lnTo>
                  <a:pt x="751583" y="442059"/>
                </a:lnTo>
                <a:lnTo>
                  <a:pt x="744277" y="440157"/>
                </a:lnTo>
                <a:lnTo>
                  <a:pt x="737288" y="437303"/>
                </a:lnTo>
                <a:lnTo>
                  <a:pt x="730299" y="434766"/>
                </a:lnTo>
                <a:lnTo>
                  <a:pt x="723946" y="431912"/>
                </a:lnTo>
                <a:lnTo>
                  <a:pt x="717275" y="428423"/>
                </a:lnTo>
                <a:lnTo>
                  <a:pt x="710921" y="424935"/>
                </a:lnTo>
                <a:lnTo>
                  <a:pt x="704886" y="420813"/>
                </a:lnTo>
                <a:lnTo>
                  <a:pt x="698850" y="416690"/>
                </a:lnTo>
                <a:lnTo>
                  <a:pt x="693132" y="412251"/>
                </a:lnTo>
                <a:lnTo>
                  <a:pt x="687731" y="407811"/>
                </a:lnTo>
                <a:lnTo>
                  <a:pt x="682649" y="402420"/>
                </a:lnTo>
                <a:lnTo>
                  <a:pt x="677566" y="397346"/>
                </a:lnTo>
                <a:lnTo>
                  <a:pt x="672801" y="391955"/>
                </a:lnTo>
                <a:lnTo>
                  <a:pt x="668354" y="386247"/>
                </a:lnTo>
                <a:lnTo>
                  <a:pt x="664224" y="380222"/>
                </a:lnTo>
                <a:lnTo>
                  <a:pt x="660094" y="374197"/>
                </a:lnTo>
                <a:lnTo>
                  <a:pt x="656600" y="367854"/>
                </a:lnTo>
                <a:lnTo>
                  <a:pt x="653106" y="361512"/>
                </a:lnTo>
                <a:lnTo>
                  <a:pt x="650247" y="354853"/>
                </a:lnTo>
                <a:lnTo>
                  <a:pt x="647705" y="347876"/>
                </a:lnTo>
                <a:lnTo>
                  <a:pt x="644846" y="340900"/>
                </a:lnTo>
                <a:lnTo>
                  <a:pt x="642940" y="333606"/>
                </a:lnTo>
                <a:lnTo>
                  <a:pt x="641669" y="326629"/>
                </a:lnTo>
                <a:lnTo>
                  <a:pt x="640081" y="319019"/>
                </a:lnTo>
                <a:lnTo>
                  <a:pt x="638810" y="311725"/>
                </a:lnTo>
                <a:lnTo>
                  <a:pt x="638493" y="303797"/>
                </a:lnTo>
                <a:lnTo>
                  <a:pt x="638175" y="296186"/>
                </a:lnTo>
                <a:lnTo>
                  <a:pt x="638175" y="150630"/>
                </a:lnTo>
                <a:lnTo>
                  <a:pt x="638493" y="143019"/>
                </a:lnTo>
                <a:lnTo>
                  <a:pt x="638810" y="135092"/>
                </a:lnTo>
                <a:lnTo>
                  <a:pt x="640081" y="127481"/>
                </a:lnTo>
                <a:lnTo>
                  <a:pt x="641669" y="120187"/>
                </a:lnTo>
                <a:lnTo>
                  <a:pt x="642940" y="112893"/>
                </a:lnTo>
                <a:lnTo>
                  <a:pt x="644846" y="105917"/>
                </a:lnTo>
                <a:lnTo>
                  <a:pt x="647705" y="98623"/>
                </a:lnTo>
                <a:lnTo>
                  <a:pt x="650247" y="91964"/>
                </a:lnTo>
                <a:lnTo>
                  <a:pt x="653106" y="84987"/>
                </a:lnTo>
                <a:lnTo>
                  <a:pt x="656600" y="78645"/>
                </a:lnTo>
                <a:lnTo>
                  <a:pt x="660094" y="72303"/>
                </a:lnTo>
                <a:lnTo>
                  <a:pt x="664224" y="66277"/>
                </a:lnTo>
                <a:lnTo>
                  <a:pt x="668354" y="60252"/>
                </a:lnTo>
                <a:lnTo>
                  <a:pt x="672801" y="54861"/>
                </a:lnTo>
                <a:lnTo>
                  <a:pt x="677566" y="49153"/>
                </a:lnTo>
                <a:lnTo>
                  <a:pt x="682649" y="44079"/>
                </a:lnTo>
                <a:lnTo>
                  <a:pt x="687731" y="39006"/>
                </a:lnTo>
                <a:lnTo>
                  <a:pt x="693132" y="34566"/>
                </a:lnTo>
                <a:lnTo>
                  <a:pt x="698850" y="29809"/>
                </a:lnTo>
                <a:lnTo>
                  <a:pt x="704886" y="25687"/>
                </a:lnTo>
                <a:lnTo>
                  <a:pt x="710921" y="21564"/>
                </a:lnTo>
                <a:lnTo>
                  <a:pt x="717275" y="18393"/>
                </a:lnTo>
                <a:lnTo>
                  <a:pt x="723946" y="14905"/>
                </a:lnTo>
                <a:lnTo>
                  <a:pt x="730299" y="12051"/>
                </a:lnTo>
                <a:lnTo>
                  <a:pt x="737288" y="8879"/>
                </a:lnTo>
                <a:lnTo>
                  <a:pt x="744277" y="6660"/>
                </a:lnTo>
                <a:lnTo>
                  <a:pt x="751583" y="4757"/>
                </a:lnTo>
                <a:lnTo>
                  <a:pt x="758889" y="2854"/>
                </a:lnTo>
                <a:lnTo>
                  <a:pt x="766196" y="1903"/>
                </a:lnTo>
                <a:lnTo>
                  <a:pt x="773502" y="635"/>
                </a:lnTo>
                <a:lnTo>
                  <a:pt x="781444" y="317"/>
                </a:lnTo>
                <a:lnTo>
                  <a:pt x="789068" y="0"/>
                </a:lnTo>
                <a:close/>
              </a:path>
            </a:pathLst>
          </a:custGeom>
          <a:solidFill>
            <a:schemeClr val="tx1">
              <a:lumMod val="75000"/>
              <a:lumOff val="2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charset="0"/>
                <a:ea typeface="宋体" panose="02010600030101010101" pitchFamily="2" charset="-122"/>
                <a:cs typeface="+mn-cs"/>
              </a:defRPr>
            </a:lvl9pPr>
          </a:lstStyle>
          <a:p>
            <a:pPr algn="ctr">
              <a:defRPr/>
            </a:pPr>
            <a:endParaRPr lang="zh-CN" altLang="en-US">
              <a:solidFill>
                <a:srgbClr val="FFFFFF"/>
              </a:solidFill>
            </a:endParaRPr>
          </a:p>
        </p:txBody>
      </p:sp>
    </p:spTree>
  </p:cSld>
  <p:clrMapOvr>
    <a:masterClrMapping/>
  </p:clrMapOvr>
  <p:transition>
    <p:zoom dir="in"/>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2" name="标题 1"/>
          <p:cNvSpPr txBox="1">
            <a:spLocks noGrp="1"/>
          </p:cNvSpPr>
          <p:nvPr>
            <p:ph type="title"/>
          </p:nvPr>
        </p:nvSpPr>
        <p:spPr>
          <a:xfrm>
            <a:off x="949960" y="2037715"/>
            <a:ext cx="2106930" cy="646430"/>
          </a:xfrm>
          <a:solidFill>
            <a:srgbClr val="F64C31"/>
          </a:solidFill>
          <a:ln>
            <a:noFill/>
          </a:ln>
          <a:effectLst>
            <a:outerShdw blurRad="50800" dist="38100" dir="2700000" algn="tl" rotWithShape="0">
              <a:prstClr val="black">
                <a:alpha val="40000"/>
              </a:prstClr>
            </a:outerShdw>
          </a:effectLst>
        </p:spPr>
        <p:txBody>
          <a:bodyPr vert="horz" wrap="square" lIns="46494" tIns="46494" rIns="46494" bIns="46494" numCol="1" rtlCol="0" anchor="b" anchorCtr="0" compatLnSpc="1">
            <a:spAutoFit/>
          </a:bodyPr>
          <a:lstStyle/>
          <a:p>
            <a:pPr lvl="0" algn="l" defTabSz="1180465" eaLnBrk="1" fontAlgn="auto" hangingPunct="1">
              <a:lnSpc>
                <a:spcPct val="150000"/>
              </a:lnSpc>
            </a:pPr>
            <a:r>
              <a:rPr lang="en-US" altLang="zh-CN" sz="2400" kern="1200" dirty="0">
                <a:solidFill>
                  <a:srgbClr val="000000"/>
                </a:solidFill>
                <a:latin typeface="+mn-ea"/>
                <a:ea typeface="+mn-ea"/>
                <a:cs typeface="+mn-ea"/>
                <a:sym typeface="+mn-ea"/>
              </a:rPr>
              <a:t>四、精装进场</a:t>
            </a:r>
          </a:p>
        </p:txBody>
      </p:sp>
      <p:sp>
        <p:nvSpPr>
          <p:cNvPr id="4" name="内容占位符 3"/>
          <p:cNvSpPr txBox="1">
            <a:spLocks noGrp="1"/>
          </p:cNvSpPr>
          <p:nvPr>
            <p:ph type="body" sz="half" idx="2"/>
          </p:nvPr>
        </p:nvSpPr>
        <p:spPr>
          <a:xfrm>
            <a:off x="949960" y="2684145"/>
            <a:ext cx="2200275" cy="2065020"/>
          </a:xfrm>
          <a:prstGeom prst="rect">
            <a:avLst/>
          </a:prstGeom>
          <a:noFill/>
          <a:extLst>
            <a:ext uri="{909E8E84-426E-40DD-AFC4-6F175D3DCCD1}">
              <a14:hiddenFill xmlns:a14="http://schemas.microsoft.com/office/drawing/2010/main">
                <a:solidFill>
                  <a:schemeClr val="bg1"/>
                </a:solidFill>
              </a14:hiddenFill>
            </a:ext>
          </a:extLst>
        </p:spPr>
        <p:txBody>
          <a:bodyPr wrap="square" rtlCol="0">
            <a:noAutofit/>
          </a:bodyPr>
          <a:lstStyle/>
          <a:p>
            <a:pPr>
              <a:lnSpc>
                <a:spcPct val="150000"/>
              </a:lnSpc>
            </a:pPr>
            <a:r>
              <a:rPr lang="en-US" altLang="zh-CN" b="1" dirty="0" smtClean="0">
                <a:latin typeface="+mn-ea"/>
                <a:ea typeface="+mn-ea"/>
                <a:cs typeface="+mn-ea"/>
              </a:rPr>
              <a:t>1</a:t>
            </a:r>
            <a:r>
              <a:rPr lang="zh-CN" altLang="en-US" b="1" dirty="0" smtClean="0">
                <a:latin typeface="+mn-ea"/>
                <a:ea typeface="+mn-ea"/>
                <a:cs typeface="+mn-ea"/>
              </a:rPr>
              <a:t>、设计交底</a:t>
            </a:r>
          </a:p>
          <a:p>
            <a:pPr>
              <a:lnSpc>
                <a:spcPct val="150000"/>
              </a:lnSpc>
            </a:pPr>
            <a:r>
              <a:rPr lang="en-US" altLang="zh-CN" b="1" smtClean="0">
                <a:solidFill>
                  <a:srgbClr val="000000"/>
                </a:solidFill>
                <a:latin typeface="+mn-ea"/>
                <a:ea typeface="+mn-ea"/>
                <a:cs typeface="+mn-ea"/>
                <a:sym typeface="+mn-ea"/>
              </a:rPr>
              <a:t>2</a:t>
            </a:r>
            <a:r>
              <a:rPr b="1" smtClean="0">
                <a:solidFill>
                  <a:srgbClr val="000000"/>
                </a:solidFill>
                <a:latin typeface="+mn-ea"/>
                <a:ea typeface="+mn-ea"/>
                <a:cs typeface="+mn-ea"/>
                <a:sym typeface="+mn-ea"/>
              </a:rPr>
              <a:t>、图纸深化</a:t>
            </a:r>
          </a:p>
          <a:p>
            <a:pPr>
              <a:lnSpc>
                <a:spcPct val="150000"/>
              </a:lnSpc>
            </a:pPr>
            <a:r>
              <a:rPr lang="en-US" altLang="zh-CN" b="1" smtClean="0">
                <a:solidFill>
                  <a:srgbClr val="000000"/>
                </a:solidFill>
                <a:latin typeface="+mn-ea"/>
                <a:ea typeface="+mn-ea"/>
                <a:cs typeface="+mn-ea"/>
                <a:sym typeface="+mn-ea"/>
              </a:rPr>
              <a:t>3</a:t>
            </a:r>
            <a:r>
              <a:rPr b="1" smtClean="0">
                <a:solidFill>
                  <a:srgbClr val="000000"/>
                </a:solidFill>
                <a:latin typeface="+mn-ea"/>
                <a:ea typeface="+mn-ea"/>
                <a:cs typeface="+mn-ea"/>
                <a:sym typeface="+mn-ea"/>
              </a:rPr>
              <a:t>、技术交底</a:t>
            </a:r>
          </a:p>
          <a:p>
            <a:pPr>
              <a:lnSpc>
                <a:spcPct val="150000"/>
              </a:lnSpc>
            </a:pPr>
            <a:r>
              <a:rPr lang="en-US" altLang="zh-CN" b="1" smtClean="0">
                <a:solidFill>
                  <a:srgbClr val="000000"/>
                </a:solidFill>
                <a:latin typeface="+mn-ea"/>
                <a:ea typeface="+mn-ea"/>
                <a:cs typeface="+mn-ea"/>
                <a:sym typeface="+mn-ea"/>
              </a:rPr>
              <a:t>4</a:t>
            </a:r>
            <a:r>
              <a:rPr b="1" smtClean="0">
                <a:solidFill>
                  <a:srgbClr val="000000"/>
                </a:solidFill>
                <a:latin typeface="+mn-ea"/>
                <a:ea typeface="+mn-ea"/>
                <a:cs typeface="+mn-ea"/>
                <a:sym typeface="+mn-ea"/>
              </a:rPr>
              <a:t>、套方放线</a:t>
            </a:r>
            <a:endParaRPr b="1" dirty="0" smtClean="0">
              <a:solidFill>
                <a:srgbClr val="000000"/>
              </a:solidFill>
              <a:latin typeface="+mn-ea"/>
              <a:ea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
        <p:nvSpPr>
          <p:cNvPr id="2" name="文本框 1"/>
          <p:cNvSpPr txBox="1"/>
          <p:nvPr/>
        </p:nvSpPr>
        <p:spPr>
          <a:xfrm>
            <a:off x="684287" y="22095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1</a:t>
            </a:r>
            <a:r>
              <a:rPr lang="zh-CN" altLang="en-US" sz="1800" b="1" dirty="0" smtClean="0">
                <a:solidFill>
                  <a:srgbClr val="000000"/>
                </a:solidFill>
                <a:cs typeface="+mn-ea"/>
              </a:rPr>
              <a:t>、</a:t>
            </a:r>
            <a:r>
              <a:rPr lang="zh-CN" sz="1800" b="1" smtClean="0">
                <a:solidFill>
                  <a:srgbClr val="000000"/>
                </a:solidFill>
                <a:cs typeface="+mn-ea"/>
                <a:sym typeface="+mn-ea"/>
              </a:rPr>
              <a:t>设计交底</a:t>
            </a:r>
            <a:endParaRPr lang="zh-CN" sz="1800" b="1" dirty="0" smtClean="0">
              <a:solidFill>
                <a:srgbClr val="000000"/>
              </a:solidFill>
              <a:cs typeface="+mn-ea"/>
              <a:sym typeface="+mn-ea"/>
            </a:endParaRPr>
          </a:p>
        </p:txBody>
      </p:sp>
      <p:sp>
        <p:nvSpPr>
          <p:cNvPr id="6" name="文本框 5"/>
          <p:cNvSpPr txBox="1"/>
          <p:nvPr/>
        </p:nvSpPr>
        <p:spPr>
          <a:xfrm>
            <a:off x="684530" y="2788920"/>
            <a:ext cx="5362575" cy="332295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组织设计部协调设计单位、项目公司与精装单位进行现场设计交底工作。</a:t>
            </a:r>
          </a:p>
          <a:p>
            <a:pPr>
              <a:lnSpc>
                <a:spcPct val="150000"/>
              </a:lnSpc>
            </a:pPr>
            <a:r>
              <a:rPr lang="zh-CN" sz="1400" dirty="0" smtClean="0">
                <a:solidFill>
                  <a:srgbClr val="000000"/>
                </a:solidFill>
                <a:latin typeface="+mn-ea"/>
                <a:cs typeface="+mn-ea"/>
                <a:sym typeface="+mn-ea"/>
              </a:rPr>
              <a:t>       重点介绍设计意图、区域范围、需要进一步现场施工深化和设计确认的图纸、工序重点和难点及注意事项。</a:t>
            </a:r>
          </a:p>
          <a:p>
            <a:pPr>
              <a:lnSpc>
                <a:spcPct val="150000"/>
              </a:lnSpc>
            </a:pPr>
            <a:r>
              <a:rPr lang="zh-CN" sz="1400" dirty="0" smtClean="0">
                <a:solidFill>
                  <a:srgbClr val="000000"/>
                </a:solidFill>
                <a:latin typeface="+mn-ea"/>
                <a:cs typeface="+mn-ea"/>
                <a:sym typeface="+mn-ea"/>
              </a:rPr>
              <a:t>       如有特殊工艺要求，需要特别说明详细做法，以及新型材料使用等。      </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要求精装单位结合设计交底进行现场实地的查缺补漏，减少施工过程中精装细节不交圈问题以及节点不明确问题发生。</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61" name="图片占位符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6935" y="2171700"/>
            <a:ext cx="3940175" cy="3940175"/>
          </a:xfrm>
          <a:prstGeom prst="ellipse">
            <a:avLst/>
          </a:prstGeom>
          <a:blipFill>
            <a:blip r:embed="rId3"/>
            <a:stretch>
              <a:fillRect/>
            </a:stretch>
          </a:blip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pic>
      <p:sp>
        <p:nvSpPr>
          <p:cNvPr id="3" name="矩形 2"/>
          <p:cNvSpPr/>
          <p:nvPr/>
        </p:nvSpPr>
        <p:spPr>
          <a:xfrm rot="16200000">
            <a:off x="6334761" y="1267460"/>
            <a:ext cx="5891530" cy="4901565"/>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2" name="标题 1"/>
          <p:cNvSpPr>
            <a:spLocks noGrp="1"/>
          </p:cNvSpPr>
          <p:nvPr>
            <p:ph type="title"/>
          </p:nvPr>
        </p:nvSpPr>
        <p:spPr>
          <a:xfrm>
            <a:off x="946785" y="2873375"/>
            <a:ext cx="2315210" cy="498475"/>
          </a:xfrm>
          <a:solidFill>
            <a:srgbClr val="F64C31"/>
          </a:solidFill>
        </p:spPr>
        <p:txBody>
          <a:bodyPr wrap="square"/>
          <a:lstStyle/>
          <a:p>
            <a:r>
              <a:rPr lang="zh-CN" altLang="en-US" sz="2400" dirty="0" smtClean="0"/>
              <a:t>一、项目前期</a:t>
            </a:r>
          </a:p>
        </p:txBody>
      </p:sp>
      <p:sp>
        <p:nvSpPr>
          <p:cNvPr id="4" name="内容占位符 3"/>
          <p:cNvSpPr txBox="1">
            <a:spLocks noGrp="1"/>
          </p:cNvSpPr>
          <p:nvPr>
            <p:ph type="body" sz="half" idx="2"/>
          </p:nvPr>
        </p:nvSpPr>
        <p:spPr>
          <a:xfrm>
            <a:off x="946785" y="3371850"/>
            <a:ext cx="1756410" cy="1109345"/>
          </a:xfrm>
          <a:prstGeom prst="rect">
            <a:avLst/>
          </a:prstGeom>
          <a:solidFill>
            <a:srgbClr val="000000">
              <a:alpha val="0"/>
            </a:srgbClr>
          </a:solidFill>
        </p:spPr>
        <p:txBody>
          <a:bodyPr wrap="square" rtlCol="0">
            <a:noAutofit/>
          </a:bodyPr>
          <a:lstStyle/>
          <a:p>
            <a:pPr>
              <a:lnSpc>
                <a:spcPct val="150000"/>
              </a:lnSpc>
            </a:pPr>
            <a:r>
              <a:rPr lang="en-US" altLang="zh-CN" b="1" dirty="0" smtClean="0">
                <a:latin typeface="+mn-ea"/>
                <a:ea typeface="+mn-ea"/>
                <a:cs typeface="+mn-ea"/>
              </a:rPr>
              <a:t>1</a:t>
            </a:r>
            <a:r>
              <a:rPr lang="zh-CN" altLang="en-US" b="1" dirty="0" smtClean="0">
                <a:latin typeface="+mn-ea"/>
                <a:ea typeface="+mn-ea"/>
                <a:cs typeface="+mn-ea"/>
              </a:rPr>
              <a:t>、结构规划</a:t>
            </a:r>
            <a:endParaRPr lang="en-US" altLang="zh-CN" b="1" dirty="0" smtClean="0">
              <a:latin typeface="+mn-ea"/>
              <a:ea typeface="+mn-ea"/>
              <a:cs typeface="+mn-ea"/>
            </a:endParaRPr>
          </a:p>
          <a:p>
            <a:pPr>
              <a:lnSpc>
                <a:spcPct val="150000"/>
              </a:lnSpc>
            </a:pPr>
            <a:r>
              <a:rPr lang="en-US" altLang="zh-CN" b="1" dirty="0" smtClean="0">
                <a:solidFill>
                  <a:srgbClr val="000000"/>
                </a:solidFill>
                <a:latin typeface="+mn-ea"/>
                <a:ea typeface="+mn-ea"/>
                <a:cs typeface="+mn-ea"/>
              </a:rPr>
              <a:t>2</a:t>
            </a:r>
            <a:r>
              <a:rPr lang="zh-CN" altLang="en-US" b="1" dirty="0" smtClean="0">
                <a:solidFill>
                  <a:srgbClr val="000000"/>
                </a:solidFill>
                <a:latin typeface="+mn-ea"/>
                <a:ea typeface="+mn-ea"/>
                <a:cs typeface="+mn-ea"/>
              </a:rPr>
              <a:t>、机电规划</a:t>
            </a:r>
            <a:endParaRPr lang="en-US" altLang="zh-CN" b="1" dirty="0" smtClean="0">
              <a:solidFill>
                <a:srgbClr val="000000"/>
              </a:solidFill>
              <a:latin typeface="+mn-ea"/>
              <a:ea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
        <p:nvSpPr>
          <p:cNvPr id="65" name="矩形 64"/>
          <p:cNvSpPr/>
          <p:nvPr/>
        </p:nvSpPr>
        <p:spPr>
          <a:xfrm>
            <a:off x="1" y="1735573"/>
            <a:ext cx="5708652" cy="3548925"/>
          </a:xfrm>
          <a:prstGeom prst="rect">
            <a:avLst/>
          </a:prstGeom>
          <a:blipFill>
            <a:blip r:embed="rId2"/>
            <a:stretch>
              <a:fillRect/>
            </a:stretch>
          </a:blipFill>
          <a:ln w="25400">
            <a:gradFill flip="none" rotWithShape="1">
              <a:gsLst>
                <a:gs pos="0">
                  <a:schemeClr val="bg1">
                    <a:lumMod val="71000"/>
                  </a:schemeClr>
                </a:gs>
                <a:gs pos="100000">
                  <a:schemeClr val="bg1"/>
                </a:gs>
              </a:gsLst>
              <a:lin ang="2700000" scaled="1"/>
              <a:tileRect/>
            </a:gradFill>
          </a:ln>
          <a:effectLst>
            <a:innerShdw blurRad="1016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endParaRPr>
          </a:p>
        </p:txBody>
      </p:sp>
      <p:sp>
        <p:nvSpPr>
          <p:cNvPr id="6" name="文本框 5"/>
          <p:cNvSpPr txBox="1"/>
          <p:nvPr/>
        </p:nvSpPr>
        <p:spPr>
          <a:xfrm>
            <a:off x="5708650" y="2468245"/>
            <a:ext cx="5501005" cy="396938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组织精装单位进行现场勘查，结合实况进行设计图纸深化，出具正式施工图纸，深化内容：</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1</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关键部位：</a:t>
            </a:r>
          </a:p>
          <a:p>
            <a:pPr>
              <a:lnSpc>
                <a:spcPct val="150000"/>
              </a:lnSpc>
            </a:pPr>
            <a:r>
              <a:rPr lang="zh-CN" sz="1400" dirty="0" smtClean="0">
                <a:solidFill>
                  <a:srgbClr val="000000"/>
                </a:solidFill>
                <a:latin typeface="+mn-ea"/>
                <a:cs typeface="+mn-ea"/>
                <a:sym typeface="+mn-ea"/>
              </a:rPr>
              <a:t>        如：不同材质交界面、造型表现部位、加固方案、防水施工方案等，均应绘制节点详图。</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观感质量：</a:t>
            </a:r>
          </a:p>
          <a:p>
            <a:pPr>
              <a:lnSpc>
                <a:spcPct val="150000"/>
              </a:lnSpc>
            </a:pPr>
            <a:r>
              <a:rPr lang="zh-CN" sz="1400" dirty="0" smtClean="0">
                <a:solidFill>
                  <a:srgbClr val="000000"/>
                </a:solidFill>
                <a:latin typeface="+mn-ea"/>
                <a:cs typeface="+mn-ea"/>
                <a:sym typeface="+mn-ea"/>
              </a:rPr>
              <a:t>        如：综合天花点位落位、墙地砖排版、综合管线规划等，必须依据实际现状进行图纸深化。      </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施工前期提前解决施工过程中的技术难点，避免施工过程中出现因图纸不明而造成工期延误。</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 name="文本框 1"/>
          <p:cNvSpPr txBox="1"/>
          <p:nvPr/>
        </p:nvSpPr>
        <p:spPr>
          <a:xfrm>
            <a:off x="5708407" y="173520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2</a:t>
            </a:r>
            <a:r>
              <a:rPr lang="zh-CN" altLang="en-US" sz="1800" b="1" dirty="0" smtClean="0">
                <a:solidFill>
                  <a:srgbClr val="000000"/>
                </a:solidFill>
                <a:cs typeface="+mn-ea"/>
              </a:rPr>
              <a:t>、图纸深化</a:t>
            </a:r>
            <a:endParaRPr lang="en-US" altLang="zh-CN" sz="1800" b="1" dirty="0" smtClean="0">
              <a:solidFill>
                <a:srgbClr val="000000"/>
              </a:solidFill>
              <a:cs typeface="+mn-ea"/>
              <a:sym typeface="+mn-ea"/>
            </a:endParaRP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grpId="0"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1000" fill="hold"/>
                                        <p:tgtEl>
                                          <p:spTgt spid="65"/>
                                        </p:tgtEl>
                                        <p:attrNameLst>
                                          <p:attrName>ppt_x</p:attrName>
                                        </p:attrNameLst>
                                      </p:cBhvr>
                                      <p:tavLst>
                                        <p:tav tm="0">
                                          <p:val>
                                            <p:strVal val="0-#ppt_w/2"/>
                                          </p:val>
                                        </p:tav>
                                        <p:tav tm="100000">
                                          <p:val>
                                            <p:strVal val="#ppt_x"/>
                                          </p:val>
                                        </p:tav>
                                      </p:tavLst>
                                    </p:anim>
                                    <p:anim calcmode="lin" valueType="num">
                                      <p:cBhvr additive="base">
                                        <p:cTn id="8" dur="1000" fill="hold"/>
                                        <p:tgtEl>
                                          <p:spTgt spid="6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bldLvl="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4.2.1</a:t>
            </a:r>
            <a:r>
              <a:rPr lang="zh-CN" altLang="en-US" sz="1800" b="1" dirty="0" smtClean="0">
                <a:solidFill>
                  <a:srgbClr val="000000"/>
                </a:solidFill>
                <a:cs typeface="+mn-ea"/>
              </a:rPr>
              <a:t>、</a:t>
            </a:r>
            <a:r>
              <a:rPr lang="zh-CN" altLang="en-US" sz="1800" b="1" dirty="0" smtClean="0">
                <a:solidFill>
                  <a:srgbClr val="000000"/>
                </a:solidFill>
                <a:cs typeface="+mn-ea"/>
                <a:sym typeface="+mn-ea"/>
              </a:rPr>
              <a:t>图纸深化（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2" name="Rectangle 3"/>
          <p:cNvSpPr txBox="1"/>
          <p:nvPr/>
        </p:nvSpPr>
        <p:spPr>
          <a:xfrm>
            <a:off x="531162" y="5565098"/>
            <a:ext cx="4133418" cy="760730"/>
          </a:xfrm>
          <a:prstGeom prst="rect">
            <a:avLst/>
          </a:prstGeom>
          <a:noFill/>
          <a:ln w="9525">
            <a:noFill/>
          </a:ln>
        </p:spPr>
        <p:txBody>
          <a:bodyPr anchor="t"/>
          <a:lstStyle/>
          <a:p>
            <a:pPr marL="342900" indent="-342900" defTabSz="914400">
              <a:spcBef>
                <a:spcPct val="20000"/>
              </a:spcBef>
              <a:buFont typeface="Arial" panose="020B0604020202020204" pitchFamily="34" charset="0"/>
              <a:buNone/>
            </a:pPr>
            <a:r>
              <a:rPr lang="zh-CN" altLang="en-US" sz="1400" b="1" dirty="0">
                <a:latin typeface="+mn-ea"/>
                <a:cs typeface="+mn-ea"/>
              </a:rPr>
              <a:t>原方案：</a:t>
            </a:r>
            <a:r>
              <a:rPr lang="zh-CN" altLang="en-US" sz="1400" dirty="0">
                <a:latin typeface="+mn-ea"/>
                <a:cs typeface="+mn-ea"/>
              </a:rPr>
              <a:t>42平米LOFT户型（变异）因此位置有结构柱以及下水管影响，导致橱柜操作面过小，无切菜操作空间。</a:t>
            </a:r>
          </a:p>
        </p:txBody>
      </p:sp>
      <p:pic>
        <p:nvPicPr>
          <p:cNvPr id="13" name="图片 12"/>
          <p:cNvPicPr>
            <a:picLocks noChangeAspect="1"/>
          </p:cNvPicPr>
          <p:nvPr/>
        </p:nvPicPr>
        <p:blipFill>
          <a:blip r:embed="rId2"/>
          <a:stretch>
            <a:fillRect/>
          </a:stretch>
        </p:blipFill>
        <p:spPr>
          <a:xfrm>
            <a:off x="716203" y="2862684"/>
            <a:ext cx="2303572" cy="2239729"/>
          </a:xfrm>
          <a:prstGeom prst="rect">
            <a:avLst/>
          </a:prstGeom>
          <a:ln w="88900" cap="sq" cmpd="thickThin">
            <a:solidFill>
              <a:srgbClr val="000000"/>
            </a:solidFill>
            <a:prstDash val="solid"/>
            <a:miter lim="800000"/>
            <a:headEnd/>
            <a:tailEnd/>
          </a:ln>
          <a:effectLst>
            <a:innerShdw blurRad="76200">
              <a:srgbClr val="000000"/>
            </a:innerShdw>
          </a:effectLst>
        </p:spPr>
        <p:style>
          <a:lnRef idx="2">
            <a:schemeClr val="accent6">
              <a:shade val="50000"/>
            </a:schemeClr>
          </a:lnRef>
          <a:fillRef idx="1">
            <a:schemeClr val="accent6"/>
          </a:fillRef>
          <a:effectRef idx="0">
            <a:schemeClr val="accent6"/>
          </a:effectRef>
          <a:fontRef idx="minor">
            <a:schemeClr val="lt1"/>
          </a:fontRef>
        </p:style>
      </p:pic>
      <p:pic>
        <p:nvPicPr>
          <p:cNvPr id="14" name="图片 13"/>
          <p:cNvPicPr>
            <a:picLocks noChangeAspect="1"/>
          </p:cNvPicPr>
          <p:nvPr/>
        </p:nvPicPr>
        <p:blipFill>
          <a:blip r:embed="rId3"/>
          <a:stretch>
            <a:fillRect/>
          </a:stretch>
        </p:blipFill>
        <p:spPr>
          <a:xfrm>
            <a:off x="3409230" y="2862684"/>
            <a:ext cx="1343105" cy="2239729"/>
          </a:xfrm>
          <a:prstGeom prst="rect">
            <a:avLst/>
          </a:prstGeom>
          <a:ln w="88900" cap="sq" cmpd="thickThin">
            <a:solidFill>
              <a:srgbClr val="000000"/>
            </a:solidFill>
            <a:prstDash val="solid"/>
            <a:miter lim="800000"/>
            <a:headEnd/>
            <a:tailEnd/>
          </a:ln>
          <a:effectLst>
            <a:innerShdw blurRad="76200">
              <a:srgbClr val="000000"/>
            </a:innerShdw>
          </a:effectLst>
        </p:spPr>
        <p:style>
          <a:lnRef idx="2">
            <a:schemeClr val="accent6">
              <a:shade val="50000"/>
            </a:schemeClr>
          </a:lnRef>
          <a:fillRef idx="1">
            <a:schemeClr val="accent6"/>
          </a:fillRef>
          <a:effectRef idx="0">
            <a:schemeClr val="accent6"/>
          </a:effectRef>
          <a:fontRef idx="minor">
            <a:schemeClr val="lt1"/>
          </a:fontRef>
        </p:style>
      </p:pic>
      <p:pic>
        <p:nvPicPr>
          <p:cNvPr id="15" name="图片 14"/>
          <p:cNvPicPr>
            <a:picLocks noChangeAspect="1"/>
          </p:cNvPicPr>
          <p:nvPr/>
        </p:nvPicPr>
        <p:blipFill>
          <a:blip r:embed="rId4"/>
          <a:srcRect/>
          <a:stretch>
            <a:fillRect/>
          </a:stretch>
        </p:blipFill>
        <p:spPr>
          <a:xfrm>
            <a:off x="5764552" y="1303947"/>
            <a:ext cx="2547502" cy="1928653"/>
          </a:xfrm>
          <a:prstGeom prst="rect">
            <a:avLst/>
          </a:prstGeom>
          <a:ln w="88900" cap="sq" cmpd="thickThin">
            <a:solidFill>
              <a:srgbClr val="000000"/>
            </a:solidFill>
            <a:prstDash val="solid"/>
            <a:miter lim="800000"/>
            <a:headEnd/>
            <a:tailEnd/>
          </a:ln>
          <a:effectLst>
            <a:innerShdw blurRad="76200">
              <a:srgbClr val="000000"/>
            </a:innerShdw>
          </a:effectLst>
        </p:spPr>
        <p:style>
          <a:lnRef idx="2">
            <a:schemeClr val="accent6">
              <a:shade val="50000"/>
            </a:schemeClr>
          </a:lnRef>
          <a:fillRef idx="1">
            <a:schemeClr val="accent6"/>
          </a:fillRef>
          <a:effectRef idx="0">
            <a:schemeClr val="accent6"/>
          </a:effectRef>
          <a:fontRef idx="minor">
            <a:schemeClr val="lt1"/>
          </a:fontRef>
        </p:style>
      </p:pic>
      <p:sp>
        <p:nvSpPr>
          <p:cNvPr id="16" name="Rectangle 3"/>
          <p:cNvSpPr txBox="1"/>
          <p:nvPr/>
        </p:nvSpPr>
        <p:spPr>
          <a:xfrm>
            <a:off x="5641114" y="4885668"/>
            <a:ext cx="2794378" cy="1440160"/>
          </a:xfrm>
          <a:prstGeom prst="rect">
            <a:avLst/>
          </a:prstGeom>
          <a:noFill/>
          <a:ln w="9525">
            <a:noFill/>
          </a:ln>
        </p:spPr>
        <p:txBody>
          <a:bodyPr anchor="t"/>
          <a:lstStyle/>
          <a:p>
            <a:pPr marL="342900" indent="-342900" defTabSz="914400">
              <a:spcBef>
                <a:spcPct val="20000"/>
              </a:spcBef>
              <a:buFont typeface="Arial" panose="020B0604020202020204" pitchFamily="34" charset="0"/>
              <a:buNone/>
            </a:pPr>
            <a:r>
              <a:rPr lang="zh-CN" altLang="en-US" sz="1400" b="1" dirty="0">
                <a:latin typeface="+mn-ea"/>
                <a:cs typeface="+mn-ea"/>
              </a:rPr>
              <a:t>优化方案：</a:t>
            </a:r>
            <a:r>
              <a:rPr lang="zh-CN" altLang="en-US" sz="1400" dirty="0">
                <a:latin typeface="+mn-ea"/>
                <a:cs typeface="+mn-ea"/>
              </a:rPr>
              <a:t>结合现场实际情况，将洗衣机移至楼梯下方，原洗衣机位置（灶台下方）做抽拉式移动台，可解决切菜操作功能，亦可作为餐台使用。</a:t>
            </a:r>
          </a:p>
        </p:txBody>
      </p:sp>
      <p:pic>
        <p:nvPicPr>
          <p:cNvPr id="17" name="图片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44873" y="1303947"/>
            <a:ext cx="2625230" cy="1928653"/>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9" name="图片 18"/>
          <p:cNvPicPr>
            <a:picLocks noChangeAspect="1"/>
          </p:cNvPicPr>
          <p:nvPr/>
        </p:nvPicPr>
        <p:blipFill rotWithShape="1">
          <a:blip r:embed="rId6" cstate="print">
            <a:extLst>
              <a:ext uri="{28A0092B-C50C-407E-A947-70E740481C1C}">
                <a14:useLocalDpi xmlns:a14="http://schemas.microsoft.com/office/drawing/2010/main" val="0"/>
              </a:ext>
            </a:extLst>
          </a:blip>
          <a:srcRect t="5902" r="7358" b="6927"/>
          <a:stretch/>
        </p:blipFill>
        <p:spPr>
          <a:xfrm>
            <a:off x="8644873" y="3473450"/>
            <a:ext cx="2624591" cy="2890898"/>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bldLst>
      <p:bldP spid="1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2.2</a:t>
            </a:r>
            <a:r>
              <a:rPr lang="zh-CN" altLang="en-US" sz="1800" b="1" dirty="0" smtClean="0">
                <a:solidFill>
                  <a:srgbClr val="000000"/>
                </a:solidFill>
                <a:cs typeface="+mn-ea"/>
                <a:sym typeface="+mn-ea"/>
              </a:rPr>
              <a:t>、图纸深化（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6"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pic>
        <p:nvPicPr>
          <p:cNvPr id="18" name="图片 17"/>
          <p:cNvPicPr>
            <a:picLocks noChangeAspect="1"/>
          </p:cNvPicPr>
          <p:nvPr/>
        </p:nvPicPr>
        <p:blipFill>
          <a:blip r:embed="rId2"/>
          <a:stretch>
            <a:fillRect/>
          </a:stretch>
        </p:blipFill>
        <p:spPr>
          <a:xfrm>
            <a:off x="687311" y="2790606"/>
            <a:ext cx="4209000" cy="2158028"/>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21" name="TextBox 5"/>
          <p:cNvSpPr txBox="1"/>
          <p:nvPr/>
        </p:nvSpPr>
        <p:spPr>
          <a:xfrm>
            <a:off x="1047135" y="5094932"/>
            <a:ext cx="3129079" cy="276999"/>
          </a:xfrm>
          <a:prstGeom prst="rect">
            <a:avLst/>
          </a:prstGeom>
          <a:noFill/>
        </p:spPr>
        <p:txBody>
          <a:bodyPr wrap="square" rtlCol="0">
            <a:spAutoFit/>
          </a:bodyPr>
          <a:lstStyle/>
          <a:p>
            <a:pPr algn="ctr"/>
            <a:r>
              <a:rPr lang="zh-CN" altLang="en-US" sz="1200" b="1" dirty="0" smtClean="0"/>
              <a:t>原设计平面</a:t>
            </a:r>
            <a:endParaRPr lang="zh-CN" altLang="en-US" sz="1200" b="1" dirty="0"/>
          </a:p>
        </p:txBody>
      </p:sp>
      <p:sp>
        <p:nvSpPr>
          <p:cNvPr id="22" name="TextBox 5"/>
          <p:cNvSpPr txBox="1"/>
          <p:nvPr/>
        </p:nvSpPr>
        <p:spPr>
          <a:xfrm>
            <a:off x="8370049" y="4638784"/>
            <a:ext cx="3600400" cy="1754326"/>
          </a:xfrm>
          <a:prstGeom prst="rect">
            <a:avLst/>
          </a:prstGeom>
          <a:noFill/>
        </p:spPr>
        <p:txBody>
          <a:bodyPr wrap="square" rtlCol="0">
            <a:spAutoFit/>
          </a:bodyPr>
          <a:lstStyle>
            <a:defPPr>
              <a:defRPr lang="zh-CN"/>
            </a:defPPr>
            <a:lvl1pPr>
              <a:lnSpc>
                <a:spcPct val="150000"/>
              </a:lnSpc>
              <a:defRPr sz="1600" b="1">
                <a:solidFill>
                  <a:srgbClr val="000000"/>
                </a:solidFill>
                <a:latin typeface="+mn-ea"/>
                <a:cs typeface="+mn-ea"/>
              </a:defRPr>
            </a:lvl1pPr>
          </a:lstStyle>
          <a:p>
            <a:r>
              <a:rPr lang="zh-CN" altLang="en-US" dirty="0" smtClean="0"/>
              <a:t>问题描述</a:t>
            </a:r>
            <a:r>
              <a:rPr lang="en-US" altLang="zh-CN" dirty="0"/>
              <a:t>76</a:t>
            </a:r>
            <a:r>
              <a:rPr lang="zh-CN" altLang="en-US" dirty="0"/>
              <a:t>平米户型</a:t>
            </a:r>
            <a:r>
              <a:rPr lang="zh-CN" altLang="en-US" dirty="0" smtClean="0"/>
              <a:t>：</a:t>
            </a:r>
            <a:endParaRPr lang="en-US" altLang="zh-CN" dirty="0"/>
          </a:p>
          <a:p>
            <a:r>
              <a:rPr lang="en-US" altLang="zh-CN" sz="1400" b="0" dirty="0"/>
              <a:t>1</a:t>
            </a:r>
            <a:r>
              <a:rPr lang="zh-CN" altLang="en-US" sz="1400" b="0" dirty="0" smtClean="0"/>
              <a:t>、根据</a:t>
            </a:r>
            <a:r>
              <a:rPr lang="zh-CN" altLang="en-US" sz="1400" b="0" dirty="0"/>
              <a:t>照片所示，楼梯底部空间已造成卫生清理死角。</a:t>
            </a:r>
            <a:endParaRPr lang="en-US" altLang="zh-CN" sz="1400" b="0" dirty="0"/>
          </a:p>
          <a:p>
            <a:r>
              <a:rPr lang="en-US" altLang="zh-CN" sz="1400" b="0" dirty="0"/>
              <a:t>2</a:t>
            </a:r>
            <a:r>
              <a:rPr lang="zh-CN" altLang="en-US" sz="1400" b="0" dirty="0"/>
              <a:t>、底部空间内的面层已无法施工。</a:t>
            </a:r>
            <a:endParaRPr lang="en-US" altLang="zh-CN" sz="1400" b="0" dirty="0"/>
          </a:p>
          <a:p>
            <a:r>
              <a:rPr lang="en-US" altLang="zh-CN" sz="1400" b="0" dirty="0"/>
              <a:t>3</a:t>
            </a:r>
            <a:r>
              <a:rPr lang="zh-CN" altLang="en-US" sz="1400" b="0" dirty="0"/>
              <a:t>、此处空间为浪费空间</a:t>
            </a:r>
            <a:r>
              <a:rPr lang="zh-CN" altLang="en-US" sz="1400" b="0" dirty="0" smtClean="0"/>
              <a:t>。</a:t>
            </a:r>
            <a:endParaRPr lang="zh-CN" altLang="en-US" sz="1400" b="0" dirty="0"/>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4807" y="1552474"/>
            <a:ext cx="2825930" cy="339616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27" name="TextBox 5"/>
          <p:cNvSpPr txBox="1"/>
          <p:nvPr/>
        </p:nvSpPr>
        <p:spPr>
          <a:xfrm>
            <a:off x="5213232" y="5094932"/>
            <a:ext cx="3129079" cy="276999"/>
          </a:xfrm>
          <a:prstGeom prst="rect">
            <a:avLst/>
          </a:prstGeom>
          <a:noFill/>
        </p:spPr>
        <p:txBody>
          <a:bodyPr wrap="square" rtlCol="0">
            <a:spAutoFit/>
          </a:bodyPr>
          <a:lstStyle/>
          <a:p>
            <a:pPr algn="ctr"/>
            <a:r>
              <a:rPr lang="zh-CN" altLang="en-US" sz="1200" b="1" dirty="0" smtClean="0"/>
              <a:t>楼梯踏步底部独立空间死角</a:t>
            </a:r>
            <a:endParaRPr lang="zh-CN" altLang="en-US" sz="1200" b="1" dirty="0"/>
          </a:p>
        </p:txBody>
      </p:sp>
    </p:spTree>
  </p:cSld>
  <p:clrMapOvr>
    <a:masterClrMapping/>
  </p:clrMapOvr>
  <p:transition>
    <p:zoom dir="in"/>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2.2</a:t>
            </a:r>
            <a:r>
              <a:rPr lang="zh-CN" altLang="en-US" sz="1800" b="1" dirty="0" smtClean="0">
                <a:solidFill>
                  <a:srgbClr val="000000"/>
                </a:solidFill>
                <a:cs typeface="+mn-ea"/>
                <a:sym typeface="+mn-ea"/>
              </a:rPr>
              <a:t>、图纸深化（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6"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pic>
        <p:nvPicPr>
          <p:cNvPr id="10" name="图片 9"/>
          <p:cNvPicPr>
            <a:picLocks noChangeAspect="1"/>
          </p:cNvPicPr>
          <p:nvPr/>
        </p:nvPicPr>
        <p:blipFill>
          <a:blip r:embed="rId2"/>
          <a:stretch>
            <a:fillRect/>
          </a:stretch>
        </p:blipFill>
        <p:spPr>
          <a:xfrm>
            <a:off x="756295" y="1494532"/>
            <a:ext cx="4209000" cy="2121158"/>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1" name="TextBox 5"/>
          <p:cNvSpPr txBox="1"/>
          <p:nvPr/>
        </p:nvSpPr>
        <p:spPr>
          <a:xfrm>
            <a:off x="1296255" y="3689504"/>
            <a:ext cx="3129079" cy="276999"/>
          </a:xfrm>
          <a:prstGeom prst="rect">
            <a:avLst/>
          </a:prstGeom>
          <a:noFill/>
        </p:spPr>
        <p:txBody>
          <a:bodyPr wrap="square" rtlCol="0">
            <a:spAutoFit/>
          </a:bodyPr>
          <a:lstStyle/>
          <a:p>
            <a:pPr algn="ctr"/>
            <a:r>
              <a:rPr lang="zh-CN" altLang="en-US" sz="1200" b="1" dirty="0" smtClean="0"/>
              <a:t>建议调整后设计平面</a:t>
            </a:r>
            <a:endParaRPr lang="zh-CN" altLang="en-US" sz="1200" b="1" dirty="0"/>
          </a:p>
        </p:txBody>
      </p:sp>
      <p:sp>
        <p:nvSpPr>
          <p:cNvPr id="12" name="TextBox 5"/>
          <p:cNvSpPr txBox="1"/>
          <p:nvPr/>
        </p:nvSpPr>
        <p:spPr>
          <a:xfrm>
            <a:off x="4965295" y="4815899"/>
            <a:ext cx="6376176" cy="1431161"/>
          </a:xfrm>
          <a:prstGeom prst="rect">
            <a:avLst/>
          </a:prstGeom>
          <a:noFill/>
        </p:spPr>
        <p:txBody>
          <a:bodyPr wrap="square" rtlCol="0">
            <a:spAutoFit/>
          </a:bodyPr>
          <a:lstStyle>
            <a:defPPr>
              <a:defRPr lang="zh-CN"/>
            </a:defPPr>
            <a:lvl1pPr>
              <a:lnSpc>
                <a:spcPct val="150000"/>
              </a:lnSpc>
              <a:defRPr sz="1600" b="1">
                <a:solidFill>
                  <a:srgbClr val="000000"/>
                </a:solidFill>
                <a:latin typeface="+mn-ea"/>
                <a:cs typeface="+mn-ea"/>
              </a:defRPr>
            </a:lvl1pPr>
          </a:lstStyle>
          <a:p>
            <a:r>
              <a:rPr lang="zh-CN" altLang="en-US" dirty="0" smtClean="0"/>
              <a:t>解决</a:t>
            </a:r>
            <a:r>
              <a:rPr lang="zh-CN" altLang="en-US" dirty="0"/>
              <a:t>方案：</a:t>
            </a:r>
            <a:endParaRPr lang="en-US" altLang="zh-CN" dirty="0"/>
          </a:p>
          <a:p>
            <a:r>
              <a:rPr lang="en-US" altLang="zh-CN" sz="1400" b="0" dirty="0"/>
              <a:t>1</a:t>
            </a:r>
            <a:r>
              <a:rPr lang="zh-CN" altLang="en-US" sz="1400" b="0" dirty="0"/>
              <a:t>、将原冰箱位置向橱柜方向平移至楼梯踏步外侧，约</a:t>
            </a:r>
            <a:r>
              <a:rPr lang="en-US" altLang="zh-CN" sz="1400" b="0" dirty="0"/>
              <a:t>800mm</a:t>
            </a:r>
            <a:r>
              <a:rPr lang="zh-CN" altLang="en-US" sz="1400" b="0" dirty="0"/>
              <a:t>处。</a:t>
            </a:r>
            <a:endParaRPr lang="en-US" altLang="zh-CN" sz="1400" b="0" dirty="0"/>
          </a:p>
          <a:p>
            <a:r>
              <a:rPr lang="en-US" altLang="zh-CN" sz="1400" b="0" dirty="0"/>
              <a:t>2</a:t>
            </a:r>
            <a:r>
              <a:rPr lang="zh-CN" altLang="en-US" sz="1400" b="0" dirty="0"/>
              <a:t>、平移出空间做储藏室联通楼梯底部空间，楼梯踏步侧边做封闭。</a:t>
            </a:r>
            <a:endParaRPr lang="en-US" altLang="zh-CN" sz="1400" b="0" dirty="0"/>
          </a:p>
          <a:p>
            <a:r>
              <a:rPr lang="en-US" altLang="zh-CN" sz="1400" b="0" dirty="0"/>
              <a:t>3</a:t>
            </a:r>
            <a:r>
              <a:rPr lang="zh-CN" altLang="en-US" sz="1400" b="0" dirty="0"/>
              <a:t>、可合理利用空间，也解决了卫生死角及空间浪费问题。</a:t>
            </a:r>
          </a:p>
        </p:txBody>
      </p:sp>
      <p:pic>
        <p:nvPicPr>
          <p:cNvPr id="13" name="图片 12"/>
          <p:cNvPicPr>
            <a:picLocks noChangeAspect="1"/>
          </p:cNvPicPr>
          <p:nvPr/>
        </p:nvPicPr>
        <p:blipFill rotWithShape="1">
          <a:blip r:embed="rId3" cstate="print">
            <a:extLst>
              <a:ext uri="{28A0092B-C50C-407E-A947-70E740481C1C}">
                <a14:useLocalDpi xmlns:a14="http://schemas.microsoft.com/office/drawing/2010/main" val="0"/>
              </a:ext>
            </a:extLst>
          </a:blip>
          <a:srcRect b="12214"/>
          <a:stretch/>
        </p:blipFill>
        <p:spPr>
          <a:xfrm>
            <a:off x="776778" y="4040317"/>
            <a:ext cx="3003853" cy="2158028"/>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4" name="TextBox 5"/>
          <p:cNvSpPr txBox="1"/>
          <p:nvPr/>
        </p:nvSpPr>
        <p:spPr>
          <a:xfrm>
            <a:off x="723560" y="6286630"/>
            <a:ext cx="3129079" cy="276999"/>
          </a:xfrm>
          <a:prstGeom prst="rect">
            <a:avLst/>
          </a:prstGeom>
          <a:noFill/>
        </p:spPr>
        <p:txBody>
          <a:bodyPr wrap="square" rtlCol="0">
            <a:spAutoFit/>
          </a:bodyPr>
          <a:lstStyle/>
          <a:p>
            <a:pPr algn="ctr"/>
            <a:r>
              <a:rPr lang="zh-CN" altLang="en-US" sz="1200" b="1" dirty="0" smtClean="0"/>
              <a:t>建议调整后设计示意</a:t>
            </a:r>
            <a:endParaRPr lang="zh-CN" altLang="en-US" sz="1200" b="1" dirty="0"/>
          </a:p>
        </p:txBody>
      </p:sp>
      <p:cxnSp>
        <p:nvCxnSpPr>
          <p:cNvPr id="15" name="直接连接符 14"/>
          <p:cNvCxnSpPr/>
          <p:nvPr/>
        </p:nvCxnSpPr>
        <p:spPr>
          <a:xfrm>
            <a:off x="2712637" y="4307324"/>
            <a:ext cx="0" cy="182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2726285" y="4784995"/>
            <a:ext cx="6960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3422321" y="4784995"/>
            <a:ext cx="0" cy="13511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a:off x="2726285" y="4784995"/>
            <a:ext cx="696036" cy="69603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2726285" y="5591895"/>
            <a:ext cx="696036" cy="6227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2196455" y="4374722"/>
            <a:ext cx="0" cy="182880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5"/>
          <p:cNvSpPr txBox="1"/>
          <p:nvPr/>
        </p:nvSpPr>
        <p:spPr>
          <a:xfrm>
            <a:off x="2285727" y="4873623"/>
            <a:ext cx="265570" cy="830997"/>
          </a:xfrm>
          <a:prstGeom prst="rect">
            <a:avLst/>
          </a:prstGeom>
          <a:noFill/>
        </p:spPr>
        <p:txBody>
          <a:bodyPr wrap="square" rtlCol="0">
            <a:spAutoFit/>
          </a:bodyPr>
          <a:lstStyle/>
          <a:p>
            <a:pPr algn="ctr"/>
            <a:r>
              <a:rPr lang="zh-CN" altLang="en-US" sz="1200" b="1" dirty="0" smtClean="0"/>
              <a:t>冰箱区域</a:t>
            </a:r>
            <a:endParaRPr lang="zh-CN" altLang="en-US" sz="1200" b="1" dirty="0"/>
          </a:p>
        </p:txBody>
      </p:sp>
      <p:sp>
        <p:nvSpPr>
          <p:cNvPr id="28" name="TextBox 5"/>
          <p:cNvSpPr txBox="1"/>
          <p:nvPr/>
        </p:nvSpPr>
        <p:spPr>
          <a:xfrm>
            <a:off x="2919132" y="5014151"/>
            <a:ext cx="265570" cy="1015663"/>
          </a:xfrm>
          <a:prstGeom prst="rect">
            <a:avLst/>
          </a:prstGeom>
          <a:noFill/>
        </p:spPr>
        <p:txBody>
          <a:bodyPr wrap="square" rtlCol="0">
            <a:spAutoFit/>
          </a:bodyPr>
          <a:lstStyle/>
          <a:p>
            <a:pPr algn="ctr"/>
            <a:r>
              <a:rPr lang="zh-CN" altLang="en-US" sz="1200" b="1" dirty="0" smtClean="0"/>
              <a:t>储藏室暗门</a:t>
            </a:r>
            <a:endParaRPr lang="zh-CN" altLang="en-US" sz="1200" b="1" dirty="0"/>
          </a:p>
        </p:txBody>
      </p:sp>
      <p:sp>
        <p:nvSpPr>
          <p:cNvPr id="29" name="下箭头 28"/>
          <p:cNvSpPr/>
          <p:nvPr/>
        </p:nvSpPr>
        <p:spPr>
          <a:xfrm rot="16200000">
            <a:off x="5364421" y="2212944"/>
            <a:ext cx="324550" cy="68433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 name="图片 29"/>
          <p:cNvPicPr>
            <a:picLocks noChangeAspect="1"/>
          </p:cNvPicPr>
          <p:nvPr/>
        </p:nvPicPr>
        <p:blipFill rotWithShape="1">
          <a:blip r:embed="rId4" cstate="print">
            <a:extLst>
              <a:ext uri="{28A0092B-C50C-407E-A947-70E740481C1C}">
                <a14:useLocalDpi xmlns:a14="http://schemas.microsoft.com/office/drawing/2010/main" val="0"/>
              </a:ext>
            </a:extLst>
          </a:blip>
          <a:srcRect l="3458" t="20022"/>
          <a:stretch/>
        </p:blipFill>
        <p:spPr>
          <a:xfrm>
            <a:off x="6156896" y="1494532"/>
            <a:ext cx="4608512" cy="2863359"/>
          </a:xfrm>
          <a:prstGeom prst="rect">
            <a:avLst/>
          </a:prstGeom>
          <a:ln w="88900" cap="sq" cmpd="thickThin">
            <a:solidFill>
              <a:srgbClr val="000000"/>
            </a:solidFill>
            <a:prstDash val="solid"/>
            <a:miter lim="800000"/>
            <a:headEnd/>
            <a:tailEnd/>
          </a:ln>
          <a:effectLst>
            <a:innerShdw blurRad="76200">
              <a:srgbClr val="000000"/>
            </a:innerShdw>
          </a:effectLst>
        </p:spPr>
      </p:pic>
    </p:spTree>
    <p:extLst>
      <p:ext uri="{BB962C8B-B14F-4D97-AF65-F5344CB8AC3E}">
        <p14:creationId xmlns:p14="http://schemas.microsoft.com/office/powerpoint/2010/main" val="3485874404"/>
      </p:ext>
    </p:extLst>
  </p:cSld>
  <p:clrMapOvr>
    <a:masterClrMapping/>
  </p:clrMapOvr>
  <p:transition>
    <p:zoom dir="in"/>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smtClean="0">
                <a:solidFill>
                  <a:srgbClr val="000000"/>
                </a:solidFill>
                <a:cs typeface="+mn-ea"/>
                <a:sym typeface="+mn-ea"/>
              </a:rPr>
              <a:t>4.2.3</a:t>
            </a:r>
            <a:r>
              <a:rPr lang="zh-CN" altLang="en-US" sz="1800" b="1" dirty="0" smtClean="0">
                <a:solidFill>
                  <a:srgbClr val="000000"/>
                </a:solidFill>
                <a:cs typeface="+mn-ea"/>
                <a:sym typeface="+mn-ea"/>
              </a:rPr>
              <a:t>、图纸深化（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6"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pic>
        <p:nvPicPr>
          <p:cNvPr id="34" name="Picture 2"/>
          <p:cNvPicPr>
            <a:picLocks noChangeAspect="1"/>
          </p:cNvPicPr>
          <p:nvPr/>
        </p:nvPicPr>
        <p:blipFill>
          <a:blip r:embed="rId2"/>
          <a:srcRect/>
          <a:stretch>
            <a:fillRect/>
          </a:stretch>
        </p:blipFill>
        <p:spPr>
          <a:xfrm>
            <a:off x="1405255" y="1985645"/>
            <a:ext cx="4248150" cy="4143375"/>
          </a:xfrm>
          <a:prstGeom prst="rect">
            <a:avLst/>
          </a:prstGeom>
          <a:noFill/>
          <a:ln w="9525">
            <a:noFill/>
          </a:ln>
        </p:spPr>
      </p:pic>
      <p:sp>
        <p:nvSpPr>
          <p:cNvPr id="35" name="Rectangle 1"/>
          <p:cNvSpPr/>
          <p:nvPr/>
        </p:nvSpPr>
        <p:spPr>
          <a:xfrm>
            <a:off x="2125663" y="6193790"/>
            <a:ext cx="2807335" cy="398780"/>
          </a:xfrm>
          <a:prstGeom prst="rect">
            <a:avLst/>
          </a:prstGeom>
          <a:noFill/>
          <a:ln w="9525">
            <a:noFill/>
          </a:ln>
        </p:spPr>
        <p:txBody>
          <a:bodyPr wrap="square" anchor="ctr">
            <a:spAutoFit/>
          </a:bodyPr>
          <a:lstStyle/>
          <a:p>
            <a:pPr eaLnBrk="0" hangingPunct="0"/>
            <a:r>
              <a:rPr lang="en-US" altLang="zh-CN" sz="2000" b="1" dirty="0">
                <a:solidFill>
                  <a:srgbClr val="000000"/>
                </a:solidFill>
                <a:latin typeface="+mn-ea"/>
                <a:cs typeface="+mn-ea"/>
              </a:rPr>
              <a:t>H</a:t>
            </a:r>
            <a:r>
              <a:rPr lang="zh-CN" altLang="en-US" sz="2000" b="1" dirty="0">
                <a:solidFill>
                  <a:srgbClr val="000000"/>
                </a:solidFill>
                <a:latin typeface="+mn-ea"/>
                <a:cs typeface="+mn-ea"/>
              </a:rPr>
              <a:t>户型地面石材排版图</a:t>
            </a:r>
          </a:p>
        </p:txBody>
      </p:sp>
      <p:pic>
        <p:nvPicPr>
          <p:cNvPr id="36" name="图片 5" descr="地面优化排版.jpg"/>
          <p:cNvPicPr>
            <a:picLocks noChangeAspect="1"/>
          </p:cNvPicPr>
          <p:nvPr/>
        </p:nvPicPr>
        <p:blipFill>
          <a:blip r:embed="rId3"/>
          <a:srcRect/>
          <a:stretch>
            <a:fillRect/>
          </a:stretch>
        </p:blipFill>
        <p:spPr>
          <a:xfrm>
            <a:off x="5227955" y="1968500"/>
            <a:ext cx="5218430" cy="4624070"/>
          </a:xfrm>
          <a:prstGeom prst="rect">
            <a:avLst/>
          </a:prstGeom>
          <a:noFill/>
          <a:ln w="9525">
            <a:noFill/>
          </a:ln>
        </p:spPr>
      </p:pic>
      <p:sp>
        <p:nvSpPr>
          <p:cNvPr id="37" name="矩形 36"/>
          <p:cNvSpPr/>
          <p:nvPr/>
        </p:nvSpPr>
        <p:spPr>
          <a:xfrm>
            <a:off x="1759268" y="4057333"/>
            <a:ext cx="1533525" cy="1181100"/>
          </a:xfrm>
          <a:prstGeom prst="rect">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38" name="矩形 37"/>
          <p:cNvSpPr/>
          <p:nvPr/>
        </p:nvSpPr>
        <p:spPr>
          <a:xfrm>
            <a:off x="2476818" y="3015933"/>
            <a:ext cx="801688" cy="815975"/>
          </a:xfrm>
          <a:prstGeom prst="rect">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cs"/>
            </a:endParaRPr>
          </a:p>
        </p:txBody>
      </p:sp>
      <p:cxnSp>
        <p:nvCxnSpPr>
          <p:cNvPr id="39" name="直接箭头连接符 38"/>
          <p:cNvCxnSpPr/>
          <p:nvPr/>
        </p:nvCxnSpPr>
        <p:spPr>
          <a:xfrm rot="10800000">
            <a:off x="8436293" y="4095433"/>
            <a:ext cx="2608263" cy="26988"/>
          </a:xfrm>
          <a:prstGeom prst="straightConnector1">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p:nvPr/>
        </p:nvCxnSpPr>
        <p:spPr>
          <a:xfrm rot="10800000">
            <a:off x="8314055" y="5378133"/>
            <a:ext cx="2757488" cy="25400"/>
          </a:xfrm>
          <a:prstGeom prst="straightConnector1">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a:stCxn id="38" idx="3"/>
          </p:cNvCxnSpPr>
          <p:nvPr/>
        </p:nvCxnSpPr>
        <p:spPr>
          <a:xfrm flipV="1">
            <a:off x="3207385" y="3419793"/>
            <a:ext cx="4765675" cy="4763"/>
          </a:xfrm>
          <a:prstGeom prst="straightConnector1">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2" name="Rectangle 1"/>
          <p:cNvSpPr/>
          <p:nvPr/>
        </p:nvSpPr>
        <p:spPr>
          <a:xfrm>
            <a:off x="9821545" y="2816860"/>
            <a:ext cx="1724025" cy="398780"/>
          </a:xfrm>
          <a:prstGeom prst="rect">
            <a:avLst/>
          </a:prstGeom>
          <a:noFill/>
          <a:ln w="9525">
            <a:noFill/>
          </a:ln>
        </p:spPr>
        <p:txBody>
          <a:bodyPr wrap="square" anchor="ctr">
            <a:spAutoFit/>
          </a:bodyPr>
          <a:lstStyle/>
          <a:p>
            <a:pPr eaLnBrk="0" hangingPunct="0"/>
            <a:r>
              <a:rPr lang="zh-CN" altLang="en-US" sz="2000" dirty="0">
                <a:solidFill>
                  <a:srgbClr val="000000"/>
                </a:solidFill>
                <a:latin typeface="黑体" panose="02010609060101010101" pitchFamily="49" charset="-122"/>
                <a:ea typeface="宋体" panose="02010600030101010101" pitchFamily="2" charset="-122"/>
              </a:rPr>
              <a:t>圣诞米黄石材</a:t>
            </a:r>
          </a:p>
        </p:txBody>
      </p:sp>
      <p:sp>
        <p:nvSpPr>
          <p:cNvPr id="43" name="Rectangle 1"/>
          <p:cNvSpPr/>
          <p:nvPr/>
        </p:nvSpPr>
        <p:spPr>
          <a:xfrm>
            <a:off x="9821545" y="5011420"/>
            <a:ext cx="1724025" cy="398780"/>
          </a:xfrm>
          <a:prstGeom prst="rect">
            <a:avLst/>
          </a:prstGeom>
          <a:noFill/>
          <a:ln w="9525">
            <a:noFill/>
          </a:ln>
        </p:spPr>
        <p:txBody>
          <a:bodyPr wrap="square" anchor="ctr">
            <a:spAutoFit/>
          </a:bodyPr>
          <a:lstStyle/>
          <a:p>
            <a:pPr eaLnBrk="0" hangingPunct="0"/>
            <a:r>
              <a:rPr lang="zh-CN" altLang="en-US" sz="2000" dirty="0">
                <a:solidFill>
                  <a:srgbClr val="000000"/>
                </a:solidFill>
                <a:latin typeface="黑体" panose="02010609060101010101" pitchFamily="49" charset="-122"/>
                <a:ea typeface="宋体" panose="02010600030101010101" pitchFamily="2" charset="-122"/>
              </a:rPr>
              <a:t>圣诞米黄石材</a:t>
            </a:r>
          </a:p>
        </p:txBody>
      </p:sp>
      <p:sp>
        <p:nvSpPr>
          <p:cNvPr id="44" name="Rectangle 1"/>
          <p:cNvSpPr/>
          <p:nvPr/>
        </p:nvSpPr>
        <p:spPr>
          <a:xfrm>
            <a:off x="9821545" y="3716655"/>
            <a:ext cx="1497330" cy="398780"/>
          </a:xfrm>
          <a:prstGeom prst="rect">
            <a:avLst/>
          </a:prstGeom>
          <a:noFill/>
          <a:ln w="9525">
            <a:noFill/>
          </a:ln>
        </p:spPr>
        <p:txBody>
          <a:bodyPr wrap="square" anchor="ctr">
            <a:spAutoFit/>
          </a:bodyPr>
          <a:lstStyle/>
          <a:p>
            <a:pPr eaLnBrk="0" hangingPunct="0"/>
            <a:r>
              <a:rPr lang="zh-CN" altLang="en-US" sz="2000" dirty="0">
                <a:solidFill>
                  <a:srgbClr val="000000"/>
                </a:solidFill>
                <a:latin typeface="黑体" panose="02010609060101010101" pitchFamily="49" charset="-122"/>
                <a:ea typeface="宋体" panose="02010600030101010101" pitchFamily="2" charset="-122"/>
              </a:rPr>
              <a:t>金世纪石材</a:t>
            </a:r>
          </a:p>
        </p:txBody>
      </p:sp>
      <p:cxnSp>
        <p:nvCxnSpPr>
          <p:cNvPr id="45" name="直接箭头连接符 44"/>
          <p:cNvCxnSpPr/>
          <p:nvPr/>
        </p:nvCxnSpPr>
        <p:spPr>
          <a:xfrm rot="10800000">
            <a:off x="8314055" y="3183573"/>
            <a:ext cx="2814638" cy="31750"/>
          </a:xfrm>
          <a:prstGeom prst="straightConnector1">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6" name="直接箭头连接符 45"/>
          <p:cNvCxnSpPr/>
          <p:nvPr/>
        </p:nvCxnSpPr>
        <p:spPr>
          <a:xfrm flipV="1">
            <a:off x="3207385" y="5075873"/>
            <a:ext cx="4765675" cy="4763"/>
          </a:xfrm>
          <a:prstGeom prst="straightConnector1">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008396"/>
      </p:ext>
    </p:extLst>
  </p:cSld>
  <p:clrMapOvr>
    <a:masterClrMapping/>
  </p:clrMapOvr>
  <p:transition>
    <p:zoom dir="in"/>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3"/>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
        <p:nvSpPr>
          <p:cNvPr id="2" name="文本框 1"/>
          <p:cNvSpPr txBox="1"/>
          <p:nvPr/>
        </p:nvSpPr>
        <p:spPr>
          <a:xfrm>
            <a:off x="684287" y="3214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3</a:t>
            </a:r>
            <a:r>
              <a:rPr lang="zh-CN" altLang="en-US" sz="1800" b="1" dirty="0" smtClean="0">
                <a:solidFill>
                  <a:srgbClr val="000000"/>
                </a:solidFill>
                <a:cs typeface="+mn-ea"/>
              </a:rPr>
              <a:t>、技术交底</a:t>
            </a:r>
            <a:endParaRPr lang="en-US" altLang="zh-CN" sz="1800" b="1" dirty="0" smtClean="0">
              <a:solidFill>
                <a:srgbClr val="000000"/>
              </a:solidFill>
              <a:cs typeface="+mn-ea"/>
              <a:sym typeface="+mn-ea"/>
            </a:endParaRPr>
          </a:p>
        </p:txBody>
      </p:sp>
      <p:sp>
        <p:nvSpPr>
          <p:cNvPr id="6" name="文本框 5"/>
          <p:cNvSpPr txBox="1"/>
          <p:nvPr/>
        </p:nvSpPr>
        <p:spPr>
          <a:xfrm>
            <a:off x="684530" y="3793490"/>
            <a:ext cx="10765155" cy="170688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组织精装单位召开技术交底专题会议，明确国家规范要求、行业标准以及集团质量标准</a:t>
            </a:r>
          </a:p>
          <a:p>
            <a:pPr>
              <a:lnSpc>
                <a:spcPct val="150000"/>
              </a:lnSpc>
            </a:pPr>
            <a:r>
              <a:rPr lang="zh-CN" sz="1400" dirty="0" smtClean="0">
                <a:solidFill>
                  <a:srgbClr val="000000"/>
                </a:solidFill>
                <a:latin typeface="+mn-ea"/>
                <a:cs typeface="+mn-ea"/>
                <a:sym typeface="+mn-ea"/>
              </a:rPr>
              <a:t>            </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依据项目实况编制适合的技术交底文件，制定项目管控规则，做到规范化管理有据可依。</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050" name="开会"/>
          <p:cNvSpPr/>
          <p:nvPr/>
        </p:nvSpPr>
        <p:spPr bwMode="auto">
          <a:xfrm>
            <a:off x="8845233" y="3311525"/>
            <a:ext cx="2188845" cy="2188845"/>
          </a:xfrm>
          <a:custGeom>
            <a:avLst/>
            <a:gdLst>
              <a:gd name="T0" fmla="*/ 1555232 w 2741613"/>
              <a:gd name="T1" fmla="*/ 1766302 h 2557463"/>
              <a:gd name="T2" fmla="*/ 1500877 w 2741613"/>
              <a:gd name="T3" fmla="*/ 1732308 h 2557463"/>
              <a:gd name="T4" fmla="*/ 410527 w 2741613"/>
              <a:gd name="T5" fmla="*/ 1777780 h 2557463"/>
              <a:gd name="T6" fmla="*/ 294306 w 2741613"/>
              <a:gd name="T7" fmla="*/ 1747980 h 2557463"/>
              <a:gd name="T8" fmla="*/ 1473436 w 2741613"/>
              <a:gd name="T9" fmla="*/ 1657260 h 2557463"/>
              <a:gd name="T10" fmla="*/ 1387009 w 2741613"/>
              <a:gd name="T11" fmla="*/ 1662603 h 2557463"/>
              <a:gd name="T12" fmla="*/ 511578 w 2741613"/>
              <a:gd name="T13" fmla="*/ 1682417 h 2557463"/>
              <a:gd name="T14" fmla="*/ 414761 w 2741613"/>
              <a:gd name="T15" fmla="*/ 1659264 h 2557463"/>
              <a:gd name="T16" fmla="*/ 1116006 w 2741613"/>
              <a:gd name="T17" fmla="*/ 1639146 h 2557463"/>
              <a:gd name="T18" fmla="*/ 1025639 w 2741613"/>
              <a:gd name="T19" fmla="*/ 1606463 h 2557463"/>
              <a:gd name="T20" fmla="*/ 902419 w 2741613"/>
              <a:gd name="T21" fmla="*/ 1619000 h 2557463"/>
              <a:gd name="T22" fmla="*/ 844427 w 2741613"/>
              <a:gd name="T23" fmla="*/ 1606240 h 2557463"/>
              <a:gd name="T24" fmla="*/ 445447 w 2741613"/>
              <a:gd name="T25" fmla="*/ 1163753 h 2557463"/>
              <a:gd name="T26" fmla="*/ 787487 w 2741613"/>
              <a:gd name="T27" fmla="*/ 791326 h 2557463"/>
              <a:gd name="T28" fmla="*/ 436007 w 2741613"/>
              <a:gd name="T29" fmla="*/ 849224 h 2557463"/>
              <a:gd name="T30" fmla="*/ 288609 w 2741613"/>
              <a:gd name="T31" fmla="*/ 1698536 h 2557463"/>
              <a:gd name="T32" fmla="*/ 48617 w 2741613"/>
              <a:gd name="T33" fmla="*/ 1149773 h 2557463"/>
              <a:gd name="T34" fmla="*/ 9281 w 2741613"/>
              <a:gd name="T35" fmla="*/ 859603 h 2557463"/>
              <a:gd name="T36" fmla="*/ 145851 w 2741613"/>
              <a:gd name="T37" fmla="*/ 699059 h 2557463"/>
              <a:gd name="T38" fmla="*/ 1592699 w 2741613"/>
              <a:gd name="T39" fmla="*/ 734392 h 2557463"/>
              <a:gd name="T40" fmla="*/ 1871083 w 2741613"/>
              <a:gd name="T41" fmla="*/ 787391 h 2557463"/>
              <a:gd name="T42" fmla="*/ 1890905 w 2741613"/>
              <a:gd name="T43" fmla="*/ 1065196 h 2557463"/>
              <a:gd name="T44" fmla="*/ 1812940 w 2741613"/>
              <a:gd name="T45" fmla="*/ 1357575 h 2557463"/>
              <a:gd name="T46" fmla="*/ 1457031 w 2741613"/>
              <a:gd name="T47" fmla="*/ 968693 h 2557463"/>
              <a:gd name="T48" fmla="*/ 1541163 w 2741613"/>
              <a:gd name="T49" fmla="*/ 700164 h 2557463"/>
              <a:gd name="T50" fmla="*/ 1241834 w 2741613"/>
              <a:gd name="T51" fmla="*/ 723340 h 2557463"/>
              <a:gd name="T52" fmla="*/ 1102527 w 2741613"/>
              <a:gd name="T53" fmla="*/ 893083 h 2557463"/>
              <a:gd name="T54" fmla="*/ 798746 w 2741613"/>
              <a:gd name="T55" fmla="*/ 901471 h 2557463"/>
              <a:gd name="T56" fmla="*/ 624337 w 2741613"/>
              <a:gd name="T57" fmla="*/ 850924 h 2557463"/>
              <a:gd name="T58" fmla="*/ 750839 w 2741613"/>
              <a:gd name="T59" fmla="*/ 677208 h 2557463"/>
              <a:gd name="T60" fmla="*/ 1062788 w 2741613"/>
              <a:gd name="T61" fmla="*/ 640566 h 2557463"/>
              <a:gd name="T62" fmla="*/ 137222 w 2741613"/>
              <a:gd name="T63" fmla="*/ 399417 h 2557463"/>
              <a:gd name="T64" fmla="*/ 292755 w 2741613"/>
              <a:gd name="T65" fmla="*/ 345682 h 2557463"/>
              <a:gd name="T66" fmla="*/ 334009 w 2741613"/>
              <a:gd name="T67" fmla="*/ 437452 h 2557463"/>
              <a:gd name="T68" fmla="*/ 372176 w 2741613"/>
              <a:gd name="T69" fmla="*/ 447403 h 2557463"/>
              <a:gd name="T70" fmla="*/ 362248 w 2741613"/>
              <a:gd name="T71" fmla="*/ 593130 h 2557463"/>
              <a:gd name="T72" fmla="*/ 240028 w 2741613"/>
              <a:gd name="T73" fmla="*/ 702591 h 2557463"/>
              <a:gd name="T74" fmla="*/ 122440 w 2741613"/>
              <a:gd name="T75" fmla="*/ 567478 h 2557463"/>
              <a:gd name="T76" fmla="*/ 107439 w 2741613"/>
              <a:gd name="T77" fmla="*/ 480131 h 2557463"/>
              <a:gd name="T78" fmla="*/ 170093 w 2741613"/>
              <a:gd name="T79" fmla="*/ 347893 h 2557463"/>
              <a:gd name="T80" fmla="*/ 1776846 w 2741613"/>
              <a:gd name="T81" fmla="*/ 366247 h 2557463"/>
              <a:gd name="T82" fmla="*/ 1798449 w 2741613"/>
              <a:gd name="T83" fmla="*/ 502465 h 2557463"/>
              <a:gd name="T84" fmla="*/ 1760093 w 2741613"/>
              <a:gd name="T85" fmla="*/ 621435 h 2557463"/>
              <a:gd name="T86" fmla="*/ 1630031 w 2741613"/>
              <a:gd name="T87" fmla="*/ 697505 h 2557463"/>
              <a:gd name="T88" fmla="*/ 1535902 w 2741613"/>
              <a:gd name="T89" fmla="*/ 561508 h 2557463"/>
              <a:gd name="T90" fmla="*/ 1552215 w 2741613"/>
              <a:gd name="T91" fmla="*/ 453594 h 2557463"/>
              <a:gd name="T92" fmla="*/ 1541854 w 2741613"/>
              <a:gd name="T93" fmla="*/ 422193 h 2557463"/>
              <a:gd name="T94" fmla="*/ 1010412 w 2741613"/>
              <a:gd name="T95" fmla="*/ 326683 h 2557463"/>
              <a:gd name="T96" fmla="*/ 1058285 w 2741613"/>
              <a:gd name="T97" fmla="*/ 408958 h 2557463"/>
              <a:gd name="T98" fmla="*/ 1092921 w 2741613"/>
              <a:gd name="T99" fmla="*/ 435649 h 2557463"/>
              <a:gd name="T100" fmla="*/ 1092260 w 2741613"/>
              <a:gd name="T101" fmla="*/ 528071 h 2557463"/>
              <a:gd name="T102" fmla="*/ 1006661 w 2741613"/>
              <a:gd name="T103" fmla="*/ 635492 h 2557463"/>
              <a:gd name="T104" fmla="*/ 893265 w 2741613"/>
              <a:gd name="T105" fmla="*/ 569098 h 2557463"/>
              <a:gd name="T106" fmla="*/ 861497 w 2741613"/>
              <a:gd name="T107" fmla="*/ 458589 h 2557463"/>
              <a:gd name="T108" fmla="*/ 868115 w 2741613"/>
              <a:gd name="T109" fmla="*/ 376093 h 2557463"/>
              <a:gd name="T110" fmla="*/ 514509 w 2741613"/>
              <a:gd name="T111" fmla="*/ 219583 h 2557463"/>
              <a:gd name="T112" fmla="*/ 515613 w 2741613"/>
              <a:gd name="T113" fmla="*/ 155869 h 2557463"/>
              <a:gd name="T114" fmla="*/ 520248 w 2741613"/>
              <a:gd name="T115" fmla="*/ 152562 h 2557463"/>
              <a:gd name="T116" fmla="*/ 791747 w 2741613"/>
              <a:gd name="T117" fmla="*/ 99650 h 2557463"/>
              <a:gd name="T118" fmla="*/ 848917 w 2741613"/>
              <a:gd name="T119" fmla="*/ 59085 h 2557463"/>
              <a:gd name="T120" fmla="*/ 813158 w 2741613"/>
              <a:gd name="T121" fmla="*/ 292558 h 2557463"/>
              <a:gd name="T122" fmla="*/ 481620 w 2741613"/>
              <a:gd name="T123" fmla="*/ 286605 h 2557463"/>
              <a:gd name="T124" fmla="*/ 458664 w 2741613"/>
              <a:gd name="T125" fmla="*/ 50267 h 25574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41613" h="2557463">
                <a:moveTo>
                  <a:pt x="2199444" y="2463800"/>
                </a:moveTo>
                <a:lnTo>
                  <a:pt x="2327275" y="2463800"/>
                </a:lnTo>
                <a:lnTo>
                  <a:pt x="2325367" y="2467928"/>
                </a:lnTo>
                <a:lnTo>
                  <a:pt x="2325685" y="2470150"/>
                </a:lnTo>
                <a:lnTo>
                  <a:pt x="2326003" y="2473325"/>
                </a:lnTo>
                <a:lnTo>
                  <a:pt x="2326321" y="2477770"/>
                </a:lnTo>
                <a:lnTo>
                  <a:pt x="2326321" y="2483803"/>
                </a:lnTo>
                <a:lnTo>
                  <a:pt x="2325685" y="2492058"/>
                </a:lnTo>
                <a:lnTo>
                  <a:pt x="2323777" y="2502218"/>
                </a:lnTo>
                <a:lnTo>
                  <a:pt x="2321233" y="2514283"/>
                </a:lnTo>
                <a:lnTo>
                  <a:pt x="2319326" y="2515235"/>
                </a:lnTo>
                <a:lnTo>
                  <a:pt x="2316464" y="2515870"/>
                </a:lnTo>
                <a:lnTo>
                  <a:pt x="2308514" y="2516505"/>
                </a:lnTo>
                <a:lnTo>
                  <a:pt x="2293568" y="2517140"/>
                </a:lnTo>
                <a:lnTo>
                  <a:pt x="2292614" y="2517140"/>
                </a:lnTo>
                <a:lnTo>
                  <a:pt x="2292296" y="2516823"/>
                </a:lnTo>
                <a:lnTo>
                  <a:pt x="2291024" y="2515235"/>
                </a:lnTo>
                <a:lnTo>
                  <a:pt x="2290388" y="2513965"/>
                </a:lnTo>
                <a:lnTo>
                  <a:pt x="2289435" y="2512060"/>
                </a:lnTo>
                <a:lnTo>
                  <a:pt x="2288799" y="2511425"/>
                </a:lnTo>
                <a:lnTo>
                  <a:pt x="2288163" y="2511108"/>
                </a:lnTo>
                <a:lnTo>
                  <a:pt x="2286891" y="2510790"/>
                </a:lnTo>
                <a:lnTo>
                  <a:pt x="2285937" y="2511108"/>
                </a:lnTo>
                <a:lnTo>
                  <a:pt x="2284029" y="2511425"/>
                </a:lnTo>
                <a:lnTo>
                  <a:pt x="2282121" y="2512695"/>
                </a:lnTo>
                <a:lnTo>
                  <a:pt x="2276397" y="2516188"/>
                </a:lnTo>
                <a:lnTo>
                  <a:pt x="2264313" y="2525078"/>
                </a:lnTo>
                <a:lnTo>
                  <a:pt x="2251594" y="2533333"/>
                </a:lnTo>
                <a:lnTo>
                  <a:pt x="2245234" y="2537143"/>
                </a:lnTo>
                <a:lnTo>
                  <a:pt x="2238238" y="2540636"/>
                </a:lnTo>
                <a:lnTo>
                  <a:pt x="2231243" y="2543811"/>
                </a:lnTo>
                <a:lnTo>
                  <a:pt x="2223929" y="2547303"/>
                </a:lnTo>
                <a:lnTo>
                  <a:pt x="2216615" y="2549843"/>
                </a:lnTo>
                <a:lnTo>
                  <a:pt x="2208665" y="2552066"/>
                </a:lnTo>
                <a:lnTo>
                  <a:pt x="2200716" y="2554606"/>
                </a:lnTo>
                <a:lnTo>
                  <a:pt x="2192130" y="2555876"/>
                </a:lnTo>
                <a:lnTo>
                  <a:pt x="2183226" y="2557146"/>
                </a:lnTo>
                <a:lnTo>
                  <a:pt x="2174004" y="2557463"/>
                </a:lnTo>
                <a:lnTo>
                  <a:pt x="2164147" y="2557463"/>
                </a:lnTo>
                <a:lnTo>
                  <a:pt x="2153971" y="2557146"/>
                </a:lnTo>
                <a:lnTo>
                  <a:pt x="2145703" y="2556193"/>
                </a:lnTo>
                <a:lnTo>
                  <a:pt x="2139026" y="2554923"/>
                </a:lnTo>
                <a:lnTo>
                  <a:pt x="2133302" y="2553336"/>
                </a:lnTo>
                <a:lnTo>
                  <a:pt x="2128850" y="2551113"/>
                </a:lnTo>
                <a:lnTo>
                  <a:pt x="2125352" y="2548891"/>
                </a:lnTo>
                <a:lnTo>
                  <a:pt x="2123762" y="2547303"/>
                </a:lnTo>
                <a:lnTo>
                  <a:pt x="2122808" y="2545716"/>
                </a:lnTo>
                <a:lnTo>
                  <a:pt x="2121854" y="2544446"/>
                </a:lnTo>
                <a:lnTo>
                  <a:pt x="2121536" y="2542858"/>
                </a:lnTo>
                <a:lnTo>
                  <a:pt x="2120900" y="2539366"/>
                </a:lnTo>
                <a:lnTo>
                  <a:pt x="2121218" y="2535873"/>
                </a:lnTo>
                <a:lnTo>
                  <a:pt x="2122490" y="2532380"/>
                </a:lnTo>
                <a:lnTo>
                  <a:pt x="2124398" y="2528570"/>
                </a:lnTo>
                <a:lnTo>
                  <a:pt x="2126624" y="2524443"/>
                </a:lnTo>
                <a:lnTo>
                  <a:pt x="2129486" y="2520633"/>
                </a:lnTo>
                <a:lnTo>
                  <a:pt x="2132984" y="2516505"/>
                </a:lnTo>
                <a:lnTo>
                  <a:pt x="2137118" y="2512060"/>
                </a:lnTo>
                <a:lnTo>
                  <a:pt x="2141252" y="2507933"/>
                </a:lnTo>
                <a:lnTo>
                  <a:pt x="2150155" y="2499678"/>
                </a:lnTo>
                <a:lnTo>
                  <a:pt x="2160013" y="2491740"/>
                </a:lnTo>
                <a:lnTo>
                  <a:pt x="2169871" y="2484120"/>
                </a:lnTo>
                <a:lnTo>
                  <a:pt x="2178774" y="2477770"/>
                </a:lnTo>
                <a:lnTo>
                  <a:pt x="2193402" y="2467610"/>
                </a:lnTo>
                <a:lnTo>
                  <a:pt x="2199444" y="2463800"/>
                </a:lnTo>
                <a:close/>
                <a:moveTo>
                  <a:pt x="417513" y="2463800"/>
                </a:moveTo>
                <a:lnTo>
                  <a:pt x="545027" y="2463800"/>
                </a:lnTo>
                <a:lnTo>
                  <a:pt x="551069" y="2467610"/>
                </a:lnTo>
                <a:lnTo>
                  <a:pt x="565696" y="2477770"/>
                </a:lnTo>
                <a:lnTo>
                  <a:pt x="574918" y="2484120"/>
                </a:lnTo>
                <a:lnTo>
                  <a:pt x="584775" y="2491740"/>
                </a:lnTo>
                <a:lnTo>
                  <a:pt x="594315" y="2499678"/>
                </a:lnTo>
                <a:lnTo>
                  <a:pt x="603537" y="2507933"/>
                </a:lnTo>
                <a:lnTo>
                  <a:pt x="607671" y="2512060"/>
                </a:lnTo>
                <a:lnTo>
                  <a:pt x="611805" y="2516505"/>
                </a:lnTo>
                <a:lnTo>
                  <a:pt x="614984" y="2520633"/>
                </a:lnTo>
                <a:lnTo>
                  <a:pt x="618164" y="2524443"/>
                </a:lnTo>
                <a:lnTo>
                  <a:pt x="620390" y="2528570"/>
                </a:lnTo>
                <a:lnTo>
                  <a:pt x="622298" y="2532380"/>
                </a:lnTo>
                <a:lnTo>
                  <a:pt x="623570" y="2535873"/>
                </a:lnTo>
                <a:lnTo>
                  <a:pt x="623888" y="2539366"/>
                </a:lnTo>
                <a:lnTo>
                  <a:pt x="622934" y="2542858"/>
                </a:lnTo>
                <a:lnTo>
                  <a:pt x="622616" y="2544446"/>
                </a:lnTo>
                <a:lnTo>
                  <a:pt x="621980" y="2545716"/>
                </a:lnTo>
                <a:lnTo>
                  <a:pt x="620708" y="2547303"/>
                </a:lnTo>
                <a:lnTo>
                  <a:pt x="619436" y="2548891"/>
                </a:lnTo>
                <a:lnTo>
                  <a:pt x="615938" y="2551113"/>
                </a:lnTo>
                <a:lnTo>
                  <a:pt x="611487" y="2553336"/>
                </a:lnTo>
                <a:lnTo>
                  <a:pt x="605763" y="2554923"/>
                </a:lnTo>
                <a:lnTo>
                  <a:pt x="599085" y="2556193"/>
                </a:lnTo>
                <a:lnTo>
                  <a:pt x="590817" y="2557146"/>
                </a:lnTo>
                <a:lnTo>
                  <a:pt x="580642" y="2557463"/>
                </a:lnTo>
                <a:lnTo>
                  <a:pt x="570784" y="2557463"/>
                </a:lnTo>
                <a:lnTo>
                  <a:pt x="561244" y="2557146"/>
                </a:lnTo>
                <a:lnTo>
                  <a:pt x="552659" y="2555876"/>
                </a:lnTo>
                <a:lnTo>
                  <a:pt x="544073" y="2554606"/>
                </a:lnTo>
                <a:lnTo>
                  <a:pt x="536123" y="2552066"/>
                </a:lnTo>
                <a:lnTo>
                  <a:pt x="528173" y="2549843"/>
                </a:lnTo>
                <a:lnTo>
                  <a:pt x="520542" y="2547303"/>
                </a:lnTo>
                <a:lnTo>
                  <a:pt x="513546" y="2543811"/>
                </a:lnTo>
                <a:lnTo>
                  <a:pt x="506232" y="2540636"/>
                </a:lnTo>
                <a:lnTo>
                  <a:pt x="499554" y="2537143"/>
                </a:lnTo>
                <a:lnTo>
                  <a:pt x="493195" y="2533333"/>
                </a:lnTo>
                <a:lnTo>
                  <a:pt x="480475" y="2525078"/>
                </a:lnTo>
                <a:lnTo>
                  <a:pt x="468391" y="2516188"/>
                </a:lnTo>
                <a:lnTo>
                  <a:pt x="462668" y="2512695"/>
                </a:lnTo>
                <a:lnTo>
                  <a:pt x="460760" y="2511425"/>
                </a:lnTo>
                <a:lnTo>
                  <a:pt x="458852" y="2511108"/>
                </a:lnTo>
                <a:lnTo>
                  <a:pt x="457580" y="2510790"/>
                </a:lnTo>
                <a:lnTo>
                  <a:pt x="456626" y="2511108"/>
                </a:lnTo>
                <a:lnTo>
                  <a:pt x="455990" y="2511425"/>
                </a:lnTo>
                <a:lnTo>
                  <a:pt x="455036" y="2512060"/>
                </a:lnTo>
                <a:lnTo>
                  <a:pt x="454400" y="2513965"/>
                </a:lnTo>
                <a:lnTo>
                  <a:pt x="453446" y="2515235"/>
                </a:lnTo>
                <a:lnTo>
                  <a:pt x="452492" y="2516823"/>
                </a:lnTo>
                <a:lnTo>
                  <a:pt x="452174" y="2517140"/>
                </a:lnTo>
                <a:lnTo>
                  <a:pt x="450902" y="2517140"/>
                </a:lnTo>
                <a:lnTo>
                  <a:pt x="436274" y="2516505"/>
                </a:lnTo>
                <a:lnTo>
                  <a:pt x="428325" y="2515870"/>
                </a:lnTo>
                <a:lnTo>
                  <a:pt x="425463" y="2515235"/>
                </a:lnTo>
                <a:lnTo>
                  <a:pt x="423555" y="2514283"/>
                </a:lnTo>
                <a:lnTo>
                  <a:pt x="420693" y="2502218"/>
                </a:lnTo>
                <a:lnTo>
                  <a:pt x="419421" y="2492058"/>
                </a:lnTo>
                <a:lnTo>
                  <a:pt x="418149" y="2483803"/>
                </a:lnTo>
                <a:lnTo>
                  <a:pt x="418149" y="2477770"/>
                </a:lnTo>
                <a:lnTo>
                  <a:pt x="418467" y="2473325"/>
                </a:lnTo>
                <a:lnTo>
                  <a:pt x="418785" y="2470150"/>
                </a:lnTo>
                <a:lnTo>
                  <a:pt x="419421" y="2467928"/>
                </a:lnTo>
                <a:lnTo>
                  <a:pt x="417513" y="2463800"/>
                </a:lnTo>
                <a:close/>
                <a:moveTo>
                  <a:pt x="2051490" y="2346325"/>
                </a:moveTo>
                <a:lnTo>
                  <a:pt x="2152651" y="2346325"/>
                </a:lnTo>
                <a:lnTo>
                  <a:pt x="2151061" y="2349527"/>
                </a:lnTo>
                <a:lnTo>
                  <a:pt x="2151697" y="2351449"/>
                </a:lnTo>
                <a:lnTo>
                  <a:pt x="2152015" y="2353690"/>
                </a:lnTo>
                <a:lnTo>
                  <a:pt x="2152333" y="2357533"/>
                </a:lnTo>
                <a:lnTo>
                  <a:pt x="2152015" y="2362336"/>
                </a:lnTo>
                <a:lnTo>
                  <a:pt x="2151697" y="2368741"/>
                </a:lnTo>
                <a:lnTo>
                  <a:pt x="2150106" y="2376747"/>
                </a:lnTo>
                <a:lnTo>
                  <a:pt x="2148198" y="2386674"/>
                </a:lnTo>
                <a:lnTo>
                  <a:pt x="2146289" y="2387314"/>
                </a:lnTo>
                <a:lnTo>
                  <a:pt x="2144062" y="2387634"/>
                </a:lnTo>
                <a:lnTo>
                  <a:pt x="2137700" y="2388595"/>
                </a:lnTo>
                <a:lnTo>
                  <a:pt x="2125929" y="2388915"/>
                </a:lnTo>
                <a:lnTo>
                  <a:pt x="2125611" y="2388915"/>
                </a:lnTo>
                <a:lnTo>
                  <a:pt x="2124975" y="2388595"/>
                </a:lnTo>
                <a:lnTo>
                  <a:pt x="2124021" y="2387314"/>
                </a:lnTo>
                <a:lnTo>
                  <a:pt x="2123702" y="2386354"/>
                </a:lnTo>
                <a:lnTo>
                  <a:pt x="2123066" y="2384752"/>
                </a:lnTo>
                <a:lnTo>
                  <a:pt x="2122112" y="2384432"/>
                </a:lnTo>
                <a:lnTo>
                  <a:pt x="2121794" y="2383792"/>
                </a:lnTo>
                <a:lnTo>
                  <a:pt x="2120521" y="2383792"/>
                </a:lnTo>
                <a:lnTo>
                  <a:pt x="2119885" y="2383792"/>
                </a:lnTo>
                <a:lnTo>
                  <a:pt x="2117022" y="2385073"/>
                </a:lnTo>
                <a:lnTo>
                  <a:pt x="2112250" y="2387955"/>
                </a:lnTo>
                <a:lnTo>
                  <a:pt x="2103025" y="2395000"/>
                </a:lnTo>
                <a:lnTo>
                  <a:pt x="2092845" y="2401724"/>
                </a:lnTo>
                <a:lnTo>
                  <a:pt x="2087437" y="2404927"/>
                </a:lnTo>
                <a:lnTo>
                  <a:pt x="2082347" y="2407489"/>
                </a:lnTo>
                <a:lnTo>
                  <a:pt x="2076621" y="2410371"/>
                </a:lnTo>
                <a:lnTo>
                  <a:pt x="2070895" y="2412612"/>
                </a:lnTo>
                <a:lnTo>
                  <a:pt x="2064850" y="2415174"/>
                </a:lnTo>
                <a:lnTo>
                  <a:pt x="2058806" y="2416775"/>
                </a:lnTo>
                <a:lnTo>
                  <a:pt x="2052444" y="2418376"/>
                </a:lnTo>
                <a:lnTo>
                  <a:pt x="2045763" y="2419657"/>
                </a:lnTo>
                <a:lnTo>
                  <a:pt x="2038447" y="2420618"/>
                </a:lnTo>
                <a:lnTo>
                  <a:pt x="2031448" y="2420938"/>
                </a:lnTo>
                <a:lnTo>
                  <a:pt x="2023495" y="2420938"/>
                </a:lnTo>
                <a:lnTo>
                  <a:pt x="2015542" y="2420618"/>
                </a:lnTo>
                <a:lnTo>
                  <a:pt x="2008862" y="2419977"/>
                </a:lnTo>
                <a:lnTo>
                  <a:pt x="2003454" y="2418697"/>
                </a:lnTo>
                <a:lnTo>
                  <a:pt x="1999000" y="2417736"/>
                </a:lnTo>
                <a:lnTo>
                  <a:pt x="1995501" y="2415814"/>
                </a:lnTo>
                <a:lnTo>
                  <a:pt x="1992638" y="2413893"/>
                </a:lnTo>
                <a:lnTo>
                  <a:pt x="1990729" y="2411652"/>
                </a:lnTo>
                <a:lnTo>
                  <a:pt x="1989456" y="2409410"/>
                </a:lnTo>
                <a:lnTo>
                  <a:pt x="1989138" y="2406528"/>
                </a:lnTo>
                <a:lnTo>
                  <a:pt x="1989456" y="2403966"/>
                </a:lnTo>
                <a:lnTo>
                  <a:pt x="1990411" y="2401084"/>
                </a:lnTo>
                <a:lnTo>
                  <a:pt x="1991683" y="2397882"/>
                </a:lnTo>
                <a:lnTo>
                  <a:pt x="1993592" y="2394679"/>
                </a:lnTo>
                <a:lnTo>
                  <a:pt x="1996137" y="2391477"/>
                </a:lnTo>
                <a:lnTo>
                  <a:pt x="1999000" y="2387955"/>
                </a:lnTo>
                <a:lnTo>
                  <a:pt x="2005362" y="2381230"/>
                </a:lnTo>
                <a:lnTo>
                  <a:pt x="2012679" y="2374825"/>
                </a:lnTo>
                <a:lnTo>
                  <a:pt x="2019996" y="2368421"/>
                </a:lnTo>
                <a:lnTo>
                  <a:pt x="2027949" y="2362336"/>
                </a:lnTo>
                <a:lnTo>
                  <a:pt x="2035265" y="2356893"/>
                </a:lnTo>
                <a:lnTo>
                  <a:pt x="2046718" y="2349527"/>
                </a:lnTo>
                <a:lnTo>
                  <a:pt x="2051490" y="2346325"/>
                </a:lnTo>
                <a:close/>
                <a:moveTo>
                  <a:pt x="592138" y="2346325"/>
                </a:moveTo>
                <a:lnTo>
                  <a:pt x="693618" y="2346325"/>
                </a:lnTo>
                <a:lnTo>
                  <a:pt x="698072" y="2349527"/>
                </a:lnTo>
                <a:lnTo>
                  <a:pt x="709842" y="2356893"/>
                </a:lnTo>
                <a:lnTo>
                  <a:pt x="716841" y="2362336"/>
                </a:lnTo>
                <a:lnTo>
                  <a:pt x="724794" y="2368421"/>
                </a:lnTo>
                <a:lnTo>
                  <a:pt x="732428" y="2374825"/>
                </a:lnTo>
                <a:lnTo>
                  <a:pt x="739427" y="2381230"/>
                </a:lnTo>
                <a:lnTo>
                  <a:pt x="746108" y="2387955"/>
                </a:lnTo>
                <a:lnTo>
                  <a:pt x="748971" y="2391477"/>
                </a:lnTo>
                <a:lnTo>
                  <a:pt x="751197" y="2394679"/>
                </a:lnTo>
                <a:lnTo>
                  <a:pt x="753106" y="2397882"/>
                </a:lnTo>
                <a:lnTo>
                  <a:pt x="754697" y="2401084"/>
                </a:lnTo>
                <a:lnTo>
                  <a:pt x="755333" y="2403966"/>
                </a:lnTo>
                <a:lnTo>
                  <a:pt x="755651" y="2406528"/>
                </a:lnTo>
                <a:lnTo>
                  <a:pt x="755333" y="2409410"/>
                </a:lnTo>
                <a:lnTo>
                  <a:pt x="754379" y="2411652"/>
                </a:lnTo>
                <a:lnTo>
                  <a:pt x="752470" y="2413893"/>
                </a:lnTo>
                <a:lnTo>
                  <a:pt x="749607" y="2415814"/>
                </a:lnTo>
                <a:lnTo>
                  <a:pt x="746108" y="2417736"/>
                </a:lnTo>
                <a:lnTo>
                  <a:pt x="741336" y="2418697"/>
                </a:lnTo>
                <a:lnTo>
                  <a:pt x="736246" y="2419977"/>
                </a:lnTo>
                <a:lnTo>
                  <a:pt x="729565" y="2420618"/>
                </a:lnTo>
                <a:lnTo>
                  <a:pt x="721612" y="2420938"/>
                </a:lnTo>
                <a:lnTo>
                  <a:pt x="713659" y="2420938"/>
                </a:lnTo>
                <a:lnTo>
                  <a:pt x="706343" y="2420618"/>
                </a:lnTo>
                <a:lnTo>
                  <a:pt x="699344" y="2419657"/>
                </a:lnTo>
                <a:lnTo>
                  <a:pt x="692346" y="2418376"/>
                </a:lnTo>
                <a:lnTo>
                  <a:pt x="685983" y="2416775"/>
                </a:lnTo>
                <a:lnTo>
                  <a:pt x="679939" y="2415174"/>
                </a:lnTo>
                <a:lnTo>
                  <a:pt x="673895" y="2412612"/>
                </a:lnTo>
                <a:lnTo>
                  <a:pt x="668487" y="2410371"/>
                </a:lnTo>
                <a:lnTo>
                  <a:pt x="662760" y="2407489"/>
                </a:lnTo>
                <a:lnTo>
                  <a:pt x="657352" y="2404927"/>
                </a:lnTo>
                <a:lnTo>
                  <a:pt x="652263" y="2401724"/>
                </a:lnTo>
                <a:lnTo>
                  <a:pt x="642083" y="2395000"/>
                </a:lnTo>
                <a:lnTo>
                  <a:pt x="632539" y="2387955"/>
                </a:lnTo>
                <a:lnTo>
                  <a:pt x="628086" y="2385073"/>
                </a:lnTo>
                <a:lnTo>
                  <a:pt x="624904" y="2383792"/>
                </a:lnTo>
                <a:lnTo>
                  <a:pt x="624268" y="2383792"/>
                </a:lnTo>
                <a:lnTo>
                  <a:pt x="623314" y="2383792"/>
                </a:lnTo>
                <a:lnTo>
                  <a:pt x="622678" y="2384432"/>
                </a:lnTo>
                <a:lnTo>
                  <a:pt x="622041" y="2384752"/>
                </a:lnTo>
                <a:lnTo>
                  <a:pt x="621405" y="2386354"/>
                </a:lnTo>
                <a:lnTo>
                  <a:pt x="620769" y="2387314"/>
                </a:lnTo>
                <a:lnTo>
                  <a:pt x="620133" y="2388595"/>
                </a:lnTo>
                <a:lnTo>
                  <a:pt x="619496" y="2388915"/>
                </a:lnTo>
                <a:lnTo>
                  <a:pt x="619178" y="2388915"/>
                </a:lnTo>
                <a:lnTo>
                  <a:pt x="607408" y="2388595"/>
                </a:lnTo>
                <a:lnTo>
                  <a:pt x="601045" y="2387634"/>
                </a:lnTo>
                <a:lnTo>
                  <a:pt x="598819" y="2387314"/>
                </a:lnTo>
                <a:lnTo>
                  <a:pt x="596910" y="2386674"/>
                </a:lnTo>
                <a:lnTo>
                  <a:pt x="595001" y="2376747"/>
                </a:lnTo>
                <a:lnTo>
                  <a:pt x="593411" y="2368741"/>
                </a:lnTo>
                <a:lnTo>
                  <a:pt x="593092" y="2362336"/>
                </a:lnTo>
                <a:lnTo>
                  <a:pt x="592774" y="2357533"/>
                </a:lnTo>
                <a:lnTo>
                  <a:pt x="593092" y="2353690"/>
                </a:lnTo>
                <a:lnTo>
                  <a:pt x="593411" y="2351449"/>
                </a:lnTo>
                <a:lnTo>
                  <a:pt x="593729" y="2349527"/>
                </a:lnTo>
                <a:lnTo>
                  <a:pt x="592138" y="2346325"/>
                </a:lnTo>
                <a:close/>
                <a:moveTo>
                  <a:pt x="1474788" y="2290762"/>
                </a:moveTo>
                <a:lnTo>
                  <a:pt x="1567135" y="2290762"/>
                </a:lnTo>
                <a:lnTo>
                  <a:pt x="1571609" y="2293338"/>
                </a:lnTo>
                <a:lnTo>
                  <a:pt x="1582473" y="2300422"/>
                </a:lnTo>
                <a:lnTo>
                  <a:pt x="1588864" y="2305252"/>
                </a:lnTo>
                <a:lnTo>
                  <a:pt x="1595894" y="2310404"/>
                </a:lnTo>
                <a:lnTo>
                  <a:pt x="1602924" y="2316522"/>
                </a:lnTo>
                <a:lnTo>
                  <a:pt x="1609634" y="2322640"/>
                </a:lnTo>
                <a:lnTo>
                  <a:pt x="1615386" y="2328758"/>
                </a:lnTo>
                <a:lnTo>
                  <a:pt x="1617942" y="2331978"/>
                </a:lnTo>
                <a:lnTo>
                  <a:pt x="1620179" y="2334875"/>
                </a:lnTo>
                <a:lnTo>
                  <a:pt x="1621776" y="2337451"/>
                </a:lnTo>
                <a:lnTo>
                  <a:pt x="1623374" y="2340671"/>
                </a:lnTo>
                <a:lnTo>
                  <a:pt x="1624013" y="2343247"/>
                </a:lnTo>
                <a:lnTo>
                  <a:pt x="1624013" y="2345501"/>
                </a:lnTo>
                <a:lnTo>
                  <a:pt x="1623694" y="2348399"/>
                </a:lnTo>
                <a:lnTo>
                  <a:pt x="1622735" y="2350009"/>
                </a:lnTo>
                <a:lnTo>
                  <a:pt x="1620818" y="2352585"/>
                </a:lnTo>
                <a:lnTo>
                  <a:pt x="1618581" y="2353873"/>
                </a:lnTo>
                <a:lnTo>
                  <a:pt x="1615386" y="2355483"/>
                </a:lnTo>
                <a:lnTo>
                  <a:pt x="1611232" y="2357093"/>
                </a:lnTo>
                <a:lnTo>
                  <a:pt x="1606119" y="2357737"/>
                </a:lnTo>
                <a:lnTo>
                  <a:pt x="1600048" y="2358703"/>
                </a:lnTo>
                <a:lnTo>
                  <a:pt x="1593018" y="2359025"/>
                </a:lnTo>
                <a:lnTo>
                  <a:pt x="1585668" y="2359025"/>
                </a:lnTo>
                <a:lnTo>
                  <a:pt x="1578958" y="2358703"/>
                </a:lnTo>
                <a:lnTo>
                  <a:pt x="1572567" y="2357415"/>
                </a:lnTo>
                <a:lnTo>
                  <a:pt x="1566496" y="2356127"/>
                </a:lnTo>
                <a:lnTo>
                  <a:pt x="1560744" y="2355161"/>
                </a:lnTo>
                <a:lnTo>
                  <a:pt x="1554993" y="2353229"/>
                </a:lnTo>
                <a:lnTo>
                  <a:pt x="1549560" y="2351297"/>
                </a:lnTo>
                <a:lnTo>
                  <a:pt x="1544128" y="2349043"/>
                </a:lnTo>
                <a:lnTo>
                  <a:pt x="1539335" y="2346467"/>
                </a:lnTo>
                <a:lnTo>
                  <a:pt x="1529749" y="2340993"/>
                </a:lnTo>
                <a:lnTo>
                  <a:pt x="1520802" y="2334875"/>
                </a:lnTo>
                <a:lnTo>
                  <a:pt x="1511535" y="2328758"/>
                </a:lnTo>
                <a:lnTo>
                  <a:pt x="1507701" y="2326182"/>
                </a:lnTo>
                <a:lnTo>
                  <a:pt x="1505144" y="2324894"/>
                </a:lnTo>
                <a:lnTo>
                  <a:pt x="1503866" y="2324572"/>
                </a:lnTo>
                <a:lnTo>
                  <a:pt x="1503227" y="2324894"/>
                </a:lnTo>
                <a:lnTo>
                  <a:pt x="1502269" y="2325860"/>
                </a:lnTo>
                <a:lnTo>
                  <a:pt x="1501629" y="2326826"/>
                </a:lnTo>
                <a:lnTo>
                  <a:pt x="1500990" y="2328114"/>
                </a:lnTo>
                <a:lnTo>
                  <a:pt x="1500351" y="2329080"/>
                </a:lnTo>
                <a:lnTo>
                  <a:pt x="1499712" y="2329080"/>
                </a:lnTo>
                <a:lnTo>
                  <a:pt x="1499073" y="2329080"/>
                </a:lnTo>
                <a:lnTo>
                  <a:pt x="1488528" y="2328758"/>
                </a:lnTo>
                <a:lnTo>
                  <a:pt x="1482777" y="2328436"/>
                </a:lnTo>
                <a:lnTo>
                  <a:pt x="1480540" y="2328114"/>
                </a:lnTo>
                <a:lnTo>
                  <a:pt x="1478942" y="2327148"/>
                </a:lnTo>
                <a:lnTo>
                  <a:pt x="1477025" y="2318132"/>
                </a:lnTo>
                <a:lnTo>
                  <a:pt x="1476066" y="2310726"/>
                </a:lnTo>
                <a:lnTo>
                  <a:pt x="1475747" y="2305252"/>
                </a:lnTo>
                <a:lnTo>
                  <a:pt x="1475108" y="2300422"/>
                </a:lnTo>
                <a:lnTo>
                  <a:pt x="1475747" y="2297202"/>
                </a:lnTo>
                <a:lnTo>
                  <a:pt x="1476066" y="2294948"/>
                </a:lnTo>
                <a:lnTo>
                  <a:pt x="1476386" y="2293338"/>
                </a:lnTo>
                <a:lnTo>
                  <a:pt x="1474788" y="2290762"/>
                </a:lnTo>
                <a:close/>
                <a:moveTo>
                  <a:pt x="1243723" y="2290762"/>
                </a:moveTo>
                <a:lnTo>
                  <a:pt x="1335088" y="2290762"/>
                </a:lnTo>
                <a:lnTo>
                  <a:pt x="1333507" y="2293338"/>
                </a:lnTo>
                <a:lnTo>
                  <a:pt x="1334140" y="2294948"/>
                </a:lnTo>
                <a:lnTo>
                  <a:pt x="1334140" y="2297202"/>
                </a:lnTo>
                <a:lnTo>
                  <a:pt x="1334456" y="2300422"/>
                </a:lnTo>
                <a:lnTo>
                  <a:pt x="1334456" y="2305252"/>
                </a:lnTo>
                <a:lnTo>
                  <a:pt x="1333824" y="2310726"/>
                </a:lnTo>
                <a:lnTo>
                  <a:pt x="1332559" y="2318132"/>
                </a:lnTo>
                <a:lnTo>
                  <a:pt x="1330978" y="2327148"/>
                </a:lnTo>
                <a:lnTo>
                  <a:pt x="1329398" y="2328114"/>
                </a:lnTo>
                <a:lnTo>
                  <a:pt x="1327185" y="2328436"/>
                </a:lnTo>
                <a:lnTo>
                  <a:pt x="1321494" y="2328758"/>
                </a:lnTo>
                <a:lnTo>
                  <a:pt x="1311061" y="2329080"/>
                </a:lnTo>
                <a:lnTo>
                  <a:pt x="1310113" y="2329080"/>
                </a:lnTo>
                <a:lnTo>
                  <a:pt x="1309797" y="2329080"/>
                </a:lnTo>
                <a:lnTo>
                  <a:pt x="1309165" y="2328114"/>
                </a:lnTo>
                <a:lnTo>
                  <a:pt x="1308848" y="2326826"/>
                </a:lnTo>
                <a:lnTo>
                  <a:pt x="1307900" y="2325860"/>
                </a:lnTo>
                <a:lnTo>
                  <a:pt x="1306952" y="2324894"/>
                </a:lnTo>
                <a:lnTo>
                  <a:pt x="1306003" y="2324572"/>
                </a:lnTo>
                <a:lnTo>
                  <a:pt x="1305371" y="2324894"/>
                </a:lnTo>
                <a:lnTo>
                  <a:pt x="1302842" y="2326182"/>
                </a:lnTo>
                <a:lnTo>
                  <a:pt x="1298732" y="2328758"/>
                </a:lnTo>
                <a:lnTo>
                  <a:pt x="1289880" y="2334875"/>
                </a:lnTo>
                <a:lnTo>
                  <a:pt x="1281028" y="2340993"/>
                </a:lnTo>
                <a:lnTo>
                  <a:pt x="1271228" y="2346467"/>
                </a:lnTo>
                <a:lnTo>
                  <a:pt x="1266485" y="2349043"/>
                </a:lnTo>
                <a:lnTo>
                  <a:pt x="1261111" y="2351297"/>
                </a:lnTo>
                <a:lnTo>
                  <a:pt x="1256053" y="2353229"/>
                </a:lnTo>
                <a:lnTo>
                  <a:pt x="1250362" y="2355161"/>
                </a:lnTo>
                <a:lnTo>
                  <a:pt x="1244356" y="2356127"/>
                </a:lnTo>
                <a:lnTo>
                  <a:pt x="1238349" y="2357415"/>
                </a:lnTo>
                <a:lnTo>
                  <a:pt x="1232026" y="2358703"/>
                </a:lnTo>
                <a:lnTo>
                  <a:pt x="1225387" y="2359025"/>
                </a:lnTo>
                <a:lnTo>
                  <a:pt x="1218116" y="2359025"/>
                </a:lnTo>
                <a:lnTo>
                  <a:pt x="1211161" y="2358703"/>
                </a:lnTo>
                <a:lnTo>
                  <a:pt x="1205154" y="2357737"/>
                </a:lnTo>
                <a:lnTo>
                  <a:pt x="1200096" y="2357093"/>
                </a:lnTo>
                <a:lnTo>
                  <a:pt x="1195986" y="2355483"/>
                </a:lnTo>
                <a:lnTo>
                  <a:pt x="1193141" y="2353873"/>
                </a:lnTo>
                <a:lnTo>
                  <a:pt x="1190295" y="2352585"/>
                </a:lnTo>
                <a:lnTo>
                  <a:pt x="1189031" y="2350009"/>
                </a:lnTo>
                <a:lnTo>
                  <a:pt x="1187766" y="2348399"/>
                </a:lnTo>
                <a:lnTo>
                  <a:pt x="1187450" y="2345501"/>
                </a:lnTo>
                <a:lnTo>
                  <a:pt x="1187766" y="2343247"/>
                </a:lnTo>
                <a:lnTo>
                  <a:pt x="1188715" y="2340671"/>
                </a:lnTo>
                <a:lnTo>
                  <a:pt x="1189663" y="2337451"/>
                </a:lnTo>
                <a:lnTo>
                  <a:pt x="1191560" y="2334875"/>
                </a:lnTo>
                <a:lnTo>
                  <a:pt x="1193457" y="2331978"/>
                </a:lnTo>
                <a:lnTo>
                  <a:pt x="1195986" y="2328758"/>
                </a:lnTo>
                <a:lnTo>
                  <a:pt x="1201676" y="2322640"/>
                </a:lnTo>
                <a:lnTo>
                  <a:pt x="1208315" y="2316522"/>
                </a:lnTo>
                <a:lnTo>
                  <a:pt x="1215271" y="2310404"/>
                </a:lnTo>
                <a:lnTo>
                  <a:pt x="1222226" y="2305252"/>
                </a:lnTo>
                <a:lnTo>
                  <a:pt x="1228865" y="2300422"/>
                </a:lnTo>
                <a:lnTo>
                  <a:pt x="1239613" y="2293338"/>
                </a:lnTo>
                <a:lnTo>
                  <a:pt x="1243723" y="2290762"/>
                </a:lnTo>
                <a:close/>
                <a:moveTo>
                  <a:pt x="1481543" y="1798637"/>
                </a:moveTo>
                <a:lnTo>
                  <a:pt x="1701801" y="1798637"/>
                </a:lnTo>
                <a:lnTo>
                  <a:pt x="1567093" y="2273300"/>
                </a:lnTo>
                <a:lnTo>
                  <a:pt x="1465263" y="2273300"/>
                </a:lnTo>
                <a:lnTo>
                  <a:pt x="1481543" y="1798637"/>
                </a:lnTo>
                <a:close/>
                <a:moveTo>
                  <a:pt x="1119188" y="1798637"/>
                </a:moveTo>
                <a:lnTo>
                  <a:pt x="1336331" y="1798637"/>
                </a:lnTo>
                <a:lnTo>
                  <a:pt x="1346201" y="2272028"/>
                </a:lnTo>
                <a:lnTo>
                  <a:pt x="1240177" y="2273300"/>
                </a:lnTo>
                <a:lnTo>
                  <a:pt x="1119188" y="1798637"/>
                </a:lnTo>
                <a:close/>
                <a:moveTo>
                  <a:pt x="2677270" y="1559805"/>
                </a:moveTo>
                <a:lnTo>
                  <a:pt x="2530833" y="1600780"/>
                </a:lnTo>
                <a:lnTo>
                  <a:pt x="2674417" y="1589663"/>
                </a:lnTo>
                <a:lnTo>
                  <a:pt x="2677270" y="1559805"/>
                </a:lnTo>
                <a:close/>
                <a:moveTo>
                  <a:pt x="64561" y="1559805"/>
                </a:moveTo>
                <a:lnTo>
                  <a:pt x="67742" y="1589663"/>
                </a:lnTo>
                <a:lnTo>
                  <a:pt x="211812" y="1600780"/>
                </a:lnTo>
                <a:lnTo>
                  <a:pt x="64561" y="1559805"/>
                </a:lnTo>
                <a:close/>
                <a:moveTo>
                  <a:pt x="1743293" y="1510232"/>
                </a:moveTo>
                <a:lnTo>
                  <a:pt x="1815377" y="1673934"/>
                </a:lnTo>
                <a:lnTo>
                  <a:pt x="2196121" y="1673934"/>
                </a:lnTo>
                <a:lnTo>
                  <a:pt x="2051635" y="1522922"/>
                </a:lnTo>
                <a:lnTo>
                  <a:pt x="1743293" y="1510232"/>
                </a:lnTo>
                <a:close/>
                <a:moveTo>
                  <a:pt x="1093583" y="1510232"/>
                </a:moveTo>
                <a:lnTo>
                  <a:pt x="785241" y="1522922"/>
                </a:lnTo>
                <a:lnTo>
                  <a:pt x="641072" y="1673934"/>
                </a:lnTo>
                <a:lnTo>
                  <a:pt x="1021499" y="1673934"/>
                </a:lnTo>
                <a:lnTo>
                  <a:pt x="1093583" y="1510232"/>
                </a:lnTo>
                <a:close/>
                <a:moveTo>
                  <a:pt x="840494" y="1363662"/>
                </a:moveTo>
                <a:lnTo>
                  <a:pt x="1955417" y="1363662"/>
                </a:lnTo>
                <a:lnTo>
                  <a:pt x="2368551" y="1768475"/>
                </a:lnTo>
                <a:lnTo>
                  <a:pt x="398463" y="1768475"/>
                </a:lnTo>
                <a:lnTo>
                  <a:pt x="840494" y="1363662"/>
                </a:lnTo>
                <a:close/>
                <a:moveTo>
                  <a:pt x="1125700" y="1131888"/>
                </a:moveTo>
                <a:lnTo>
                  <a:pt x="1123793" y="1132523"/>
                </a:lnTo>
                <a:lnTo>
                  <a:pt x="1121569" y="1134110"/>
                </a:lnTo>
                <a:lnTo>
                  <a:pt x="1118710" y="1136650"/>
                </a:lnTo>
                <a:lnTo>
                  <a:pt x="1111084" y="1144270"/>
                </a:lnTo>
                <a:lnTo>
                  <a:pt x="1101553" y="1155065"/>
                </a:lnTo>
                <a:lnTo>
                  <a:pt x="1077405" y="1184275"/>
                </a:lnTo>
                <a:lnTo>
                  <a:pt x="1046268" y="1220153"/>
                </a:lnTo>
                <a:lnTo>
                  <a:pt x="1059613" y="1236028"/>
                </a:lnTo>
                <a:lnTo>
                  <a:pt x="1064696" y="1242378"/>
                </a:lnTo>
                <a:lnTo>
                  <a:pt x="1070098" y="1248093"/>
                </a:lnTo>
                <a:lnTo>
                  <a:pt x="1074546" y="1252538"/>
                </a:lnTo>
                <a:lnTo>
                  <a:pt x="1078994" y="1256665"/>
                </a:lnTo>
                <a:lnTo>
                  <a:pt x="1083124" y="1260158"/>
                </a:lnTo>
                <a:lnTo>
                  <a:pt x="1087890" y="1263333"/>
                </a:lnTo>
                <a:lnTo>
                  <a:pt x="1092656" y="1266508"/>
                </a:lnTo>
                <a:lnTo>
                  <a:pt x="1098375" y="1269365"/>
                </a:lnTo>
                <a:lnTo>
                  <a:pt x="1111084" y="1276350"/>
                </a:lnTo>
                <a:lnTo>
                  <a:pt x="1127606" y="1284605"/>
                </a:lnTo>
                <a:lnTo>
                  <a:pt x="1149529" y="1295400"/>
                </a:lnTo>
                <a:lnTo>
                  <a:pt x="1139362" y="1143953"/>
                </a:lnTo>
                <a:lnTo>
                  <a:pt x="1136185" y="1141413"/>
                </a:lnTo>
                <a:lnTo>
                  <a:pt x="1133325" y="1138238"/>
                </a:lnTo>
                <a:lnTo>
                  <a:pt x="1126971" y="1132205"/>
                </a:lnTo>
                <a:lnTo>
                  <a:pt x="1126017" y="1131888"/>
                </a:lnTo>
                <a:lnTo>
                  <a:pt x="1125700" y="1131888"/>
                </a:lnTo>
                <a:close/>
                <a:moveTo>
                  <a:pt x="505679" y="1004887"/>
                </a:moveTo>
                <a:lnTo>
                  <a:pt x="511721" y="1004887"/>
                </a:lnTo>
                <a:lnTo>
                  <a:pt x="517446" y="1005205"/>
                </a:lnTo>
                <a:lnTo>
                  <a:pt x="522535" y="1006158"/>
                </a:lnTo>
                <a:lnTo>
                  <a:pt x="528259" y="1007746"/>
                </a:lnTo>
                <a:lnTo>
                  <a:pt x="533348" y="1009969"/>
                </a:lnTo>
                <a:lnTo>
                  <a:pt x="538436" y="1012828"/>
                </a:lnTo>
                <a:lnTo>
                  <a:pt x="543207" y="1015687"/>
                </a:lnTo>
                <a:lnTo>
                  <a:pt x="548296" y="1019498"/>
                </a:lnTo>
                <a:lnTo>
                  <a:pt x="552748" y="1023310"/>
                </a:lnTo>
                <a:lnTo>
                  <a:pt x="557201" y="1028075"/>
                </a:lnTo>
                <a:lnTo>
                  <a:pt x="561335" y="1033157"/>
                </a:lnTo>
                <a:lnTo>
                  <a:pt x="566106" y="1038239"/>
                </a:lnTo>
                <a:lnTo>
                  <a:pt x="570240" y="1044274"/>
                </a:lnTo>
                <a:lnTo>
                  <a:pt x="573738" y="1050309"/>
                </a:lnTo>
                <a:lnTo>
                  <a:pt x="577555" y="1056980"/>
                </a:lnTo>
                <a:lnTo>
                  <a:pt x="581371" y="1063968"/>
                </a:lnTo>
                <a:lnTo>
                  <a:pt x="585188" y="1071274"/>
                </a:lnTo>
                <a:lnTo>
                  <a:pt x="588686" y="1078897"/>
                </a:lnTo>
                <a:lnTo>
                  <a:pt x="591867" y="1086838"/>
                </a:lnTo>
                <a:lnTo>
                  <a:pt x="598227" y="1103673"/>
                </a:lnTo>
                <a:lnTo>
                  <a:pt x="603952" y="1121461"/>
                </a:lnTo>
                <a:lnTo>
                  <a:pt x="609677" y="1140202"/>
                </a:lnTo>
                <a:lnTo>
                  <a:pt x="614447" y="1159260"/>
                </a:lnTo>
                <a:lnTo>
                  <a:pt x="619218" y="1179589"/>
                </a:lnTo>
                <a:lnTo>
                  <a:pt x="623670" y="1200553"/>
                </a:lnTo>
                <a:lnTo>
                  <a:pt x="627487" y="1221518"/>
                </a:lnTo>
                <a:lnTo>
                  <a:pt x="630667" y="1242799"/>
                </a:lnTo>
                <a:lnTo>
                  <a:pt x="634165" y="1264399"/>
                </a:lnTo>
                <a:lnTo>
                  <a:pt x="636710" y="1285681"/>
                </a:lnTo>
                <a:lnTo>
                  <a:pt x="639254" y="1306963"/>
                </a:lnTo>
                <a:lnTo>
                  <a:pt x="641798" y="1327927"/>
                </a:lnTo>
                <a:lnTo>
                  <a:pt x="643389" y="1348574"/>
                </a:lnTo>
                <a:lnTo>
                  <a:pt x="644979" y="1368903"/>
                </a:lnTo>
                <a:lnTo>
                  <a:pt x="647841" y="1407337"/>
                </a:lnTo>
                <a:lnTo>
                  <a:pt x="649431" y="1441960"/>
                </a:lnTo>
                <a:lnTo>
                  <a:pt x="650703" y="1471501"/>
                </a:lnTo>
                <a:lnTo>
                  <a:pt x="651021" y="1495641"/>
                </a:lnTo>
                <a:lnTo>
                  <a:pt x="645933" y="1500088"/>
                </a:lnTo>
                <a:lnTo>
                  <a:pt x="640526" y="1461971"/>
                </a:lnTo>
                <a:lnTo>
                  <a:pt x="635120" y="1423219"/>
                </a:lnTo>
                <a:lnTo>
                  <a:pt x="629713" y="1515335"/>
                </a:lnTo>
                <a:lnTo>
                  <a:pt x="623988" y="1520417"/>
                </a:lnTo>
                <a:lnTo>
                  <a:pt x="225488" y="1414008"/>
                </a:lnTo>
                <a:lnTo>
                  <a:pt x="154884" y="1399079"/>
                </a:lnTo>
                <a:lnTo>
                  <a:pt x="603316" y="1539476"/>
                </a:lnTo>
                <a:lnTo>
                  <a:pt x="319945" y="1798670"/>
                </a:lnTo>
                <a:lnTo>
                  <a:pt x="585824" y="1798670"/>
                </a:lnTo>
                <a:lnTo>
                  <a:pt x="752475" y="1798670"/>
                </a:lnTo>
                <a:lnTo>
                  <a:pt x="687596" y="2326906"/>
                </a:lnTo>
                <a:lnTo>
                  <a:pt x="595365" y="2326906"/>
                </a:lnTo>
                <a:lnTo>
                  <a:pt x="586778" y="1847904"/>
                </a:lnTo>
                <a:lnTo>
                  <a:pt x="581371" y="1857433"/>
                </a:lnTo>
                <a:lnTo>
                  <a:pt x="578509" y="1862516"/>
                </a:lnTo>
                <a:lnTo>
                  <a:pt x="575329" y="1866963"/>
                </a:lnTo>
                <a:lnTo>
                  <a:pt x="531758" y="2443162"/>
                </a:lnTo>
                <a:lnTo>
                  <a:pt x="415356" y="2443162"/>
                </a:lnTo>
                <a:lnTo>
                  <a:pt x="356837" y="1985125"/>
                </a:lnTo>
                <a:lnTo>
                  <a:pt x="349840" y="1985760"/>
                </a:lnTo>
                <a:lnTo>
                  <a:pt x="346024" y="1986078"/>
                </a:lnTo>
                <a:lnTo>
                  <a:pt x="342207" y="1986078"/>
                </a:lnTo>
                <a:lnTo>
                  <a:pt x="337437" y="1985760"/>
                </a:lnTo>
                <a:lnTo>
                  <a:pt x="332348" y="1985443"/>
                </a:lnTo>
                <a:lnTo>
                  <a:pt x="145661" y="1959078"/>
                </a:lnTo>
                <a:lnTo>
                  <a:pt x="141208" y="1957490"/>
                </a:lnTo>
                <a:lnTo>
                  <a:pt x="137074" y="1955267"/>
                </a:lnTo>
                <a:lnTo>
                  <a:pt x="133257" y="1952726"/>
                </a:lnTo>
                <a:lnTo>
                  <a:pt x="129441" y="1949867"/>
                </a:lnTo>
                <a:lnTo>
                  <a:pt x="125624" y="1946055"/>
                </a:lnTo>
                <a:lnTo>
                  <a:pt x="122126" y="1941926"/>
                </a:lnTo>
                <a:lnTo>
                  <a:pt x="119264" y="1937479"/>
                </a:lnTo>
                <a:lnTo>
                  <a:pt x="116401" y="1932397"/>
                </a:lnTo>
                <a:lnTo>
                  <a:pt x="113539" y="1927632"/>
                </a:lnTo>
                <a:lnTo>
                  <a:pt x="110995" y="1921914"/>
                </a:lnTo>
                <a:lnTo>
                  <a:pt x="108768" y="1916197"/>
                </a:lnTo>
                <a:lnTo>
                  <a:pt x="106542" y="1910162"/>
                </a:lnTo>
                <a:lnTo>
                  <a:pt x="102408" y="1897774"/>
                </a:lnTo>
                <a:lnTo>
                  <a:pt x="98909" y="1885068"/>
                </a:lnTo>
                <a:lnTo>
                  <a:pt x="96365" y="1872363"/>
                </a:lnTo>
                <a:lnTo>
                  <a:pt x="93503" y="1859339"/>
                </a:lnTo>
                <a:lnTo>
                  <a:pt x="90004" y="1836152"/>
                </a:lnTo>
                <a:lnTo>
                  <a:pt x="86824" y="1817728"/>
                </a:lnTo>
                <a:lnTo>
                  <a:pt x="85234" y="1811058"/>
                </a:lnTo>
                <a:lnTo>
                  <a:pt x="84280" y="1806293"/>
                </a:lnTo>
                <a:lnTo>
                  <a:pt x="83962" y="1800894"/>
                </a:lnTo>
                <a:lnTo>
                  <a:pt x="76965" y="1730695"/>
                </a:lnTo>
                <a:lnTo>
                  <a:pt x="69968" y="1653826"/>
                </a:lnTo>
                <a:lnTo>
                  <a:pt x="62017" y="1556628"/>
                </a:lnTo>
                <a:lnTo>
                  <a:pt x="52158" y="1552499"/>
                </a:lnTo>
                <a:lnTo>
                  <a:pt x="43571" y="1548687"/>
                </a:lnTo>
                <a:lnTo>
                  <a:pt x="35938" y="1545511"/>
                </a:lnTo>
                <a:lnTo>
                  <a:pt x="29895" y="1542017"/>
                </a:lnTo>
                <a:lnTo>
                  <a:pt x="25443" y="1538523"/>
                </a:lnTo>
                <a:lnTo>
                  <a:pt x="23535" y="1536617"/>
                </a:lnTo>
                <a:lnTo>
                  <a:pt x="21944" y="1535346"/>
                </a:lnTo>
                <a:lnTo>
                  <a:pt x="20990" y="1533758"/>
                </a:lnTo>
                <a:lnTo>
                  <a:pt x="20354" y="1532170"/>
                </a:lnTo>
                <a:lnTo>
                  <a:pt x="19718" y="1530582"/>
                </a:lnTo>
                <a:lnTo>
                  <a:pt x="20354" y="1529311"/>
                </a:lnTo>
                <a:lnTo>
                  <a:pt x="17492" y="1522641"/>
                </a:lnTo>
                <a:lnTo>
                  <a:pt x="15266" y="1515017"/>
                </a:lnTo>
                <a:lnTo>
                  <a:pt x="12721" y="1504853"/>
                </a:lnTo>
                <a:lnTo>
                  <a:pt x="10495" y="1493100"/>
                </a:lnTo>
                <a:lnTo>
                  <a:pt x="8269" y="1479759"/>
                </a:lnTo>
                <a:lnTo>
                  <a:pt x="6043" y="1465148"/>
                </a:lnTo>
                <a:lnTo>
                  <a:pt x="4134" y="1449583"/>
                </a:lnTo>
                <a:lnTo>
                  <a:pt x="2544" y="1432431"/>
                </a:lnTo>
                <a:lnTo>
                  <a:pt x="954" y="1414325"/>
                </a:lnTo>
                <a:lnTo>
                  <a:pt x="318" y="1395267"/>
                </a:lnTo>
                <a:lnTo>
                  <a:pt x="0" y="1375256"/>
                </a:lnTo>
                <a:lnTo>
                  <a:pt x="318" y="1354926"/>
                </a:lnTo>
                <a:lnTo>
                  <a:pt x="954" y="1333962"/>
                </a:lnTo>
                <a:lnTo>
                  <a:pt x="2544" y="1312363"/>
                </a:lnTo>
                <a:lnTo>
                  <a:pt x="4452" y="1290763"/>
                </a:lnTo>
                <a:lnTo>
                  <a:pt x="7315" y="1268846"/>
                </a:lnTo>
                <a:lnTo>
                  <a:pt x="11131" y="1246929"/>
                </a:lnTo>
                <a:lnTo>
                  <a:pt x="13357" y="1236447"/>
                </a:lnTo>
                <a:lnTo>
                  <a:pt x="15584" y="1225647"/>
                </a:lnTo>
                <a:lnTo>
                  <a:pt x="18446" y="1214847"/>
                </a:lnTo>
                <a:lnTo>
                  <a:pt x="21308" y="1204047"/>
                </a:lnTo>
                <a:lnTo>
                  <a:pt x="24489" y="1193248"/>
                </a:lnTo>
                <a:lnTo>
                  <a:pt x="27669" y="1183083"/>
                </a:lnTo>
                <a:lnTo>
                  <a:pt x="31486" y="1172601"/>
                </a:lnTo>
                <a:lnTo>
                  <a:pt x="35302" y="1162436"/>
                </a:lnTo>
                <a:lnTo>
                  <a:pt x="39436" y="1152272"/>
                </a:lnTo>
                <a:lnTo>
                  <a:pt x="43889" y="1142425"/>
                </a:lnTo>
                <a:lnTo>
                  <a:pt x="48978" y="1132578"/>
                </a:lnTo>
                <a:lnTo>
                  <a:pt x="54066" y="1123367"/>
                </a:lnTo>
                <a:lnTo>
                  <a:pt x="59473" y="1113838"/>
                </a:lnTo>
                <a:lnTo>
                  <a:pt x="64879" y="1104944"/>
                </a:lnTo>
                <a:lnTo>
                  <a:pt x="70922" y="1096050"/>
                </a:lnTo>
                <a:lnTo>
                  <a:pt x="77601" y="1087473"/>
                </a:lnTo>
                <a:lnTo>
                  <a:pt x="84280" y="1079215"/>
                </a:lnTo>
                <a:lnTo>
                  <a:pt x="91276" y="1071274"/>
                </a:lnTo>
                <a:lnTo>
                  <a:pt x="98591" y="1063968"/>
                </a:lnTo>
                <a:lnTo>
                  <a:pt x="106542" y="1056662"/>
                </a:lnTo>
                <a:lnTo>
                  <a:pt x="114811" y="1049674"/>
                </a:lnTo>
                <a:lnTo>
                  <a:pt x="123080" y="1043321"/>
                </a:lnTo>
                <a:lnTo>
                  <a:pt x="131985" y="1036651"/>
                </a:lnTo>
                <a:lnTo>
                  <a:pt x="141526" y="1031251"/>
                </a:lnTo>
                <a:lnTo>
                  <a:pt x="150749" y="1025851"/>
                </a:lnTo>
                <a:lnTo>
                  <a:pt x="160926" y="1021087"/>
                </a:lnTo>
                <a:lnTo>
                  <a:pt x="171740" y="1016322"/>
                </a:lnTo>
                <a:lnTo>
                  <a:pt x="182553" y="1012193"/>
                </a:lnTo>
                <a:lnTo>
                  <a:pt x="193684" y="1009016"/>
                </a:lnTo>
                <a:lnTo>
                  <a:pt x="205452" y="1005522"/>
                </a:lnTo>
                <a:lnTo>
                  <a:pt x="209904" y="1005522"/>
                </a:lnTo>
                <a:lnTo>
                  <a:pt x="218809" y="1005840"/>
                </a:lnTo>
                <a:lnTo>
                  <a:pt x="243298" y="1007428"/>
                </a:lnTo>
                <a:lnTo>
                  <a:pt x="280508" y="1009969"/>
                </a:lnTo>
                <a:lnTo>
                  <a:pt x="409313" y="1420361"/>
                </a:lnTo>
                <a:lnTo>
                  <a:pt x="397228" y="1297751"/>
                </a:lnTo>
                <a:lnTo>
                  <a:pt x="390867" y="1077309"/>
                </a:lnTo>
                <a:lnTo>
                  <a:pt x="382598" y="1056345"/>
                </a:lnTo>
                <a:lnTo>
                  <a:pt x="399136" y="1028392"/>
                </a:lnTo>
                <a:lnTo>
                  <a:pt x="436029" y="1028392"/>
                </a:lnTo>
                <a:lnTo>
                  <a:pt x="450976" y="1056345"/>
                </a:lnTo>
                <a:lnTo>
                  <a:pt x="443979" y="1081438"/>
                </a:lnTo>
                <a:lnTo>
                  <a:pt x="489141" y="1401937"/>
                </a:lnTo>
                <a:lnTo>
                  <a:pt x="481508" y="1015369"/>
                </a:lnTo>
                <a:lnTo>
                  <a:pt x="489459" y="1011875"/>
                </a:lnTo>
                <a:lnTo>
                  <a:pt x="495501" y="1009016"/>
                </a:lnTo>
                <a:lnTo>
                  <a:pt x="499000" y="1006793"/>
                </a:lnTo>
                <a:lnTo>
                  <a:pt x="499636" y="1005840"/>
                </a:lnTo>
                <a:lnTo>
                  <a:pt x="499954" y="1005522"/>
                </a:lnTo>
                <a:lnTo>
                  <a:pt x="505679" y="1004887"/>
                </a:lnTo>
                <a:close/>
                <a:moveTo>
                  <a:pt x="2233205" y="1004887"/>
                </a:moveTo>
                <a:lnTo>
                  <a:pt x="2238276" y="1005205"/>
                </a:lnTo>
                <a:lnTo>
                  <a:pt x="2243665" y="1005522"/>
                </a:lnTo>
                <a:lnTo>
                  <a:pt x="2243665" y="1005840"/>
                </a:lnTo>
                <a:lnTo>
                  <a:pt x="2244299" y="1006793"/>
                </a:lnTo>
                <a:lnTo>
                  <a:pt x="2248102" y="1009016"/>
                </a:lnTo>
                <a:lnTo>
                  <a:pt x="2253808" y="1011875"/>
                </a:lnTo>
                <a:lnTo>
                  <a:pt x="2261732" y="1015369"/>
                </a:lnTo>
                <a:lnTo>
                  <a:pt x="2254441" y="1401937"/>
                </a:lnTo>
                <a:lnTo>
                  <a:pt x="2299133" y="1081438"/>
                </a:lnTo>
                <a:lnTo>
                  <a:pt x="2292160" y="1056345"/>
                </a:lnTo>
                <a:lnTo>
                  <a:pt x="2307374" y="1028392"/>
                </a:lnTo>
                <a:lnTo>
                  <a:pt x="2344142" y="1028392"/>
                </a:lnTo>
                <a:lnTo>
                  <a:pt x="2360307" y="1056345"/>
                </a:lnTo>
                <a:lnTo>
                  <a:pt x="2352066" y="1077309"/>
                </a:lnTo>
                <a:lnTo>
                  <a:pt x="2346044" y="1297751"/>
                </a:lnTo>
                <a:lnTo>
                  <a:pt x="2333682" y="1420361"/>
                </a:lnTo>
                <a:lnTo>
                  <a:pt x="2462052" y="1009969"/>
                </a:lnTo>
                <a:lnTo>
                  <a:pt x="2499137" y="1007428"/>
                </a:lnTo>
                <a:lnTo>
                  <a:pt x="2523860" y="1005840"/>
                </a:lnTo>
                <a:lnTo>
                  <a:pt x="2532735" y="1005522"/>
                </a:lnTo>
                <a:lnTo>
                  <a:pt x="2536855" y="1005522"/>
                </a:lnTo>
                <a:lnTo>
                  <a:pt x="2548266" y="1009016"/>
                </a:lnTo>
                <a:lnTo>
                  <a:pt x="2559677" y="1012193"/>
                </a:lnTo>
                <a:lnTo>
                  <a:pt x="2570453" y="1016322"/>
                </a:lnTo>
                <a:lnTo>
                  <a:pt x="2580913" y="1021087"/>
                </a:lnTo>
                <a:lnTo>
                  <a:pt x="2591056" y="1025851"/>
                </a:lnTo>
                <a:lnTo>
                  <a:pt x="2600882" y="1031251"/>
                </a:lnTo>
                <a:lnTo>
                  <a:pt x="2610391" y="1036651"/>
                </a:lnTo>
                <a:lnTo>
                  <a:pt x="2618949" y="1043321"/>
                </a:lnTo>
                <a:lnTo>
                  <a:pt x="2627507" y="1049674"/>
                </a:lnTo>
                <a:lnTo>
                  <a:pt x="2635431" y="1056662"/>
                </a:lnTo>
                <a:lnTo>
                  <a:pt x="2643355" y="1063968"/>
                </a:lnTo>
                <a:lnTo>
                  <a:pt x="2650962" y="1071274"/>
                </a:lnTo>
                <a:lnTo>
                  <a:pt x="2657618" y="1079215"/>
                </a:lnTo>
                <a:lnTo>
                  <a:pt x="2664274" y="1087473"/>
                </a:lnTo>
                <a:lnTo>
                  <a:pt x="2670614" y="1096050"/>
                </a:lnTo>
                <a:lnTo>
                  <a:pt x="2676636" y="1104944"/>
                </a:lnTo>
                <a:lnTo>
                  <a:pt x="2682341" y="1113838"/>
                </a:lnTo>
                <a:lnTo>
                  <a:pt x="2688047" y="1123367"/>
                </a:lnTo>
                <a:lnTo>
                  <a:pt x="2692801" y="1132578"/>
                </a:lnTo>
                <a:lnTo>
                  <a:pt x="2697872" y="1142425"/>
                </a:lnTo>
                <a:lnTo>
                  <a:pt x="2702310" y="1152272"/>
                </a:lnTo>
                <a:lnTo>
                  <a:pt x="2706430" y="1162436"/>
                </a:lnTo>
                <a:lnTo>
                  <a:pt x="2710551" y="1172601"/>
                </a:lnTo>
                <a:lnTo>
                  <a:pt x="2714037" y="1183083"/>
                </a:lnTo>
                <a:lnTo>
                  <a:pt x="2717207" y="1193248"/>
                </a:lnTo>
                <a:lnTo>
                  <a:pt x="2720694" y="1204047"/>
                </a:lnTo>
                <a:lnTo>
                  <a:pt x="2723229" y="1214847"/>
                </a:lnTo>
                <a:lnTo>
                  <a:pt x="2726082" y="1225647"/>
                </a:lnTo>
                <a:lnTo>
                  <a:pt x="2728618" y="1236447"/>
                </a:lnTo>
                <a:lnTo>
                  <a:pt x="2730836" y="1246929"/>
                </a:lnTo>
                <a:lnTo>
                  <a:pt x="2734640" y="1268846"/>
                </a:lnTo>
                <a:lnTo>
                  <a:pt x="2737176" y="1290763"/>
                </a:lnTo>
                <a:lnTo>
                  <a:pt x="2739394" y="1312363"/>
                </a:lnTo>
                <a:lnTo>
                  <a:pt x="2740979" y="1333962"/>
                </a:lnTo>
                <a:lnTo>
                  <a:pt x="2741613" y="1354926"/>
                </a:lnTo>
                <a:lnTo>
                  <a:pt x="2741613" y="1375256"/>
                </a:lnTo>
                <a:lnTo>
                  <a:pt x="2741296" y="1395267"/>
                </a:lnTo>
                <a:lnTo>
                  <a:pt x="2740662" y="1414325"/>
                </a:lnTo>
                <a:lnTo>
                  <a:pt x="2739394" y="1432431"/>
                </a:lnTo>
                <a:lnTo>
                  <a:pt x="2737493" y="1449583"/>
                </a:lnTo>
                <a:lnTo>
                  <a:pt x="2735591" y="1465148"/>
                </a:lnTo>
                <a:lnTo>
                  <a:pt x="2733689" y="1479759"/>
                </a:lnTo>
                <a:lnTo>
                  <a:pt x="2731470" y="1493100"/>
                </a:lnTo>
                <a:lnTo>
                  <a:pt x="2728935" y="1504853"/>
                </a:lnTo>
                <a:lnTo>
                  <a:pt x="2726716" y="1515017"/>
                </a:lnTo>
                <a:lnTo>
                  <a:pt x="2724180" y="1522641"/>
                </a:lnTo>
                <a:lnTo>
                  <a:pt x="2721962" y="1529311"/>
                </a:lnTo>
                <a:lnTo>
                  <a:pt x="2721962" y="1530582"/>
                </a:lnTo>
                <a:lnTo>
                  <a:pt x="2721328" y="1532170"/>
                </a:lnTo>
                <a:lnTo>
                  <a:pt x="2720694" y="1533758"/>
                </a:lnTo>
                <a:lnTo>
                  <a:pt x="2719426" y="1535346"/>
                </a:lnTo>
                <a:lnTo>
                  <a:pt x="2718158" y="1536617"/>
                </a:lnTo>
                <a:lnTo>
                  <a:pt x="2716573" y="1538523"/>
                </a:lnTo>
                <a:lnTo>
                  <a:pt x="2711819" y="1542017"/>
                </a:lnTo>
                <a:lnTo>
                  <a:pt x="2705796" y="1545511"/>
                </a:lnTo>
                <a:lnTo>
                  <a:pt x="2698506" y="1548687"/>
                </a:lnTo>
                <a:lnTo>
                  <a:pt x="2689948" y="1552499"/>
                </a:lnTo>
                <a:lnTo>
                  <a:pt x="2680122" y="1556628"/>
                </a:lnTo>
                <a:lnTo>
                  <a:pt x="2671881" y="1653826"/>
                </a:lnTo>
                <a:lnTo>
                  <a:pt x="2664908" y="1730695"/>
                </a:lnTo>
                <a:lnTo>
                  <a:pt x="2657935" y="1800894"/>
                </a:lnTo>
                <a:lnTo>
                  <a:pt x="2657618" y="1806293"/>
                </a:lnTo>
                <a:lnTo>
                  <a:pt x="2656350" y="1811058"/>
                </a:lnTo>
                <a:lnTo>
                  <a:pt x="2655399" y="1817728"/>
                </a:lnTo>
                <a:lnTo>
                  <a:pt x="2652230" y="1836152"/>
                </a:lnTo>
                <a:lnTo>
                  <a:pt x="2648109" y="1859339"/>
                </a:lnTo>
                <a:lnTo>
                  <a:pt x="2645890" y="1872363"/>
                </a:lnTo>
                <a:lnTo>
                  <a:pt x="2643038" y="1885068"/>
                </a:lnTo>
                <a:lnTo>
                  <a:pt x="2639551" y="1897774"/>
                </a:lnTo>
                <a:lnTo>
                  <a:pt x="2635431" y="1910162"/>
                </a:lnTo>
                <a:lnTo>
                  <a:pt x="2633529" y="1916197"/>
                </a:lnTo>
                <a:lnTo>
                  <a:pt x="2630993" y="1921914"/>
                </a:lnTo>
                <a:lnTo>
                  <a:pt x="2628458" y="1927632"/>
                </a:lnTo>
                <a:lnTo>
                  <a:pt x="2625605" y="1932397"/>
                </a:lnTo>
                <a:lnTo>
                  <a:pt x="2622752" y="1937479"/>
                </a:lnTo>
                <a:lnTo>
                  <a:pt x="2619583" y="1941926"/>
                </a:lnTo>
                <a:lnTo>
                  <a:pt x="2616413" y="1946055"/>
                </a:lnTo>
                <a:lnTo>
                  <a:pt x="2612926" y="1949867"/>
                </a:lnTo>
                <a:lnTo>
                  <a:pt x="2609123" y="1952726"/>
                </a:lnTo>
                <a:lnTo>
                  <a:pt x="2605002" y="1955267"/>
                </a:lnTo>
                <a:lnTo>
                  <a:pt x="2600882" y="1957490"/>
                </a:lnTo>
                <a:lnTo>
                  <a:pt x="2596444" y="1959078"/>
                </a:lnTo>
                <a:lnTo>
                  <a:pt x="2410704" y="1985443"/>
                </a:lnTo>
                <a:lnTo>
                  <a:pt x="2405633" y="1985760"/>
                </a:lnTo>
                <a:lnTo>
                  <a:pt x="2400561" y="1986078"/>
                </a:lnTo>
                <a:lnTo>
                  <a:pt x="2397075" y="1986078"/>
                </a:lnTo>
                <a:lnTo>
                  <a:pt x="2393271" y="1985760"/>
                </a:lnTo>
                <a:lnTo>
                  <a:pt x="2385981" y="1985125"/>
                </a:lnTo>
                <a:lnTo>
                  <a:pt x="2327660" y="2443162"/>
                </a:lnTo>
                <a:lnTo>
                  <a:pt x="2211651" y="2443162"/>
                </a:lnTo>
                <a:lnTo>
                  <a:pt x="2168545" y="1866963"/>
                </a:lnTo>
                <a:lnTo>
                  <a:pt x="2165375" y="1862516"/>
                </a:lnTo>
                <a:lnTo>
                  <a:pt x="2162522" y="1857433"/>
                </a:lnTo>
                <a:lnTo>
                  <a:pt x="2156817" y="1847904"/>
                </a:lnTo>
                <a:lnTo>
                  <a:pt x="2148576" y="2326906"/>
                </a:lnTo>
                <a:lnTo>
                  <a:pt x="2063630" y="2320235"/>
                </a:lnTo>
                <a:lnTo>
                  <a:pt x="1992313" y="1798670"/>
                </a:lnTo>
                <a:lnTo>
                  <a:pt x="2157768" y="1798670"/>
                </a:lnTo>
                <a:lnTo>
                  <a:pt x="2443668" y="1798670"/>
                </a:lnTo>
                <a:lnTo>
                  <a:pt x="2170129" y="1529946"/>
                </a:lnTo>
                <a:lnTo>
                  <a:pt x="2587569" y="1399079"/>
                </a:lnTo>
                <a:lnTo>
                  <a:pt x="2517204" y="1414008"/>
                </a:lnTo>
                <a:lnTo>
                  <a:pt x="2151746" y="1511841"/>
                </a:lnTo>
                <a:lnTo>
                  <a:pt x="2111808" y="1472771"/>
                </a:lnTo>
                <a:lnTo>
                  <a:pt x="2108956" y="1423219"/>
                </a:lnTo>
                <a:lnTo>
                  <a:pt x="2103250" y="1464513"/>
                </a:lnTo>
                <a:lnTo>
                  <a:pt x="2093741" y="1455301"/>
                </a:lnTo>
                <a:lnTo>
                  <a:pt x="2095009" y="1426078"/>
                </a:lnTo>
                <a:lnTo>
                  <a:pt x="2096911" y="1393361"/>
                </a:lnTo>
                <a:lnTo>
                  <a:pt x="2099447" y="1358103"/>
                </a:lnTo>
                <a:lnTo>
                  <a:pt x="2103250" y="1320621"/>
                </a:lnTo>
                <a:lnTo>
                  <a:pt x="2105152" y="1301563"/>
                </a:lnTo>
                <a:lnTo>
                  <a:pt x="2107371" y="1282504"/>
                </a:lnTo>
                <a:lnTo>
                  <a:pt x="2109906" y="1262811"/>
                </a:lnTo>
                <a:lnTo>
                  <a:pt x="2113076" y="1243752"/>
                </a:lnTo>
                <a:lnTo>
                  <a:pt x="2115929" y="1224059"/>
                </a:lnTo>
                <a:lnTo>
                  <a:pt x="2119415" y="1205318"/>
                </a:lnTo>
                <a:lnTo>
                  <a:pt x="2123219" y="1186577"/>
                </a:lnTo>
                <a:lnTo>
                  <a:pt x="2127339" y="1168154"/>
                </a:lnTo>
                <a:lnTo>
                  <a:pt x="2131777" y="1150366"/>
                </a:lnTo>
                <a:lnTo>
                  <a:pt x="2136214" y="1133214"/>
                </a:lnTo>
                <a:lnTo>
                  <a:pt x="2140969" y="1116379"/>
                </a:lnTo>
                <a:lnTo>
                  <a:pt x="2146674" y="1100497"/>
                </a:lnTo>
                <a:lnTo>
                  <a:pt x="2152379" y="1085568"/>
                </a:lnTo>
                <a:lnTo>
                  <a:pt x="2158719" y="1071274"/>
                </a:lnTo>
                <a:lnTo>
                  <a:pt x="2165058" y="1058568"/>
                </a:lnTo>
                <a:lnTo>
                  <a:pt x="2168545" y="1052533"/>
                </a:lnTo>
                <a:lnTo>
                  <a:pt x="2172031" y="1046815"/>
                </a:lnTo>
                <a:lnTo>
                  <a:pt x="2175518" y="1041416"/>
                </a:lnTo>
                <a:lnTo>
                  <a:pt x="2179321" y="1036333"/>
                </a:lnTo>
                <a:lnTo>
                  <a:pt x="2183125" y="1031569"/>
                </a:lnTo>
                <a:lnTo>
                  <a:pt x="2187245" y="1027122"/>
                </a:lnTo>
                <a:lnTo>
                  <a:pt x="2191366" y="1023310"/>
                </a:lnTo>
                <a:lnTo>
                  <a:pt x="2195486" y="1019498"/>
                </a:lnTo>
                <a:lnTo>
                  <a:pt x="2199607" y="1016004"/>
                </a:lnTo>
                <a:lnTo>
                  <a:pt x="2204044" y="1013146"/>
                </a:lnTo>
                <a:lnTo>
                  <a:pt x="2208799" y="1010922"/>
                </a:lnTo>
                <a:lnTo>
                  <a:pt x="2213236" y="1008699"/>
                </a:lnTo>
                <a:lnTo>
                  <a:pt x="2217991" y="1007111"/>
                </a:lnTo>
                <a:lnTo>
                  <a:pt x="2223062" y="1005840"/>
                </a:lnTo>
                <a:lnTo>
                  <a:pt x="2227817" y="1005205"/>
                </a:lnTo>
                <a:lnTo>
                  <a:pt x="2233205" y="1004887"/>
                </a:lnTo>
                <a:close/>
                <a:moveTo>
                  <a:pt x="1560668" y="914401"/>
                </a:moveTo>
                <a:lnTo>
                  <a:pt x="1571788" y="914401"/>
                </a:lnTo>
                <a:lnTo>
                  <a:pt x="1582591" y="915671"/>
                </a:lnTo>
                <a:lnTo>
                  <a:pt x="1594029" y="917258"/>
                </a:lnTo>
                <a:lnTo>
                  <a:pt x="1604514" y="919480"/>
                </a:lnTo>
                <a:lnTo>
                  <a:pt x="1615317" y="922021"/>
                </a:lnTo>
                <a:lnTo>
                  <a:pt x="1625802" y="925196"/>
                </a:lnTo>
                <a:lnTo>
                  <a:pt x="1636287" y="928688"/>
                </a:lnTo>
                <a:lnTo>
                  <a:pt x="1646772" y="933133"/>
                </a:lnTo>
                <a:lnTo>
                  <a:pt x="1656939" y="937261"/>
                </a:lnTo>
                <a:lnTo>
                  <a:pt x="1666788" y="942023"/>
                </a:lnTo>
                <a:lnTo>
                  <a:pt x="1676638" y="946786"/>
                </a:lnTo>
                <a:lnTo>
                  <a:pt x="1686487" y="952183"/>
                </a:lnTo>
                <a:lnTo>
                  <a:pt x="1695384" y="957263"/>
                </a:lnTo>
                <a:lnTo>
                  <a:pt x="1704598" y="962978"/>
                </a:lnTo>
                <a:lnTo>
                  <a:pt x="1712859" y="968693"/>
                </a:lnTo>
                <a:lnTo>
                  <a:pt x="1721120" y="974726"/>
                </a:lnTo>
                <a:lnTo>
                  <a:pt x="1729063" y="980441"/>
                </a:lnTo>
                <a:lnTo>
                  <a:pt x="1736371" y="986473"/>
                </a:lnTo>
                <a:lnTo>
                  <a:pt x="1750033" y="997586"/>
                </a:lnTo>
                <a:lnTo>
                  <a:pt x="1762106" y="1008698"/>
                </a:lnTo>
                <a:lnTo>
                  <a:pt x="1771956" y="1018858"/>
                </a:lnTo>
                <a:lnTo>
                  <a:pt x="1779264" y="1027748"/>
                </a:lnTo>
                <a:lnTo>
                  <a:pt x="1782441" y="1031558"/>
                </a:lnTo>
                <a:lnTo>
                  <a:pt x="1784665" y="1034733"/>
                </a:lnTo>
                <a:lnTo>
                  <a:pt x="1786254" y="1037908"/>
                </a:lnTo>
                <a:lnTo>
                  <a:pt x="1787207" y="1040448"/>
                </a:lnTo>
                <a:lnTo>
                  <a:pt x="1788160" y="1045845"/>
                </a:lnTo>
                <a:lnTo>
                  <a:pt x="1788478" y="1053783"/>
                </a:lnTo>
                <a:lnTo>
                  <a:pt x="1789113" y="1076643"/>
                </a:lnTo>
                <a:lnTo>
                  <a:pt x="1789113" y="1107440"/>
                </a:lnTo>
                <a:lnTo>
                  <a:pt x="1788478" y="1144588"/>
                </a:lnTo>
                <a:lnTo>
                  <a:pt x="1787525" y="1187133"/>
                </a:lnTo>
                <a:lnTo>
                  <a:pt x="1786254" y="1233488"/>
                </a:lnTo>
                <a:lnTo>
                  <a:pt x="1784347" y="1282383"/>
                </a:lnTo>
                <a:lnTo>
                  <a:pt x="1782123" y="1331913"/>
                </a:lnTo>
                <a:lnTo>
                  <a:pt x="1672507" y="1331913"/>
                </a:lnTo>
                <a:lnTo>
                  <a:pt x="1674096" y="1293813"/>
                </a:lnTo>
                <a:lnTo>
                  <a:pt x="1674732" y="1258253"/>
                </a:lnTo>
                <a:lnTo>
                  <a:pt x="1675685" y="1225550"/>
                </a:lnTo>
                <a:lnTo>
                  <a:pt x="1676002" y="1197293"/>
                </a:lnTo>
                <a:lnTo>
                  <a:pt x="1675685" y="1174115"/>
                </a:lnTo>
                <a:lnTo>
                  <a:pt x="1674732" y="1156970"/>
                </a:lnTo>
                <a:lnTo>
                  <a:pt x="1674096" y="1150938"/>
                </a:lnTo>
                <a:lnTo>
                  <a:pt x="1673143" y="1147445"/>
                </a:lnTo>
                <a:lnTo>
                  <a:pt x="1672825" y="1145858"/>
                </a:lnTo>
                <a:lnTo>
                  <a:pt x="1672507" y="1144905"/>
                </a:lnTo>
                <a:lnTo>
                  <a:pt x="1672190" y="1144905"/>
                </a:lnTo>
                <a:lnTo>
                  <a:pt x="1671237" y="1145540"/>
                </a:lnTo>
                <a:lnTo>
                  <a:pt x="1669648" y="1147445"/>
                </a:lnTo>
                <a:lnTo>
                  <a:pt x="1668059" y="1149668"/>
                </a:lnTo>
                <a:lnTo>
                  <a:pt x="1666471" y="1151890"/>
                </a:lnTo>
                <a:lnTo>
                  <a:pt x="1654079" y="1331913"/>
                </a:lnTo>
                <a:lnTo>
                  <a:pt x="1602608" y="1331913"/>
                </a:lnTo>
                <a:lnTo>
                  <a:pt x="1602290" y="1283335"/>
                </a:lnTo>
                <a:lnTo>
                  <a:pt x="1598477" y="1283653"/>
                </a:lnTo>
                <a:lnTo>
                  <a:pt x="1586721" y="1284605"/>
                </a:lnTo>
                <a:lnTo>
                  <a:pt x="1568293" y="1285240"/>
                </a:lnTo>
                <a:lnTo>
                  <a:pt x="1556537" y="1285558"/>
                </a:lnTo>
                <a:lnTo>
                  <a:pt x="1543828" y="1285558"/>
                </a:lnTo>
                <a:lnTo>
                  <a:pt x="1529213" y="1285240"/>
                </a:lnTo>
                <a:lnTo>
                  <a:pt x="1513009" y="1284605"/>
                </a:lnTo>
                <a:lnTo>
                  <a:pt x="1496169" y="1283653"/>
                </a:lnTo>
                <a:lnTo>
                  <a:pt x="1477741" y="1282383"/>
                </a:lnTo>
                <a:lnTo>
                  <a:pt x="1457724" y="1280478"/>
                </a:lnTo>
                <a:lnTo>
                  <a:pt x="1437390" y="1277620"/>
                </a:lnTo>
                <a:lnTo>
                  <a:pt x="1415467" y="1274763"/>
                </a:lnTo>
                <a:lnTo>
                  <a:pt x="1392908" y="1270953"/>
                </a:lnTo>
                <a:lnTo>
                  <a:pt x="1381787" y="1268730"/>
                </a:lnTo>
                <a:lnTo>
                  <a:pt x="1370349" y="1266508"/>
                </a:lnTo>
                <a:lnTo>
                  <a:pt x="1359547" y="1263968"/>
                </a:lnTo>
                <a:lnTo>
                  <a:pt x="1348426" y="1261110"/>
                </a:lnTo>
                <a:lnTo>
                  <a:pt x="1328092" y="1254760"/>
                </a:lnTo>
                <a:lnTo>
                  <a:pt x="1308710" y="1248410"/>
                </a:lnTo>
                <a:lnTo>
                  <a:pt x="1290282" y="1241743"/>
                </a:lnTo>
                <a:lnTo>
                  <a:pt x="1273443" y="1234440"/>
                </a:lnTo>
                <a:lnTo>
                  <a:pt x="1257556" y="1227455"/>
                </a:lnTo>
                <a:lnTo>
                  <a:pt x="1243259" y="1220153"/>
                </a:lnTo>
                <a:lnTo>
                  <a:pt x="1229914" y="1213485"/>
                </a:lnTo>
                <a:lnTo>
                  <a:pt x="1218794" y="1207135"/>
                </a:lnTo>
                <a:lnTo>
                  <a:pt x="1208626" y="1201103"/>
                </a:lnTo>
                <a:lnTo>
                  <a:pt x="1200366" y="1196340"/>
                </a:lnTo>
                <a:lnTo>
                  <a:pt x="1189245" y="1188720"/>
                </a:lnTo>
                <a:lnTo>
                  <a:pt x="1185115" y="1186180"/>
                </a:lnTo>
                <a:lnTo>
                  <a:pt x="1204814" y="1331913"/>
                </a:lnTo>
                <a:lnTo>
                  <a:pt x="1152071" y="1331913"/>
                </a:lnTo>
                <a:lnTo>
                  <a:pt x="1149529" y="1296670"/>
                </a:lnTo>
                <a:lnTo>
                  <a:pt x="1143810" y="1297305"/>
                </a:lnTo>
                <a:lnTo>
                  <a:pt x="1135549" y="1299210"/>
                </a:lnTo>
                <a:lnTo>
                  <a:pt x="1112355" y="1303655"/>
                </a:lnTo>
                <a:lnTo>
                  <a:pt x="1082489" y="1309688"/>
                </a:lnTo>
                <a:lnTo>
                  <a:pt x="1066285" y="1313180"/>
                </a:lnTo>
                <a:lnTo>
                  <a:pt x="1049445" y="1316038"/>
                </a:lnTo>
                <a:lnTo>
                  <a:pt x="1032606" y="1318895"/>
                </a:lnTo>
                <a:lnTo>
                  <a:pt x="1015766" y="1321118"/>
                </a:lnTo>
                <a:lnTo>
                  <a:pt x="999880" y="1322388"/>
                </a:lnTo>
                <a:lnTo>
                  <a:pt x="984629" y="1323658"/>
                </a:lnTo>
                <a:lnTo>
                  <a:pt x="977639" y="1323658"/>
                </a:lnTo>
                <a:lnTo>
                  <a:pt x="970649" y="1323658"/>
                </a:lnTo>
                <a:lnTo>
                  <a:pt x="964295" y="1323340"/>
                </a:lnTo>
                <a:lnTo>
                  <a:pt x="958575" y="1323023"/>
                </a:lnTo>
                <a:lnTo>
                  <a:pt x="953174" y="1322070"/>
                </a:lnTo>
                <a:lnTo>
                  <a:pt x="948090" y="1320483"/>
                </a:lnTo>
                <a:lnTo>
                  <a:pt x="943960" y="1319213"/>
                </a:lnTo>
                <a:lnTo>
                  <a:pt x="940783" y="1317625"/>
                </a:lnTo>
                <a:lnTo>
                  <a:pt x="934746" y="1305560"/>
                </a:lnTo>
                <a:lnTo>
                  <a:pt x="928709" y="1295083"/>
                </a:lnTo>
                <a:lnTo>
                  <a:pt x="917271" y="1275398"/>
                </a:lnTo>
                <a:lnTo>
                  <a:pt x="912505" y="1266508"/>
                </a:lnTo>
                <a:lnTo>
                  <a:pt x="908057" y="1257935"/>
                </a:lnTo>
                <a:lnTo>
                  <a:pt x="904244" y="1249680"/>
                </a:lnTo>
                <a:lnTo>
                  <a:pt x="902338" y="1244918"/>
                </a:lnTo>
                <a:lnTo>
                  <a:pt x="901067" y="1240790"/>
                </a:lnTo>
                <a:lnTo>
                  <a:pt x="900114" y="1236663"/>
                </a:lnTo>
                <a:lnTo>
                  <a:pt x="899161" y="1232535"/>
                </a:lnTo>
                <a:lnTo>
                  <a:pt x="898843" y="1228408"/>
                </a:lnTo>
                <a:lnTo>
                  <a:pt x="898525" y="1223963"/>
                </a:lnTo>
                <a:lnTo>
                  <a:pt x="898843" y="1219835"/>
                </a:lnTo>
                <a:lnTo>
                  <a:pt x="899161" y="1215390"/>
                </a:lnTo>
                <a:lnTo>
                  <a:pt x="900431" y="1210628"/>
                </a:lnTo>
                <a:lnTo>
                  <a:pt x="901385" y="1205865"/>
                </a:lnTo>
                <a:lnTo>
                  <a:pt x="903291" y="1201103"/>
                </a:lnTo>
                <a:lnTo>
                  <a:pt x="905197" y="1195705"/>
                </a:lnTo>
                <a:lnTo>
                  <a:pt x="908057" y="1190943"/>
                </a:lnTo>
                <a:lnTo>
                  <a:pt x="910916" y="1185228"/>
                </a:lnTo>
                <a:lnTo>
                  <a:pt x="914729" y="1179513"/>
                </a:lnTo>
                <a:lnTo>
                  <a:pt x="918542" y="1173480"/>
                </a:lnTo>
                <a:lnTo>
                  <a:pt x="922990" y="1167765"/>
                </a:lnTo>
                <a:lnTo>
                  <a:pt x="928391" y="1161098"/>
                </a:lnTo>
                <a:lnTo>
                  <a:pt x="939512" y="1146810"/>
                </a:lnTo>
                <a:lnTo>
                  <a:pt x="949361" y="1133793"/>
                </a:lnTo>
                <a:lnTo>
                  <a:pt x="967154" y="1109345"/>
                </a:lnTo>
                <a:lnTo>
                  <a:pt x="976050" y="1096963"/>
                </a:lnTo>
                <a:lnTo>
                  <a:pt x="985900" y="1084580"/>
                </a:lnTo>
                <a:lnTo>
                  <a:pt x="997338" y="1070928"/>
                </a:lnTo>
                <a:lnTo>
                  <a:pt x="1004328" y="1063943"/>
                </a:lnTo>
                <a:lnTo>
                  <a:pt x="1011318" y="1056323"/>
                </a:lnTo>
                <a:lnTo>
                  <a:pt x="1017673" y="1045528"/>
                </a:lnTo>
                <a:lnTo>
                  <a:pt x="1024663" y="1035368"/>
                </a:lnTo>
                <a:lnTo>
                  <a:pt x="1031335" y="1025525"/>
                </a:lnTo>
                <a:lnTo>
                  <a:pt x="1038007" y="1016318"/>
                </a:lnTo>
                <a:lnTo>
                  <a:pt x="1044997" y="1008063"/>
                </a:lnTo>
                <a:lnTo>
                  <a:pt x="1051669" y="1000443"/>
                </a:lnTo>
                <a:lnTo>
                  <a:pt x="1058659" y="993141"/>
                </a:lnTo>
                <a:lnTo>
                  <a:pt x="1065967" y="986473"/>
                </a:lnTo>
                <a:lnTo>
                  <a:pt x="1073593" y="980123"/>
                </a:lnTo>
                <a:lnTo>
                  <a:pt x="1080583" y="974091"/>
                </a:lnTo>
                <a:lnTo>
                  <a:pt x="1088208" y="968693"/>
                </a:lnTo>
                <a:lnTo>
                  <a:pt x="1096151" y="963931"/>
                </a:lnTo>
                <a:lnTo>
                  <a:pt x="1104094" y="959168"/>
                </a:lnTo>
                <a:lnTo>
                  <a:pt x="1111720" y="954723"/>
                </a:lnTo>
                <a:lnTo>
                  <a:pt x="1119663" y="950913"/>
                </a:lnTo>
                <a:lnTo>
                  <a:pt x="1127924" y="947738"/>
                </a:lnTo>
                <a:lnTo>
                  <a:pt x="1136185" y="944246"/>
                </a:lnTo>
                <a:lnTo>
                  <a:pt x="1145081" y="941388"/>
                </a:lnTo>
                <a:lnTo>
                  <a:pt x="1153660" y="938531"/>
                </a:lnTo>
                <a:lnTo>
                  <a:pt x="1162238" y="935991"/>
                </a:lnTo>
                <a:lnTo>
                  <a:pt x="1171452" y="933768"/>
                </a:lnTo>
                <a:lnTo>
                  <a:pt x="1180349" y="931863"/>
                </a:lnTo>
                <a:lnTo>
                  <a:pt x="1199412" y="928053"/>
                </a:lnTo>
                <a:lnTo>
                  <a:pt x="1218794" y="924561"/>
                </a:lnTo>
                <a:lnTo>
                  <a:pt x="1239128" y="921703"/>
                </a:lnTo>
                <a:lnTo>
                  <a:pt x="1282021" y="915988"/>
                </a:lnTo>
                <a:lnTo>
                  <a:pt x="1284881" y="915671"/>
                </a:lnTo>
                <a:lnTo>
                  <a:pt x="1287740" y="915671"/>
                </a:lnTo>
                <a:lnTo>
                  <a:pt x="1292824" y="915671"/>
                </a:lnTo>
                <a:lnTo>
                  <a:pt x="1366537" y="1187768"/>
                </a:lnTo>
                <a:lnTo>
                  <a:pt x="1368125" y="1176973"/>
                </a:lnTo>
                <a:lnTo>
                  <a:pt x="1393226" y="990283"/>
                </a:lnTo>
                <a:lnTo>
                  <a:pt x="1386236" y="972186"/>
                </a:lnTo>
                <a:lnTo>
                  <a:pt x="1400216" y="947738"/>
                </a:lnTo>
                <a:lnTo>
                  <a:pt x="1432306" y="947421"/>
                </a:lnTo>
                <a:lnTo>
                  <a:pt x="1445968" y="972186"/>
                </a:lnTo>
                <a:lnTo>
                  <a:pt x="1439614" y="993776"/>
                </a:lnTo>
                <a:lnTo>
                  <a:pt x="1462490" y="1190943"/>
                </a:lnTo>
                <a:lnTo>
                  <a:pt x="1522858" y="924243"/>
                </a:lnTo>
                <a:lnTo>
                  <a:pt x="1529530" y="921386"/>
                </a:lnTo>
                <a:lnTo>
                  <a:pt x="1534932" y="918846"/>
                </a:lnTo>
                <a:lnTo>
                  <a:pt x="1537791" y="916940"/>
                </a:lnTo>
                <a:lnTo>
                  <a:pt x="1538427" y="915988"/>
                </a:lnTo>
                <a:lnTo>
                  <a:pt x="1549865" y="915036"/>
                </a:lnTo>
                <a:lnTo>
                  <a:pt x="1560668" y="914401"/>
                </a:lnTo>
                <a:close/>
                <a:moveTo>
                  <a:pt x="170497" y="661035"/>
                </a:moveTo>
                <a:lnTo>
                  <a:pt x="168576" y="681657"/>
                </a:lnTo>
                <a:lnTo>
                  <a:pt x="168275" y="683619"/>
                </a:lnTo>
                <a:lnTo>
                  <a:pt x="167640" y="691889"/>
                </a:lnTo>
                <a:lnTo>
                  <a:pt x="167640" y="695282"/>
                </a:lnTo>
                <a:lnTo>
                  <a:pt x="167322" y="700477"/>
                </a:lnTo>
                <a:lnTo>
                  <a:pt x="167640" y="700795"/>
                </a:lnTo>
                <a:lnTo>
                  <a:pt x="167640" y="695282"/>
                </a:lnTo>
                <a:lnTo>
                  <a:pt x="168275" y="684891"/>
                </a:lnTo>
                <a:lnTo>
                  <a:pt x="168576" y="681657"/>
                </a:lnTo>
                <a:lnTo>
                  <a:pt x="169545" y="675349"/>
                </a:lnTo>
                <a:lnTo>
                  <a:pt x="170497" y="668033"/>
                </a:lnTo>
                <a:lnTo>
                  <a:pt x="170497" y="664534"/>
                </a:lnTo>
                <a:lnTo>
                  <a:pt x="170497" y="661035"/>
                </a:lnTo>
                <a:close/>
                <a:moveTo>
                  <a:pt x="2571454" y="661035"/>
                </a:moveTo>
                <a:lnTo>
                  <a:pt x="2571454" y="664534"/>
                </a:lnTo>
                <a:lnTo>
                  <a:pt x="2571137" y="668033"/>
                </a:lnTo>
                <a:lnTo>
                  <a:pt x="2572406" y="675349"/>
                </a:lnTo>
                <a:lnTo>
                  <a:pt x="2573358" y="683619"/>
                </a:lnTo>
                <a:lnTo>
                  <a:pt x="2573992" y="691889"/>
                </a:lnTo>
                <a:lnTo>
                  <a:pt x="2574310" y="700795"/>
                </a:lnTo>
                <a:lnTo>
                  <a:pt x="2574627" y="700477"/>
                </a:lnTo>
                <a:lnTo>
                  <a:pt x="2573675" y="684891"/>
                </a:lnTo>
                <a:lnTo>
                  <a:pt x="2571454" y="661035"/>
                </a:lnTo>
                <a:close/>
                <a:moveTo>
                  <a:pt x="197485" y="574519"/>
                </a:moveTo>
                <a:lnTo>
                  <a:pt x="195897" y="575155"/>
                </a:lnTo>
                <a:lnTo>
                  <a:pt x="194310" y="576109"/>
                </a:lnTo>
                <a:lnTo>
                  <a:pt x="192405" y="577381"/>
                </a:lnTo>
                <a:lnTo>
                  <a:pt x="190817" y="579290"/>
                </a:lnTo>
                <a:lnTo>
                  <a:pt x="189230" y="581198"/>
                </a:lnTo>
                <a:lnTo>
                  <a:pt x="186690" y="585969"/>
                </a:lnTo>
                <a:lnTo>
                  <a:pt x="189865" y="582789"/>
                </a:lnTo>
                <a:lnTo>
                  <a:pt x="192722" y="579608"/>
                </a:lnTo>
                <a:lnTo>
                  <a:pt x="195897" y="576745"/>
                </a:lnTo>
                <a:lnTo>
                  <a:pt x="199390" y="574519"/>
                </a:lnTo>
                <a:lnTo>
                  <a:pt x="197485" y="574519"/>
                </a:lnTo>
                <a:close/>
                <a:moveTo>
                  <a:pt x="2542584" y="574518"/>
                </a:moveTo>
                <a:lnTo>
                  <a:pt x="2545757" y="576745"/>
                </a:lnTo>
                <a:lnTo>
                  <a:pt x="2549247" y="579608"/>
                </a:lnTo>
                <a:lnTo>
                  <a:pt x="2552102" y="582788"/>
                </a:lnTo>
                <a:lnTo>
                  <a:pt x="2555274" y="585969"/>
                </a:lnTo>
                <a:lnTo>
                  <a:pt x="2552102" y="581198"/>
                </a:lnTo>
                <a:lnTo>
                  <a:pt x="2550833" y="579290"/>
                </a:lnTo>
                <a:lnTo>
                  <a:pt x="2549247" y="577381"/>
                </a:lnTo>
                <a:lnTo>
                  <a:pt x="2547660" y="576109"/>
                </a:lnTo>
                <a:lnTo>
                  <a:pt x="2545757" y="575155"/>
                </a:lnTo>
                <a:lnTo>
                  <a:pt x="2544488" y="574518"/>
                </a:lnTo>
                <a:lnTo>
                  <a:pt x="2542584" y="574518"/>
                </a:lnTo>
                <a:close/>
                <a:moveTo>
                  <a:pt x="331470" y="485775"/>
                </a:moveTo>
                <a:lnTo>
                  <a:pt x="347662" y="485775"/>
                </a:lnTo>
                <a:lnTo>
                  <a:pt x="363537" y="486729"/>
                </a:lnTo>
                <a:lnTo>
                  <a:pt x="378460" y="488638"/>
                </a:lnTo>
                <a:lnTo>
                  <a:pt x="393700" y="490864"/>
                </a:lnTo>
                <a:lnTo>
                  <a:pt x="407988" y="493409"/>
                </a:lnTo>
                <a:lnTo>
                  <a:pt x="421323" y="497226"/>
                </a:lnTo>
                <a:lnTo>
                  <a:pt x="434658" y="501043"/>
                </a:lnTo>
                <a:lnTo>
                  <a:pt x="447040" y="505178"/>
                </a:lnTo>
                <a:lnTo>
                  <a:pt x="459105" y="509631"/>
                </a:lnTo>
                <a:lnTo>
                  <a:pt x="470535" y="514402"/>
                </a:lnTo>
                <a:lnTo>
                  <a:pt x="481013" y="519491"/>
                </a:lnTo>
                <a:lnTo>
                  <a:pt x="491173" y="524580"/>
                </a:lnTo>
                <a:lnTo>
                  <a:pt x="500698" y="529670"/>
                </a:lnTo>
                <a:lnTo>
                  <a:pt x="509270" y="534759"/>
                </a:lnTo>
                <a:lnTo>
                  <a:pt x="517208" y="539848"/>
                </a:lnTo>
                <a:lnTo>
                  <a:pt x="524510" y="544301"/>
                </a:lnTo>
                <a:lnTo>
                  <a:pt x="536575" y="552889"/>
                </a:lnTo>
                <a:lnTo>
                  <a:pt x="545465" y="559569"/>
                </a:lnTo>
                <a:lnTo>
                  <a:pt x="550863" y="564340"/>
                </a:lnTo>
                <a:lnTo>
                  <a:pt x="552450" y="565612"/>
                </a:lnTo>
                <a:lnTo>
                  <a:pt x="550863" y="569747"/>
                </a:lnTo>
                <a:lnTo>
                  <a:pt x="548005" y="574837"/>
                </a:lnTo>
                <a:lnTo>
                  <a:pt x="544195" y="581198"/>
                </a:lnTo>
                <a:lnTo>
                  <a:pt x="539750" y="587878"/>
                </a:lnTo>
                <a:lnTo>
                  <a:pt x="534035" y="595512"/>
                </a:lnTo>
                <a:lnTo>
                  <a:pt x="530860" y="599647"/>
                </a:lnTo>
                <a:lnTo>
                  <a:pt x="527050" y="603463"/>
                </a:lnTo>
                <a:lnTo>
                  <a:pt x="523240" y="607280"/>
                </a:lnTo>
                <a:lnTo>
                  <a:pt x="518795" y="610779"/>
                </a:lnTo>
                <a:lnTo>
                  <a:pt x="514350" y="614278"/>
                </a:lnTo>
                <a:lnTo>
                  <a:pt x="509588" y="617777"/>
                </a:lnTo>
                <a:lnTo>
                  <a:pt x="504508" y="620640"/>
                </a:lnTo>
                <a:lnTo>
                  <a:pt x="498793" y="623502"/>
                </a:lnTo>
                <a:lnTo>
                  <a:pt x="493078" y="626047"/>
                </a:lnTo>
                <a:lnTo>
                  <a:pt x="487045" y="627955"/>
                </a:lnTo>
                <a:lnTo>
                  <a:pt x="480695" y="629228"/>
                </a:lnTo>
                <a:lnTo>
                  <a:pt x="474028" y="630500"/>
                </a:lnTo>
                <a:lnTo>
                  <a:pt x="466725" y="630818"/>
                </a:lnTo>
                <a:lnTo>
                  <a:pt x="459423" y="630818"/>
                </a:lnTo>
                <a:lnTo>
                  <a:pt x="451803" y="630182"/>
                </a:lnTo>
                <a:lnTo>
                  <a:pt x="443548" y="628910"/>
                </a:lnTo>
                <a:lnTo>
                  <a:pt x="434975" y="626683"/>
                </a:lnTo>
                <a:lnTo>
                  <a:pt x="426403" y="624139"/>
                </a:lnTo>
                <a:lnTo>
                  <a:pt x="417195" y="620322"/>
                </a:lnTo>
                <a:lnTo>
                  <a:pt x="407353" y="615869"/>
                </a:lnTo>
                <a:lnTo>
                  <a:pt x="396557" y="610461"/>
                </a:lnTo>
                <a:lnTo>
                  <a:pt x="385127" y="605690"/>
                </a:lnTo>
                <a:lnTo>
                  <a:pt x="408305" y="616823"/>
                </a:lnTo>
                <a:lnTo>
                  <a:pt x="430848" y="627955"/>
                </a:lnTo>
                <a:lnTo>
                  <a:pt x="441643" y="632727"/>
                </a:lnTo>
                <a:lnTo>
                  <a:pt x="452120" y="637180"/>
                </a:lnTo>
                <a:lnTo>
                  <a:pt x="462280" y="641315"/>
                </a:lnTo>
                <a:lnTo>
                  <a:pt x="472440" y="645132"/>
                </a:lnTo>
                <a:lnTo>
                  <a:pt x="481965" y="648312"/>
                </a:lnTo>
                <a:lnTo>
                  <a:pt x="491173" y="650539"/>
                </a:lnTo>
                <a:lnTo>
                  <a:pt x="500063" y="652129"/>
                </a:lnTo>
                <a:lnTo>
                  <a:pt x="504190" y="652447"/>
                </a:lnTo>
                <a:lnTo>
                  <a:pt x="508318" y="652447"/>
                </a:lnTo>
                <a:lnTo>
                  <a:pt x="512128" y="652447"/>
                </a:lnTo>
                <a:lnTo>
                  <a:pt x="515620" y="652129"/>
                </a:lnTo>
                <a:lnTo>
                  <a:pt x="519430" y="651493"/>
                </a:lnTo>
                <a:lnTo>
                  <a:pt x="522923" y="650539"/>
                </a:lnTo>
                <a:lnTo>
                  <a:pt x="526415" y="649267"/>
                </a:lnTo>
                <a:lnTo>
                  <a:pt x="529590" y="647676"/>
                </a:lnTo>
                <a:lnTo>
                  <a:pt x="532765" y="646086"/>
                </a:lnTo>
                <a:lnTo>
                  <a:pt x="535623" y="643541"/>
                </a:lnTo>
                <a:lnTo>
                  <a:pt x="536893" y="651493"/>
                </a:lnTo>
                <a:lnTo>
                  <a:pt x="537210" y="659127"/>
                </a:lnTo>
                <a:lnTo>
                  <a:pt x="537845" y="673440"/>
                </a:lnTo>
                <a:lnTo>
                  <a:pt x="537845" y="687118"/>
                </a:lnTo>
                <a:lnTo>
                  <a:pt x="537210" y="700159"/>
                </a:lnTo>
                <a:lnTo>
                  <a:pt x="538163" y="699205"/>
                </a:lnTo>
                <a:lnTo>
                  <a:pt x="539433" y="697932"/>
                </a:lnTo>
                <a:lnTo>
                  <a:pt x="540703" y="697296"/>
                </a:lnTo>
                <a:lnTo>
                  <a:pt x="541973" y="696660"/>
                </a:lnTo>
                <a:lnTo>
                  <a:pt x="542925" y="697296"/>
                </a:lnTo>
                <a:lnTo>
                  <a:pt x="543243" y="698251"/>
                </a:lnTo>
                <a:lnTo>
                  <a:pt x="543878" y="699841"/>
                </a:lnTo>
                <a:lnTo>
                  <a:pt x="543878" y="702067"/>
                </a:lnTo>
                <a:lnTo>
                  <a:pt x="544195" y="708429"/>
                </a:lnTo>
                <a:lnTo>
                  <a:pt x="544195" y="716063"/>
                </a:lnTo>
                <a:lnTo>
                  <a:pt x="543878" y="725287"/>
                </a:lnTo>
                <a:lnTo>
                  <a:pt x="542925" y="735466"/>
                </a:lnTo>
                <a:lnTo>
                  <a:pt x="540703" y="757413"/>
                </a:lnTo>
                <a:lnTo>
                  <a:pt x="537528" y="779042"/>
                </a:lnTo>
                <a:lnTo>
                  <a:pt x="534670" y="796536"/>
                </a:lnTo>
                <a:lnTo>
                  <a:pt x="533083" y="802898"/>
                </a:lnTo>
                <a:lnTo>
                  <a:pt x="531813" y="807669"/>
                </a:lnTo>
                <a:lnTo>
                  <a:pt x="531178" y="808623"/>
                </a:lnTo>
                <a:lnTo>
                  <a:pt x="530860" y="809577"/>
                </a:lnTo>
                <a:lnTo>
                  <a:pt x="530543" y="809577"/>
                </a:lnTo>
                <a:lnTo>
                  <a:pt x="529908" y="808623"/>
                </a:lnTo>
                <a:lnTo>
                  <a:pt x="528638" y="820392"/>
                </a:lnTo>
                <a:lnTo>
                  <a:pt x="526733" y="831525"/>
                </a:lnTo>
                <a:lnTo>
                  <a:pt x="524510" y="842657"/>
                </a:lnTo>
                <a:lnTo>
                  <a:pt x="521335" y="853154"/>
                </a:lnTo>
                <a:lnTo>
                  <a:pt x="518478" y="863650"/>
                </a:lnTo>
                <a:lnTo>
                  <a:pt x="514985" y="873829"/>
                </a:lnTo>
                <a:lnTo>
                  <a:pt x="510858" y="883689"/>
                </a:lnTo>
                <a:lnTo>
                  <a:pt x="506730" y="892913"/>
                </a:lnTo>
                <a:lnTo>
                  <a:pt x="502285" y="902138"/>
                </a:lnTo>
                <a:lnTo>
                  <a:pt x="497205" y="911044"/>
                </a:lnTo>
                <a:lnTo>
                  <a:pt x="492443" y="919314"/>
                </a:lnTo>
                <a:lnTo>
                  <a:pt x="486728" y="927584"/>
                </a:lnTo>
                <a:lnTo>
                  <a:pt x="481013" y="935536"/>
                </a:lnTo>
                <a:lnTo>
                  <a:pt x="475615" y="943170"/>
                </a:lnTo>
                <a:lnTo>
                  <a:pt x="469583" y="950167"/>
                </a:lnTo>
                <a:lnTo>
                  <a:pt x="463550" y="957165"/>
                </a:lnTo>
                <a:lnTo>
                  <a:pt x="457200" y="963209"/>
                </a:lnTo>
                <a:lnTo>
                  <a:pt x="450850" y="969252"/>
                </a:lnTo>
                <a:lnTo>
                  <a:pt x="443865" y="974659"/>
                </a:lnTo>
                <a:lnTo>
                  <a:pt x="437198" y="980067"/>
                </a:lnTo>
                <a:lnTo>
                  <a:pt x="430530" y="984838"/>
                </a:lnTo>
                <a:lnTo>
                  <a:pt x="423545" y="989609"/>
                </a:lnTo>
                <a:lnTo>
                  <a:pt x="416878" y="993744"/>
                </a:lnTo>
                <a:lnTo>
                  <a:pt x="410210" y="997243"/>
                </a:lnTo>
                <a:lnTo>
                  <a:pt x="402908" y="1000742"/>
                </a:lnTo>
                <a:lnTo>
                  <a:pt x="396240" y="1003286"/>
                </a:lnTo>
                <a:lnTo>
                  <a:pt x="389255" y="1006149"/>
                </a:lnTo>
                <a:lnTo>
                  <a:pt x="382587" y="1008057"/>
                </a:lnTo>
                <a:lnTo>
                  <a:pt x="375920" y="1009330"/>
                </a:lnTo>
                <a:lnTo>
                  <a:pt x="369252" y="1010602"/>
                </a:lnTo>
                <a:lnTo>
                  <a:pt x="362585" y="1011238"/>
                </a:lnTo>
                <a:lnTo>
                  <a:pt x="356235" y="1011238"/>
                </a:lnTo>
                <a:lnTo>
                  <a:pt x="351155" y="1011238"/>
                </a:lnTo>
                <a:lnTo>
                  <a:pt x="345440" y="1010602"/>
                </a:lnTo>
                <a:lnTo>
                  <a:pt x="339725" y="1009330"/>
                </a:lnTo>
                <a:lnTo>
                  <a:pt x="334010" y="1007421"/>
                </a:lnTo>
                <a:lnTo>
                  <a:pt x="327977" y="1005831"/>
                </a:lnTo>
                <a:lnTo>
                  <a:pt x="321945" y="1002968"/>
                </a:lnTo>
                <a:lnTo>
                  <a:pt x="315595" y="1000105"/>
                </a:lnTo>
                <a:lnTo>
                  <a:pt x="309245" y="996607"/>
                </a:lnTo>
                <a:lnTo>
                  <a:pt x="302895" y="992790"/>
                </a:lnTo>
                <a:lnTo>
                  <a:pt x="296227" y="988655"/>
                </a:lnTo>
                <a:lnTo>
                  <a:pt x="289877" y="984202"/>
                </a:lnTo>
                <a:lnTo>
                  <a:pt x="282892" y="979430"/>
                </a:lnTo>
                <a:lnTo>
                  <a:pt x="276542" y="974023"/>
                </a:lnTo>
                <a:lnTo>
                  <a:pt x="269875" y="968298"/>
                </a:lnTo>
                <a:lnTo>
                  <a:pt x="263207" y="962254"/>
                </a:lnTo>
                <a:lnTo>
                  <a:pt x="256540" y="955893"/>
                </a:lnTo>
                <a:lnTo>
                  <a:pt x="250190" y="949213"/>
                </a:lnTo>
                <a:lnTo>
                  <a:pt x="243840" y="941897"/>
                </a:lnTo>
                <a:lnTo>
                  <a:pt x="237490" y="934900"/>
                </a:lnTo>
                <a:lnTo>
                  <a:pt x="231457" y="927266"/>
                </a:lnTo>
                <a:lnTo>
                  <a:pt x="225425" y="919314"/>
                </a:lnTo>
                <a:lnTo>
                  <a:pt x="219710" y="911044"/>
                </a:lnTo>
                <a:lnTo>
                  <a:pt x="214312" y="902774"/>
                </a:lnTo>
                <a:lnTo>
                  <a:pt x="208915" y="893868"/>
                </a:lnTo>
                <a:lnTo>
                  <a:pt x="203517" y="885280"/>
                </a:lnTo>
                <a:lnTo>
                  <a:pt x="198755" y="875737"/>
                </a:lnTo>
                <a:lnTo>
                  <a:pt x="194310" y="866195"/>
                </a:lnTo>
                <a:lnTo>
                  <a:pt x="190182" y="856971"/>
                </a:lnTo>
                <a:lnTo>
                  <a:pt x="186055" y="846792"/>
                </a:lnTo>
                <a:lnTo>
                  <a:pt x="182245" y="836932"/>
                </a:lnTo>
                <a:lnTo>
                  <a:pt x="179070" y="826754"/>
                </a:lnTo>
                <a:lnTo>
                  <a:pt x="176212" y="816257"/>
                </a:lnTo>
                <a:lnTo>
                  <a:pt x="173990" y="822937"/>
                </a:lnTo>
                <a:lnTo>
                  <a:pt x="172402" y="826117"/>
                </a:lnTo>
                <a:lnTo>
                  <a:pt x="171450" y="828344"/>
                </a:lnTo>
                <a:lnTo>
                  <a:pt x="169862" y="830252"/>
                </a:lnTo>
                <a:lnTo>
                  <a:pt x="168275" y="831525"/>
                </a:lnTo>
                <a:lnTo>
                  <a:pt x="167322" y="832479"/>
                </a:lnTo>
                <a:lnTo>
                  <a:pt x="165417" y="832797"/>
                </a:lnTo>
                <a:lnTo>
                  <a:pt x="163830" y="832479"/>
                </a:lnTo>
                <a:lnTo>
                  <a:pt x="162242" y="831207"/>
                </a:lnTo>
                <a:lnTo>
                  <a:pt x="160655" y="829616"/>
                </a:lnTo>
                <a:lnTo>
                  <a:pt x="159385" y="827390"/>
                </a:lnTo>
                <a:lnTo>
                  <a:pt x="157797" y="824845"/>
                </a:lnTo>
                <a:lnTo>
                  <a:pt x="156210" y="821346"/>
                </a:lnTo>
                <a:lnTo>
                  <a:pt x="153987" y="813076"/>
                </a:lnTo>
                <a:lnTo>
                  <a:pt x="152082" y="803534"/>
                </a:lnTo>
                <a:lnTo>
                  <a:pt x="150495" y="792083"/>
                </a:lnTo>
                <a:lnTo>
                  <a:pt x="149542" y="779678"/>
                </a:lnTo>
                <a:lnTo>
                  <a:pt x="149225" y="766637"/>
                </a:lnTo>
                <a:lnTo>
                  <a:pt x="149542" y="753914"/>
                </a:lnTo>
                <a:lnTo>
                  <a:pt x="150177" y="742781"/>
                </a:lnTo>
                <a:lnTo>
                  <a:pt x="151765" y="732285"/>
                </a:lnTo>
                <a:lnTo>
                  <a:pt x="153352" y="722742"/>
                </a:lnTo>
                <a:lnTo>
                  <a:pt x="155257" y="714790"/>
                </a:lnTo>
                <a:lnTo>
                  <a:pt x="157797" y="708429"/>
                </a:lnTo>
                <a:lnTo>
                  <a:pt x="159067" y="705884"/>
                </a:lnTo>
                <a:lnTo>
                  <a:pt x="160337" y="703976"/>
                </a:lnTo>
                <a:lnTo>
                  <a:pt x="161607" y="702067"/>
                </a:lnTo>
                <a:lnTo>
                  <a:pt x="163195" y="700795"/>
                </a:lnTo>
                <a:lnTo>
                  <a:pt x="158432" y="696024"/>
                </a:lnTo>
                <a:lnTo>
                  <a:pt x="154622" y="690617"/>
                </a:lnTo>
                <a:lnTo>
                  <a:pt x="151447" y="685209"/>
                </a:lnTo>
                <a:lnTo>
                  <a:pt x="148907" y="679166"/>
                </a:lnTo>
                <a:lnTo>
                  <a:pt x="147002" y="672804"/>
                </a:lnTo>
                <a:lnTo>
                  <a:pt x="145097" y="666443"/>
                </a:lnTo>
                <a:lnTo>
                  <a:pt x="143827" y="659763"/>
                </a:lnTo>
                <a:lnTo>
                  <a:pt x="143192" y="653083"/>
                </a:lnTo>
                <a:lnTo>
                  <a:pt x="142875" y="646086"/>
                </a:lnTo>
                <a:lnTo>
                  <a:pt x="142875" y="639088"/>
                </a:lnTo>
                <a:lnTo>
                  <a:pt x="143510" y="632090"/>
                </a:lnTo>
                <a:lnTo>
                  <a:pt x="144145" y="624775"/>
                </a:lnTo>
                <a:lnTo>
                  <a:pt x="145415" y="617777"/>
                </a:lnTo>
                <a:lnTo>
                  <a:pt x="146367" y="610461"/>
                </a:lnTo>
                <a:lnTo>
                  <a:pt x="148272" y="603782"/>
                </a:lnTo>
                <a:lnTo>
                  <a:pt x="149860" y="596466"/>
                </a:lnTo>
                <a:lnTo>
                  <a:pt x="154305" y="583425"/>
                </a:lnTo>
                <a:lnTo>
                  <a:pt x="159385" y="570702"/>
                </a:lnTo>
                <a:lnTo>
                  <a:pt x="164465" y="558933"/>
                </a:lnTo>
                <a:lnTo>
                  <a:pt x="169862" y="548436"/>
                </a:lnTo>
                <a:lnTo>
                  <a:pt x="174942" y="539212"/>
                </a:lnTo>
                <a:lnTo>
                  <a:pt x="180022" y="532214"/>
                </a:lnTo>
                <a:lnTo>
                  <a:pt x="182562" y="529034"/>
                </a:lnTo>
                <a:lnTo>
                  <a:pt x="184467" y="526807"/>
                </a:lnTo>
                <a:lnTo>
                  <a:pt x="186690" y="525535"/>
                </a:lnTo>
                <a:lnTo>
                  <a:pt x="188277" y="524262"/>
                </a:lnTo>
                <a:lnTo>
                  <a:pt x="198120" y="519491"/>
                </a:lnTo>
                <a:lnTo>
                  <a:pt x="207327" y="514720"/>
                </a:lnTo>
                <a:lnTo>
                  <a:pt x="216852" y="510585"/>
                </a:lnTo>
                <a:lnTo>
                  <a:pt x="226377" y="507086"/>
                </a:lnTo>
                <a:lnTo>
                  <a:pt x="235267" y="503587"/>
                </a:lnTo>
                <a:lnTo>
                  <a:pt x="244792" y="500407"/>
                </a:lnTo>
                <a:lnTo>
                  <a:pt x="253682" y="497862"/>
                </a:lnTo>
                <a:lnTo>
                  <a:pt x="262572" y="495317"/>
                </a:lnTo>
                <a:lnTo>
                  <a:pt x="271780" y="493409"/>
                </a:lnTo>
                <a:lnTo>
                  <a:pt x="280352" y="491501"/>
                </a:lnTo>
                <a:lnTo>
                  <a:pt x="288925" y="489910"/>
                </a:lnTo>
                <a:lnTo>
                  <a:pt x="298132" y="488638"/>
                </a:lnTo>
                <a:lnTo>
                  <a:pt x="306387" y="487365"/>
                </a:lnTo>
                <a:lnTo>
                  <a:pt x="314960" y="486729"/>
                </a:lnTo>
                <a:lnTo>
                  <a:pt x="323215" y="486093"/>
                </a:lnTo>
                <a:lnTo>
                  <a:pt x="331470" y="485775"/>
                </a:lnTo>
                <a:close/>
                <a:moveTo>
                  <a:pt x="2394109" y="485775"/>
                </a:moveTo>
                <a:lnTo>
                  <a:pt x="2410607" y="485775"/>
                </a:lnTo>
                <a:lnTo>
                  <a:pt x="2418538" y="486093"/>
                </a:lnTo>
                <a:lnTo>
                  <a:pt x="2427104" y="486729"/>
                </a:lnTo>
                <a:lnTo>
                  <a:pt x="2435352" y="487365"/>
                </a:lnTo>
                <a:lnTo>
                  <a:pt x="2443918" y="488638"/>
                </a:lnTo>
                <a:lnTo>
                  <a:pt x="2452801" y="489910"/>
                </a:lnTo>
                <a:lnTo>
                  <a:pt x="2461367" y="491500"/>
                </a:lnTo>
                <a:lnTo>
                  <a:pt x="2470250" y="493409"/>
                </a:lnTo>
                <a:lnTo>
                  <a:pt x="2479451" y="495317"/>
                </a:lnTo>
                <a:lnTo>
                  <a:pt x="2488334" y="497862"/>
                </a:lnTo>
                <a:lnTo>
                  <a:pt x="2497534" y="500407"/>
                </a:lnTo>
                <a:lnTo>
                  <a:pt x="2506417" y="503587"/>
                </a:lnTo>
                <a:lnTo>
                  <a:pt x="2515935" y="507086"/>
                </a:lnTo>
                <a:lnTo>
                  <a:pt x="2525135" y="510585"/>
                </a:lnTo>
                <a:lnTo>
                  <a:pt x="2534653" y="514720"/>
                </a:lnTo>
                <a:lnTo>
                  <a:pt x="2543853" y="519491"/>
                </a:lnTo>
                <a:lnTo>
                  <a:pt x="2553371" y="524262"/>
                </a:lnTo>
                <a:lnTo>
                  <a:pt x="2555274" y="525535"/>
                </a:lnTo>
                <a:lnTo>
                  <a:pt x="2557178" y="526807"/>
                </a:lnTo>
                <a:lnTo>
                  <a:pt x="2559399" y="529033"/>
                </a:lnTo>
                <a:lnTo>
                  <a:pt x="2561620" y="532214"/>
                </a:lnTo>
                <a:lnTo>
                  <a:pt x="2566378" y="539212"/>
                </a:lnTo>
                <a:lnTo>
                  <a:pt x="2571772" y="548436"/>
                </a:lnTo>
                <a:lnTo>
                  <a:pt x="2577482" y="558933"/>
                </a:lnTo>
                <a:lnTo>
                  <a:pt x="2582558" y="570702"/>
                </a:lnTo>
                <a:lnTo>
                  <a:pt x="2587634" y="583425"/>
                </a:lnTo>
                <a:lnTo>
                  <a:pt x="2591759" y="596466"/>
                </a:lnTo>
                <a:lnTo>
                  <a:pt x="2593662" y="603782"/>
                </a:lnTo>
                <a:lnTo>
                  <a:pt x="2594931" y="610461"/>
                </a:lnTo>
                <a:lnTo>
                  <a:pt x="2596517" y="617777"/>
                </a:lnTo>
                <a:lnTo>
                  <a:pt x="2597786" y="624775"/>
                </a:lnTo>
                <a:lnTo>
                  <a:pt x="2598421" y="632090"/>
                </a:lnTo>
                <a:lnTo>
                  <a:pt x="2598738" y="639088"/>
                </a:lnTo>
                <a:lnTo>
                  <a:pt x="2598738" y="646086"/>
                </a:lnTo>
                <a:lnTo>
                  <a:pt x="2598421" y="653083"/>
                </a:lnTo>
                <a:lnTo>
                  <a:pt x="2598104" y="659763"/>
                </a:lnTo>
                <a:lnTo>
                  <a:pt x="2596517" y="666443"/>
                </a:lnTo>
                <a:lnTo>
                  <a:pt x="2594931" y="672804"/>
                </a:lnTo>
                <a:lnTo>
                  <a:pt x="2592710" y="679166"/>
                </a:lnTo>
                <a:lnTo>
                  <a:pt x="2590172" y="685209"/>
                </a:lnTo>
                <a:lnTo>
                  <a:pt x="2586683" y="690617"/>
                </a:lnTo>
                <a:lnTo>
                  <a:pt x="2583193" y="696024"/>
                </a:lnTo>
                <a:lnTo>
                  <a:pt x="2578434" y="700795"/>
                </a:lnTo>
                <a:lnTo>
                  <a:pt x="2580020" y="702067"/>
                </a:lnTo>
                <a:lnTo>
                  <a:pt x="2581607" y="703976"/>
                </a:lnTo>
                <a:lnTo>
                  <a:pt x="2582558" y="705884"/>
                </a:lnTo>
                <a:lnTo>
                  <a:pt x="2584145" y="708429"/>
                </a:lnTo>
                <a:lnTo>
                  <a:pt x="2586365" y="714790"/>
                </a:lnTo>
                <a:lnTo>
                  <a:pt x="2588269" y="722742"/>
                </a:lnTo>
                <a:lnTo>
                  <a:pt x="2590172" y="732285"/>
                </a:lnTo>
                <a:lnTo>
                  <a:pt x="2591441" y="742781"/>
                </a:lnTo>
                <a:lnTo>
                  <a:pt x="2592076" y="753914"/>
                </a:lnTo>
                <a:lnTo>
                  <a:pt x="2592393" y="766637"/>
                </a:lnTo>
                <a:lnTo>
                  <a:pt x="2592076" y="779678"/>
                </a:lnTo>
                <a:lnTo>
                  <a:pt x="2591441" y="792083"/>
                </a:lnTo>
                <a:lnTo>
                  <a:pt x="2589855" y="803534"/>
                </a:lnTo>
                <a:lnTo>
                  <a:pt x="2587634" y="813076"/>
                </a:lnTo>
                <a:lnTo>
                  <a:pt x="2585414" y="821346"/>
                </a:lnTo>
                <a:lnTo>
                  <a:pt x="2584145" y="824845"/>
                </a:lnTo>
                <a:lnTo>
                  <a:pt x="2582558" y="827390"/>
                </a:lnTo>
                <a:lnTo>
                  <a:pt x="2581289" y="829616"/>
                </a:lnTo>
                <a:lnTo>
                  <a:pt x="2579703" y="831207"/>
                </a:lnTo>
                <a:lnTo>
                  <a:pt x="2577799" y="832479"/>
                </a:lnTo>
                <a:lnTo>
                  <a:pt x="2576213" y="832797"/>
                </a:lnTo>
                <a:lnTo>
                  <a:pt x="2574627" y="832479"/>
                </a:lnTo>
                <a:lnTo>
                  <a:pt x="2573358" y="831525"/>
                </a:lnTo>
                <a:lnTo>
                  <a:pt x="2571772" y="830252"/>
                </a:lnTo>
                <a:lnTo>
                  <a:pt x="2570503" y="828344"/>
                </a:lnTo>
                <a:lnTo>
                  <a:pt x="2569234" y="826117"/>
                </a:lnTo>
                <a:lnTo>
                  <a:pt x="2567965" y="822936"/>
                </a:lnTo>
                <a:lnTo>
                  <a:pt x="2565744" y="816257"/>
                </a:lnTo>
                <a:lnTo>
                  <a:pt x="2562889" y="826753"/>
                </a:lnTo>
                <a:lnTo>
                  <a:pt x="2559399" y="836932"/>
                </a:lnTo>
                <a:lnTo>
                  <a:pt x="2555592" y="846792"/>
                </a:lnTo>
                <a:lnTo>
                  <a:pt x="2551785" y="856971"/>
                </a:lnTo>
                <a:lnTo>
                  <a:pt x="2547343" y="866195"/>
                </a:lnTo>
                <a:lnTo>
                  <a:pt x="2542902" y="875737"/>
                </a:lnTo>
                <a:lnTo>
                  <a:pt x="2537825" y="885280"/>
                </a:lnTo>
                <a:lnTo>
                  <a:pt x="2533067" y="893868"/>
                </a:lnTo>
                <a:lnTo>
                  <a:pt x="2527356" y="902774"/>
                </a:lnTo>
                <a:lnTo>
                  <a:pt x="2522280" y="911044"/>
                </a:lnTo>
                <a:lnTo>
                  <a:pt x="2516252" y="919314"/>
                </a:lnTo>
                <a:lnTo>
                  <a:pt x="2510224" y="927266"/>
                </a:lnTo>
                <a:lnTo>
                  <a:pt x="2504197" y="934900"/>
                </a:lnTo>
                <a:lnTo>
                  <a:pt x="2497851" y="941897"/>
                </a:lnTo>
                <a:lnTo>
                  <a:pt x="2491824" y="949213"/>
                </a:lnTo>
                <a:lnTo>
                  <a:pt x="2484844" y="955893"/>
                </a:lnTo>
                <a:lnTo>
                  <a:pt x="2478499" y="962254"/>
                </a:lnTo>
                <a:lnTo>
                  <a:pt x="2472154" y="968298"/>
                </a:lnTo>
                <a:lnTo>
                  <a:pt x="2465492" y="974023"/>
                </a:lnTo>
                <a:lnTo>
                  <a:pt x="2458829" y="979430"/>
                </a:lnTo>
                <a:lnTo>
                  <a:pt x="2452167" y="984202"/>
                </a:lnTo>
                <a:lnTo>
                  <a:pt x="2445505" y="988654"/>
                </a:lnTo>
                <a:lnTo>
                  <a:pt x="2439159" y="992789"/>
                </a:lnTo>
                <a:lnTo>
                  <a:pt x="2432814" y="996607"/>
                </a:lnTo>
                <a:lnTo>
                  <a:pt x="2426469" y="1000105"/>
                </a:lnTo>
                <a:lnTo>
                  <a:pt x="2420124" y="1002968"/>
                </a:lnTo>
                <a:lnTo>
                  <a:pt x="2413462" y="1005831"/>
                </a:lnTo>
                <a:lnTo>
                  <a:pt x="2408069" y="1007421"/>
                </a:lnTo>
                <a:lnTo>
                  <a:pt x="2402041" y="1009330"/>
                </a:lnTo>
                <a:lnTo>
                  <a:pt x="2396330" y="1010602"/>
                </a:lnTo>
                <a:lnTo>
                  <a:pt x="2390937" y="1011238"/>
                </a:lnTo>
                <a:lnTo>
                  <a:pt x="2385861" y="1011238"/>
                </a:lnTo>
                <a:lnTo>
                  <a:pt x="2379516" y="1011238"/>
                </a:lnTo>
                <a:lnTo>
                  <a:pt x="2372536" y="1010602"/>
                </a:lnTo>
                <a:lnTo>
                  <a:pt x="2366191" y="1009330"/>
                </a:lnTo>
                <a:lnTo>
                  <a:pt x="2359529" y="1008057"/>
                </a:lnTo>
                <a:lnTo>
                  <a:pt x="2352866" y="1006149"/>
                </a:lnTo>
                <a:lnTo>
                  <a:pt x="2345887" y="1003286"/>
                </a:lnTo>
                <a:lnTo>
                  <a:pt x="2338907" y="1000742"/>
                </a:lnTo>
                <a:lnTo>
                  <a:pt x="2331928" y="997243"/>
                </a:lnTo>
                <a:lnTo>
                  <a:pt x="2325265" y="993744"/>
                </a:lnTo>
                <a:lnTo>
                  <a:pt x="2318286" y="989609"/>
                </a:lnTo>
                <a:lnTo>
                  <a:pt x="2311306" y="984838"/>
                </a:lnTo>
                <a:lnTo>
                  <a:pt x="2304644" y="980067"/>
                </a:lnTo>
                <a:lnTo>
                  <a:pt x="2297981" y="974659"/>
                </a:lnTo>
                <a:lnTo>
                  <a:pt x="2291636" y="969252"/>
                </a:lnTo>
                <a:lnTo>
                  <a:pt x="2284974" y="963208"/>
                </a:lnTo>
                <a:lnTo>
                  <a:pt x="2278629" y="957165"/>
                </a:lnTo>
                <a:lnTo>
                  <a:pt x="2272284" y="950167"/>
                </a:lnTo>
                <a:lnTo>
                  <a:pt x="2266256" y="943170"/>
                </a:lnTo>
                <a:lnTo>
                  <a:pt x="2260545" y="935536"/>
                </a:lnTo>
                <a:lnTo>
                  <a:pt x="2255152" y="927584"/>
                </a:lnTo>
                <a:lnTo>
                  <a:pt x="2249759" y="919314"/>
                </a:lnTo>
                <a:lnTo>
                  <a:pt x="2244365" y="911044"/>
                </a:lnTo>
                <a:lnTo>
                  <a:pt x="2239924" y="902138"/>
                </a:lnTo>
                <a:lnTo>
                  <a:pt x="2235482" y="892913"/>
                </a:lnTo>
                <a:lnTo>
                  <a:pt x="2231041" y="883689"/>
                </a:lnTo>
                <a:lnTo>
                  <a:pt x="2227234" y="873829"/>
                </a:lnTo>
                <a:lnTo>
                  <a:pt x="2223744" y="863650"/>
                </a:lnTo>
                <a:lnTo>
                  <a:pt x="2220571" y="853154"/>
                </a:lnTo>
                <a:lnTo>
                  <a:pt x="2217716" y="842657"/>
                </a:lnTo>
                <a:lnTo>
                  <a:pt x="2215178" y="831525"/>
                </a:lnTo>
                <a:lnTo>
                  <a:pt x="2213275" y="820392"/>
                </a:lnTo>
                <a:lnTo>
                  <a:pt x="2211688" y="808623"/>
                </a:lnTo>
                <a:lnTo>
                  <a:pt x="2211371" y="809577"/>
                </a:lnTo>
                <a:lnTo>
                  <a:pt x="2211054" y="809577"/>
                </a:lnTo>
                <a:lnTo>
                  <a:pt x="2210737" y="808623"/>
                </a:lnTo>
                <a:lnTo>
                  <a:pt x="2210419" y="807669"/>
                </a:lnTo>
                <a:lnTo>
                  <a:pt x="2208833" y="802898"/>
                </a:lnTo>
                <a:lnTo>
                  <a:pt x="2207564" y="796536"/>
                </a:lnTo>
                <a:lnTo>
                  <a:pt x="2204391" y="779042"/>
                </a:lnTo>
                <a:lnTo>
                  <a:pt x="2201536" y="757413"/>
                </a:lnTo>
                <a:lnTo>
                  <a:pt x="2198998" y="735465"/>
                </a:lnTo>
                <a:lnTo>
                  <a:pt x="2198364" y="725287"/>
                </a:lnTo>
                <a:lnTo>
                  <a:pt x="2198046" y="716063"/>
                </a:lnTo>
                <a:lnTo>
                  <a:pt x="2197412" y="708429"/>
                </a:lnTo>
                <a:lnTo>
                  <a:pt x="2198046" y="702067"/>
                </a:lnTo>
                <a:lnTo>
                  <a:pt x="2198364" y="699841"/>
                </a:lnTo>
                <a:lnTo>
                  <a:pt x="2198681" y="698250"/>
                </a:lnTo>
                <a:lnTo>
                  <a:pt x="2199315" y="697296"/>
                </a:lnTo>
                <a:lnTo>
                  <a:pt x="2200267" y="696660"/>
                </a:lnTo>
                <a:lnTo>
                  <a:pt x="2201219" y="697296"/>
                </a:lnTo>
                <a:lnTo>
                  <a:pt x="2202488" y="697932"/>
                </a:lnTo>
                <a:lnTo>
                  <a:pt x="2204074" y="699205"/>
                </a:lnTo>
                <a:lnTo>
                  <a:pt x="2205026" y="700159"/>
                </a:lnTo>
                <a:lnTo>
                  <a:pt x="2204391" y="687118"/>
                </a:lnTo>
                <a:lnTo>
                  <a:pt x="2204074" y="673440"/>
                </a:lnTo>
                <a:lnTo>
                  <a:pt x="2204709" y="659127"/>
                </a:lnTo>
                <a:lnTo>
                  <a:pt x="2205343" y="651493"/>
                </a:lnTo>
                <a:lnTo>
                  <a:pt x="2206295" y="643541"/>
                </a:lnTo>
                <a:lnTo>
                  <a:pt x="2209150" y="646086"/>
                </a:lnTo>
                <a:lnTo>
                  <a:pt x="2212323" y="647676"/>
                </a:lnTo>
                <a:lnTo>
                  <a:pt x="2215495" y="649267"/>
                </a:lnTo>
                <a:lnTo>
                  <a:pt x="2218985" y="650539"/>
                </a:lnTo>
                <a:lnTo>
                  <a:pt x="2222475" y="651493"/>
                </a:lnTo>
                <a:lnTo>
                  <a:pt x="2225965" y="652129"/>
                </a:lnTo>
                <a:lnTo>
                  <a:pt x="2229772" y="652447"/>
                </a:lnTo>
                <a:lnTo>
                  <a:pt x="2233896" y="652447"/>
                </a:lnTo>
                <a:lnTo>
                  <a:pt x="2238020" y="652447"/>
                </a:lnTo>
                <a:lnTo>
                  <a:pt x="2242145" y="652129"/>
                </a:lnTo>
                <a:lnTo>
                  <a:pt x="2251028" y="650539"/>
                </a:lnTo>
                <a:lnTo>
                  <a:pt x="2259911" y="648312"/>
                </a:lnTo>
                <a:lnTo>
                  <a:pt x="2269746" y="645132"/>
                </a:lnTo>
                <a:lnTo>
                  <a:pt x="2279581" y="641315"/>
                </a:lnTo>
                <a:lnTo>
                  <a:pt x="2289733" y="637180"/>
                </a:lnTo>
                <a:lnTo>
                  <a:pt x="2300519" y="632726"/>
                </a:lnTo>
                <a:lnTo>
                  <a:pt x="2310989" y="627955"/>
                </a:lnTo>
                <a:lnTo>
                  <a:pt x="2333514" y="616823"/>
                </a:lnTo>
                <a:lnTo>
                  <a:pt x="2356991" y="605690"/>
                </a:lnTo>
                <a:lnTo>
                  <a:pt x="2345569" y="610461"/>
                </a:lnTo>
                <a:lnTo>
                  <a:pt x="2334466" y="615868"/>
                </a:lnTo>
                <a:lnTo>
                  <a:pt x="2324948" y="620322"/>
                </a:lnTo>
                <a:lnTo>
                  <a:pt x="2315430" y="624138"/>
                </a:lnTo>
                <a:lnTo>
                  <a:pt x="2306865" y="626683"/>
                </a:lnTo>
                <a:lnTo>
                  <a:pt x="2298616" y="628910"/>
                </a:lnTo>
                <a:lnTo>
                  <a:pt x="2290367" y="630182"/>
                </a:lnTo>
                <a:lnTo>
                  <a:pt x="2282436" y="630818"/>
                </a:lnTo>
                <a:lnTo>
                  <a:pt x="2275456" y="630818"/>
                </a:lnTo>
                <a:lnTo>
                  <a:pt x="2268160" y="630500"/>
                </a:lnTo>
                <a:lnTo>
                  <a:pt x="2261497" y="629228"/>
                </a:lnTo>
                <a:lnTo>
                  <a:pt x="2255152" y="627955"/>
                </a:lnTo>
                <a:lnTo>
                  <a:pt x="2248807" y="626047"/>
                </a:lnTo>
                <a:lnTo>
                  <a:pt x="2243096" y="623502"/>
                </a:lnTo>
                <a:lnTo>
                  <a:pt x="2237703" y="620640"/>
                </a:lnTo>
                <a:lnTo>
                  <a:pt x="2232627" y="617777"/>
                </a:lnTo>
                <a:lnTo>
                  <a:pt x="2227551" y="614278"/>
                </a:lnTo>
                <a:lnTo>
                  <a:pt x="2223109" y="610779"/>
                </a:lnTo>
                <a:lnTo>
                  <a:pt x="2218985" y="607280"/>
                </a:lnTo>
                <a:lnTo>
                  <a:pt x="2214861" y="603463"/>
                </a:lnTo>
                <a:lnTo>
                  <a:pt x="2211371" y="599647"/>
                </a:lnTo>
                <a:lnTo>
                  <a:pt x="2208198" y="595512"/>
                </a:lnTo>
                <a:lnTo>
                  <a:pt x="2202171" y="587878"/>
                </a:lnTo>
                <a:lnTo>
                  <a:pt x="2197412" y="581198"/>
                </a:lnTo>
                <a:lnTo>
                  <a:pt x="2193922" y="574837"/>
                </a:lnTo>
                <a:lnTo>
                  <a:pt x="2191701" y="569747"/>
                </a:lnTo>
                <a:lnTo>
                  <a:pt x="2189163" y="565612"/>
                </a:lnTo>
                <a:lnTo>
                  <a:pt x="2191067" y="564340"/>
                </a:lnTo>
                <a:lnTo>
                  <a:pt x="2196777" y="559569"/>
                </a:lnTo>
                <a:lnTo>
                  <a:pt x="2205343" y="552889"/>
                </a:lnTo>
                <a:lnTo>
                  <a:pt x="2217399" y="544301"/>
                </a:lnTo>
                <a:lnTo>
                  <a:pt x="2225013" y="539848"/>
                </a:lnTo>
                <a:lnTo>
                  <a:pt x="2232944" y="534759"/>
                </a:lnTo>
                <a:lnTo>
                  <a:pt x="2241510" y="529670"/>
                </a:lnTo>
                <a:lnTo>
                  <a:pt x="2251028" y="524580"/>
                </a:lnTo>
                <a:lnTo>
                  <a:pt x="2260545" y="519491"/>
                </a:lnTo>
                <a:lnTo>
                  <a:pt x="2271649" y="514402"/>
                </a:lnTo>
                <a:lnTo>
                  <a:pt x="2282753" y="509631"/>
                </a:lnTo>
                <a:lnTo>
                  <a:pt x="2294809" y="505178"/>
                </a:lnTo>
                <a:lnTo>
                  <a:pt x="2307182" y="501043"/>
                </a:lnTo>
                <a:lnTo>
                  <a:pt x="2320506" y="497226"/>
                </a:lnTo>
                <a:lnTo>
                  <a:pt x="2334466" y="493409"/>
                </a:lnTo>
                <a:lnTo>
                  <a:pt x="2348742" y="490864"/>
                </a:lnTo>
                <a:lnTo>
                  <a:pt x="2363336" y="488638"/>
                </a:lnTo>
                <a:lnTo>
                  <a:pt x="2378564" y="486729"/>
                </a:lnTo>
                <a:lnTo>
                  <a:pt x="2394109" y="485775"/>
                </a:lnTo>
                <a:close/>
                <a:moveTo>
                  <a:pt x="1429386" y="468312"/>
                </a:moveTo>
                <a:lnTo>
                  <a:pt x="1442086" y="468630"/>
                </a:lnTo>
                <a:lnTo>
                  <a:pt x="1454151" y="469899"/>
                </a:lnTo>
                <a:lnTo>
                  <a:pt x="1465898" y="471802"/>
                </a:lnTo>
                <a:lnTo>
                  <a:pt x="1477011" y="474023"/>
                </a:lnTo>
                <a:lnTo>
                  <a:pt x="1487488" y="476562"/>
                </a:lnTo>
                <a:lnTo>
                  <a:pt x="1497649" y="479734"/>
                </a:lnTo>
                <a:lnTo>
                  <a:pt x="1507491" y="482907"/>
                </a:lnTo>
                <a:lnTo>
                  <a:pt x="1516699" y="486714"/>
                </a:lnTo>
                <a:lnTo>
                  <a:pt x="1525271" y="490522"/>
                </a:lnTo>
                <a:lnTo>
                  <a:pt x="1533526" y="494646"/>
                </a:lnTo>
                <a:lnTo>
                  <a:pt x="1541146" y="498771"/>
                </a:lnTo>
                <a:lnTo>
                  <a:pt x="1547814" y="502896"/>
                </a:lnTo>
                <a:lnTo>
                  <a:pt x="1554164" y="507020"/>
                </a:lnTo>
                <a:lnTo>
                  <a:pt x="1565594" y="514952"/>
                </a:lnTo>
                <a:lnTo>
                  <a:pt x="1574166" y="522250"/>
                </a:lnTo>
                <a:lnTo>
                  <a:pt x="1580516" y="527643"/>
                </a:lnTo>
                <a:lnTo>
                  <a:pt x="1585596" y="532720"/>
                </a:lnTo>
                <a:lnTo>
                  <a:pt x="1584009" y="536527"/>
                </a:lnTo>
                <a:lnTo>
                  <a:pt x="1581469" y="540652"/>
                </a:lnTo>
                <a:lnTo>
                  <a:pt x="1578611" y="546046"/>
                </a:lnTo>
                <a:lnTo>
                  <a:pt x="1574484" y="552074"/>
                </a:lnTo>
                <a:lnTo>
                  <a:pt x="1569721" y="558419"/>
                </a:lnTo>
                <a:lnTo>
                  <a:pt x="1563054" y="565399"/>
                </a:lnTo>
                <a:lnTo>
                  <a:pt x="1559879" y="568572"/>
                </a:lnTo>
                <a:lnTo>
                  <a:pt x="1556386" y="571745"/>
                </a:lnTo>
                <a:lnTo>
                  <a:pt x="1552259" y="575235"/>
                </a:lnTo>
                <a:lnTo>
                  <a:pt x="1548131" y="577773"/>
                </a:lnTo>
                <a:lnTo>
                  <a:pt x="1543686" y="580311"/>
                </a:lnTo>
                <a:lnTo>
                  <a:pt x="1538606" y="582850"/>
                </a:lnTo>
                <a:lnTo>
                  <a:pt x="1533844" y="584753"/>
                </a:lnTo>
                <a:lnTo>
                  <a:pt x="1528446" y="586657"/>
                </a:lnTo>
                <a:lnTo>
                  <a:pt x="1523049" y="588243"/>
                </a:lnTo>
                <a:lnTo>
                  <a:pt x="1517016" y="588878"/>
                </a:lnTo>
                <a:lnTo>
                  <a:pt x="1510984" y="589512"/>
                </a:lnTo>
                <a:lnTo>
                  <a:pt x="1503999" y="589512"/>
                </a:lnTo>
                <a:lnTo>
                  <a:pt x="1497331" y="588878"/>
                </a:lnTo>
                <a:lnTo>
                  <a:pt x="1490346" y="587926"/>
                </a:lnTo>
                <a:lnTo>
                  <a:pt x="1483043" y="586022"/>
                </a:lnTo>
                <a:lnTo>
                  <a:pt x="1475106" y="583484"/>
                </a:lnTo>
                <a:lnTo>
                  <a:pt x="1467168" y="580311"/>
                </a:lnTo>
                <a:lnTo>
                  <a:pt x="1458913" y="576187"/>
                </a:lnTo>
                <a:lnTo>
                  <a:pt x="1449388" y="571745"/>
                </a:lnTo>
                <a:lnTo>
                  <a:pt x="1439546" y="567620"/>
                </a:lnTo>
                <a:lnTo>
                  <a:pt x="1479233" y="586657"/>
                </a:lnTo>
                <a:lnTo>
                  <a:pt x="1498284" y="594906"/>
                </a:lnTo>
                <a:lnTo>
                  <a:pt x="1506856" y="598714"/>
                </a:lnTo>
                <a:lnTo>
                  <a:pt x="1515746" y="601886"/>
                </a:lnTo>
                <a:lnTo>
                  <a:pt x="1524001" y="604425"/>
                </a:lnTo>
                <a:lnTo>
                  <a:pt x="1531939" y="606646"/>
                </a:lnTo>
                <a:lnTo>
                  <a:pt x="1539559" y="607915"/>
                </a:lnTo>
                <a:lnTo>
                  <a:pt x="1546544" y="608232"/>
                </a:lnTo>
                <a:lnTo>
                  <a:pt x="1550036" y="608232"/>
                </a:lnTo>
                <a:lnTo>
                  <a:pt x="1553529" y="607915"/>
                </a:lnTo>
                <a:lnTo>
                  <a:pt x="1556704" y="607280"/>
                </a:lnTo>
                <a:lnTo>
                  <a:pt x="1559879" y="606646"/>
                </a:lnTo>
                <a:lnTo>
                  <a:pt x="1562736" y="605376"/>
                </a:lnTo>
                <a:lnTo>
                  <a:pt x="1565594" y="604107"/>
                </a:lnTo>
                <a:lnTo>
                  <a:pt x="1568451" y="602521"/>
                </a:lnTo>
                <a:lnTo>
                  <a:pt x="1570674" y="600617"/>
                </a:lnTo>
                <a:lnTo>
                  <a:pt x="1571944" y="607280"/>
                </a:lnTo>
                <a:lnTo>
                  <a:pt x="1572261" y="614260"/>
                </a:lnTo>
                <a:lnTo>
                  <a:pt x="1572896" y="626634"/>
                </a:lnTo>
                <a:lnTo>
                  <a:pt x="1572579" y="638691"/>
                </a:lnTo>
                <a:lnTo>
                  <a:pt x="1572261" y="649795"/>
                </a:lnTo>
                <a:lnTo>
                  <a:pt x="1574166" y="647574"/>
                </a:lnTo>
                <a:lnTo>
                  <a:pt x="1575119" y="647257"/>
                </a:lnTo>
                <a:lnTo>
                  <a:pt x="1576389" y="646940"/>
                </a:lnTo>
                <a:lnTo>
                  <a:pt x="1577976" y="647257"/>
                </a:lnTo>
                <a:lnTo>
                  <a:pt x="1578929" y="647892"/>
                </a:lnTo>
                <a:lnTo>
                  <a:pt x="1580516" y="649478"/>
                </a:lnTo>
                <a:lnTo>
                  <a:pt x="1582104" y="651382"/>
                </a:lnTo>
                <a:lnTo>
                  <a:pt x="1583056" y="653920"/>
                </a:lnTo>
                <a:lnTo>
                  <a:pt x="1584326" y="656775"/>
                </a:lnTo>
                <a:lnTo>
                  <a:pt x="1586549" y="663756"/>
                </a:lnTo>
                <a:lnTo>
                  <a:pt x="1588136" y="672322"/>
                </a:lnTo>
                <a:lnTo>
                  <a:pt x="1589406" y="682158"/>
                </a:lnTo>
                <a:lnTo>
                  <a:pt x="1590359" y="692945"/>
                </a:lnTo>
                <a:lnTo>
                  <a:pt x="1590676" y="704685"/>
                </a:lnTo>
                <a:lnTo>
                  <a:pt x="1590359" y="716424"/>
                </a:lnTo>
                <a:lnTo>
                  <a:pt x="1589406" y="727211"/>
                </a:lnTo>
                <a:lnTo>
                  <a:pt x="1588136" y="737047"/>
                </a:lnTo>
                <a:lnTo>
                  <a:pt x="1586549" y="745613"/>
                </a:lnTo>
                <a:lnTo>
                  <a:pt x="1584326" y="752911"/>
                </a:lnTo>
                <a:lnTo>
                  <a:pt x="1583056" y="755449"/>
                </a:lnTo>
                <a:lnTo>
                  <a:pt x="1582104" y="757987"/>
                </a:lnTo>
                <a:lnTo>
                  <a:pt x="1580516" y="759891"/>
                </a:lnTo>
                <a:lnTo>
                  <a:pt x="1578929" y="761477"/>
                </a:lnTo>
                <a:lnTo>
                  <a:pt x="1577976" y="762112"/>
                </a:lnTo>
                <a:lnTo>
                  <a:pt x="1576389" y="762429"/>
                </a:lnTo>
                <a:lnTo>
                  <a:pt x="1574801" y="762112"/>
                </a:lnTo>
                <a:lnTo>
                  <a:pt x="1573214" y="761160"/>
                </a:lnTo>
                <a:lnTo>
                  <a:pt x="1571944" y="759573"/>
                </a:lnTo>
                <a:lnTo>
                  <a:pt x="1570674" y="757670"/>
                </a:lnTo>
                <a:lnTo>
                  <a:pt x="1569086" y="755131"/>
                </a:lnTo>
                <a:lnTo>
                  <a:pt x="1568134" y="751641"/>
                </a:lnTo>
                <a:lnTo>
                  <a:pt x="1565911" y="744027"/>
                </a:lnTo>
                <a:lnTo>
                  <a:pt x="1564641" y="754180"/>
                </a:lnTo>
                <a:lnTo>
                  <a:pt x="1562736" y="764015"/>
                </a:lnTo>
                <a:lnTo>
                  <a:pt x="1560831" y="773851"/>
                </a:lnTo>
                <a:lnTo>
                  <a:pt x="1558291" y="782735"/>
                </a:lnTo>
                <a:lnTo>
                  <a:pt x="1555751" y="792253"/>
                </a:lnTo>
                <a:lnTo>
                  <a:pt x="1552576" y="800819"/>
                </a:lnTo>
                <a:lnTo>
                  <a:pt x="1549401" y="809703"/>
                </a:lnTo>
                <a:lnTo>
                  <a:pt x="1545591" y="817953"/>
                </a:lnTo>
                <a:lnTo>
                  <a:pt x="1541781" y="825567"/>
                </a:lnTo>
                <a:lnTo>
                  <a:pt x="1537336" y="833182"/>
                </a:lnTo>
                <a:lnTo>
                  <a:pt x="1532574" y="840797"/>
                </a:lnTo>
                <a:lnTo>
                  <a:pt x="1528129" y="847777"/>
                </a:lnTo>
                <a:lnTo>
                  <a:pt x="1523366" y="854757"/>
                </a:lnTo>
                <a:lnTo>
                  <a:pt x="1518286" y="861102"/>
                </a:lnTo>
                <a:lnTo>
                  <a:pt x="1513206" y="867448"/>
                </a:lnTo>
                <a:lnTo>
                  <a:pt x="1507491" y="873476"/>
                </a:lnTo>
                <a:lnTo>
                  <a:pt x="1502411" y="878553"/>
                </a:lnTo>
                <a:lnTo>
                  <a:pt x="1496696" y="883946"/>
                </a:lnTo>
                <a:lnTo>
                  <a:pt x="1490663" y="889340"/>
                </a:lnTo>
                <a:lnTo>
                  <a:pt x="1484948" y="893782"/>
                </a:lnTo>
                <a:lnTo>
                  <a:pt x="1478916" y="897907"/>
                </a:lnTo>
                <a:lnTo>
                  <a:pt x="1472883" y="901714"/>
                </a:lnTo>
                <a:lnTo>
                  <a:pt x="1466851" y="905521"/>
                </a:lnTo>
                <a:lnTo>
                  <a:pt x="1460818" y="908377"/>
                </a:lnTo>
                <a:lnTo>
                  <a:pt x="1454786" y="911232"/>
                </a:lnTo>
                <a:lnTo>
                  <a:pt x="1448753" y="914088"/>
                </a:lnTo>
                <a:lnTo>
                  <a:pt x="1442721" y="915991"/>
                </a:lnTo>
                <a:lnTo>
                  <a:pt x="1437323" y="917895"/>
                </a:lnTo>
                <a:lnTo>
                  <a:pt x="1431291" y="918847"/>
                </a:lnTo>
                <a:lnTo>
                  <a:pt x="1425576" y="920116"/>
                </a:lnTo>
                <a:lnTo>
                  <a:pt x="1419861" y="920751"/>
                </a:lnTo>
                <a:lnTo>
                  <a:pt x="1414146" y="920751"/>
                </a:lnTo>
                <a:lnTo>
                  <a:pt x="1409701" y="920751"/>
                </a:lnTo>
                <a:lnTo>
                  <a:pt x="1404938" y="920116"/>
                </a:lnTo>
                <a:lnTo>
                  <a:pt x="1399858" y="918847"/>
                </a:lnTo>
                <a:lnTo>
                  <a:pt x="1394778" y="917260"/>
                </a:lnTo>
                <a:lnTo>
                  <a:pt x="1389381" y="915357"/>
                </a:lnTo>
                <a:lnTo>
                  <a:pt x="1384301" y="913770"/>
                </a:lnTo>
                <a:lnTo>
                  <a:pt x="1378903" y="910915"/>
                </a:lnTo>
                <a:lnTo>
                  <a:pt x="1373188" y="908059"/>
                </a:lnTo>
                <a:lnTo>
                  <a:pt x="1367791" y="904569"/>
                </a:lnTo>
                <a:lnTo>
                  <a:pt x="1362076" y="900762"/>
                </a:lnTo>
                <a:lnTo>
                  <a:pt x="1356043" y="896955"/>
                </a:lnTo>
                <a:lnTo>
                  <a:pt x="1350328" y="892513"/>
                </a:lnTo>
                <a:lnTo>
                  <a:pt x="1344296" y="888071"/>
                </a:lnTo>
                <a:lnTo>
                  <a:pt x="1338581" y="883312"/>
                </a:lnTo>
                <a:lnTo>
                  <a:pt x="1333183" y="877918"/>
                </a:lnTo>
                <a:lnTo>
                  <a:pt x="1327468" y="872207"/>
                </a:lnTo>
                <a:lnTo>
                  <a:pt x="1321753" y="866813"/>
                </a:lnTo>
                <a:lnTo>
                  <a:pt x="1316038" y="860151"/>
                </a:lnTo>
                <a:lnTo>
                  <a:pt x="1310641" y="854122"/>
                </a:lnTo>
                <a:lnTo>
                  <a:pt x="1305243" y="847459"/>
                </a:lnTo>
                <a:lnTo>
                  <a:pt x="1299846" y="840797"/>
                </a:lnTo>
                <a:lnTo>
                  <a:pt x="1295083" y="833499"/>
                </a:lnTo>
                <a:lnTo>
                  <a:pt x="1290321" y="826202"/>
                </a:lnTo>
                <a:lnTo>
                  <a:pt x="1285558" y="818587"/>
                </a:lnTo>
                <a:lnTo>
                  <a:pt x="1281113" y="810655"/>
                </a:lnTo>
                <a:lnTo>
                  <a:pt x="1276668" y="802723"/>
                </a:lnTo>
                <a:lnTo>
                  <a:pt x="1272858" y="794474"/>
                </a:lnTo>
                <a:lnTo>
                  <a:pt x="1269048" y="786225"/>
                </a:lnTo>
                <a:lnTo>
                  <a:pt x="1265238" y="777658"/>
                </a:lnTo>
                <a:lnTo>
                  <a:pt x="1262381" y="768457"/>
                </a:lnTo>
                <a:lnTo>
                  <a:pt x="1259523" y="759891"/>
                </a:lnTo>
                <a:lnTo>
                  <a:pt x="1256983" y="751007"/>
                </a:lnTo>
                <a:lnTo>
                  <a:pt x="1254761" y="757035"/>
                </a:lnTo>
                <a:lnTo>
                  <a:pt x="1252538" y="761477"/>
                </a:lnTo>
                <a:lnTo>
                  <a:pt x="1251586" y="763063"/>
                </a:lnTo>
                <a:lnTo>
                  <a:pt x="1250316" y="764015"/>
                </a:lnTo>
                <a:lnTo>
                  <a:pt x="1248728" y="764967"/>
                </a:lnTo>
                <a:lnTo>
                  <a:pt x="1247776" y="765284"/>
                </a:lnTo>
                <a:lnTo>
                  <a:pt x="1246188" y="764967"/>
                </a:lnTo>
                <a:lnTo>
                  <a:pt x="1244601" y="764015"/>
                </a:lnTo>
                <a:lnTo>
                  <a:pt x="1243648" y="762429"/>
                </a:lnTo>
                <a:lnTo>
                  <a:pt x="1242061" y="760842"/>
                </a:lnTo>
                <a:lnTo>
                  <a:pt x="1240791" y="758304"/>
                </a:lnTo>
                <a:lnTo>
                  <a:pt x="1239838" y="755449"/>
                </a:lnTo>
                <a:lnTo>
                  <a:pt x="1237616" y="748151"/>
                </a:lnTo>
                <a:lnTo>
                  <a:pt x="1236028" y="739585"/>
                </a:lnTo>
                <a:lnTo>
                  <a:pt x="1234441" y="729749"/>
                </a:lnTo>
                <a:lnTo>
                  <a:pt x="1233806" y="718962"/>
                </a:lnTo>
                <a:lnTo>
                  <a:pt x="1233488" y="707223"/>
                </a:lnTo>
                <a:lnTo>
                  <a:pt x="1233806" y="695801"/>
                </a:lnTo>
                <a:lnTo>
                  <a:pt x="1234441" y="684696"/>
                </a:lnTo>
                <a:lnTo>
                  <a:pt x="1236028" y="675178"/>
                </a:lnTo>
                <a:lnTo>
                  <a:pt x="1237616" y="666294"/>
                </a:lnTo>
                <a:lnTo>
                  <a:pt x="1239838" y="659631"/>
                </a:lnTo>
                <a:lnTo>
                  <a:pt x="1240791" y="656775"/>
                </a:lnTo>
                <a:lnTo>
                  <a:pt x="1242061" y="653920"/>
                </a:lnTo>
                <a:lnTo>
                  <a:pt x="1243648" y="652016"/>
                </a:lnTo>
                <a:lnTo>
                  <a:pt x="1244601" y="651064"/>
                </a:lnTo>
                <a:lnTo>
                  <a:pt x="1246188" y="649795"/>
                </a:lnTo>
                <a:lnTo>
                  <a:pt x="1247776" y="649478"/>
                </a:lnTo>
                <a:lnTo>
                  <a:pt x="1248411" y="649795"/>
                </a:lnTo>
                <a:lnTo>
                  <a:pt x="1249363" y="650113"/>
                </a:lnTo>
                <a:lnTo>
                  <a:pt x="1249681" y="642815"/>
                </a:lnTo>
                <a:lnTo>
                  <a:pt x="1250316" y="635201"/>
                </a:lnTo>
                <a:lnTo>
                  <a:pt x="1250951" y="628220"/>
                </a:lnTo>
                <a:lnTo>
                  <a:pt x="1252221" y="622192"/>
                </a:lnTo>
                <a:lnTo>
                  <a:pt x="1251586" y="613943"/>
                </a:lnTo>
                <a:lnTo>
                  <a:pt x="1250951" y="606328"/>
                </a:lnTo>
                <a:lnTo>
                  <a:pt x="1250951" y="599031"/>
                </a:lnTo>
                <a:lnTo>
                  <a:pt x="1251586" y="592368"/>
                </a:lnTo>
                <a:lnTo>
                  <a:pt x="1251903" y="586022"/>
                </a:lnTo>
                <a:lnTo>
                  <a:pt x="1252856" y="579994"/>
                </a:lnTo>
                <a:lnTo>
                  <a:pt x="1254126" y="574283"/>
                </a:lnTo>
                <a:lnTo>
                  <a:pt x="1255713" y="569207"/>
                </a:lnTo>
                <a:lnTo>
                  <a:pt x="1257618" y="564130"/>
                </a:lnTo>
                <a:lnTo>
                  <a:pt x="1259841" y="559688"/>
                </a:lnTo>
                <a:lnTo>
                  <a:pt x="1262063" y="555564"/>
                </a:lnTo>
                <a:lnTo>
                  <a:pt x="1264603" y="551756"/>
                </a:lnTo>
                <a:lnTo>
                  <a:pt x="1267143" y="548266"/>
                </a:lnTo>
                <a:lnTo>
                  <a:pt x="1270636" y="545411"/>
                </a:lnTo>
                <a:lnTo>
                  <a:pt x="1273811" y="542873"/>
                </a:lnTo>
                <a:lnTo>
                  <a:pt x="1277303" y="540017"/>
                </a:lnTo>
                <a:lnTo>
                  <a:pt x="1261746" y="540017"/>
                </a:lnTo>
                <a:lnTo>
                  <a:pt x="1249363" y="540969"/>
                </a:lnTo>
                <a:lnTo>
                  <a:pt x="1239203" y="541286"/>
                </a:lnTo>
                <a:lnTo>
                  <a:pt x="1246188" y="537479"/>
                </a:lnTo>
                <a:lnTo>
                  <a:pt x="1253808" y="532720"/>
                </a:lnTo>
                <a:lnTo>
                  <a:pt x="1261111" y="527326"/>
                </a:lnTo>
                <a:lnTo>
                  <a:pt x="1268413" y="521615"/>
                </a:lnTo>
                <a:lnTo>
                  <a:pt x="1282701" y="511145"/>
                </a:lnTo>
                <a:lnTo>
                  <a:pt x="1289368" y="506703"/>
                </a:lnTo>
                <a:lnTo>
                  <a:pt x="1295401" y="502896"/>
                </a:lnTo>
                <a:lnTo>
                  <a:pt x="1303973" y="498771"/>
                </a:lnTo>
                <a:lnTo>
                  <a:pt x="1311911" y="494964"/>
                </a:lnTo>
                <a:lnTo>
                  <a:pt x="1320166" y="491156"/>
                </a:lnTo>
                <a:lnTo>
                  <a:pt x="1328103" y="487984"/>
                </a:lnTo>
                <a:lnTo>
                  <a:pt x="1336041" y="484811"/>
                </a:lnTo>
                <a:lnTo>
                  <a:pt x="1343978" y="482273"/>
                </a:lnTo>
                <a:lnTo>
                  <a:pt x="1359536" y="477831"/>
                </a:lnTo>
                <a:lnTo>
                  <a:pt x="1374141" y="474023"/>
                </a:lnTo>
                <a:lnTo>
                  <a:pt x="1388746" y="471485"/>
                </a:lnTo>
                <a:lnTo>
                  <a:pt x="1402716" y="469581"/>
                </a:lnTo>
                <a:lnTo>
                  <a:pt x="1416051" y="468630"/>
                </a:lnTo>
                <a:lnTo>
                  <a:pt x="1429386" y="468312"/>
                </a:lnTo>
                <a:close/>
                <a:moveTo>
                  <a:pt x="750948" y="302529"/>
                </a:moveTo>
                <a:lnTo>
                  <a:pt x="748724" y="302846"/>
                </a:lnTo>
                <a:lnTo>
                  <a:pt x="746818" y="303797"/>
                </a:lnTo>
                <a:lnTo>
                  <a:pt x="744912" y="304431"/>
                </a:lnTo>
                <a:lnTo>
                  <a:pt x="743641" y="306017"/>
                </a:lnTo>
                <a:lnTo>
                  <a:pt x="742053" y="307602"/>
                </a:lnTo>
                <a:lnTo>
                  <a:pt x="741417" y="309188"/>
                </a:lnTo>
                <a:lnTo>
                  <a:pt x="740464" y="311725"/>
                </a:lnTo>
                <a:lnTo>
                  <a:pt x="740464" y="313310"/>
                </a:lnTo>
                <a:lnTo>
                  <a:pt x="740464" y="315847"/>
                </a:lnTo>
                <a:lnTo>
                  <a:pt x="741417" y="318067"/>
                </a:lnTo>
                <a:lnTo>
                  <a:pt x="742053" y="319970"/>
                </a:lnTo>
                <a:lnTo>
                  <a:pt x="743641" y="321238"/>
                </a:lnTo>
                <a:lnTo>
                  <a:pt x="744912" y="322507"/>
                </a:lnTo>
                <a:lnTo>
                  <a:pt x="746818" y="323458"/>
                </a:lnTo>
                <a:lnTo>
                  <a:pt x="748724" y="324410"/>
                </a:lnTo>
                <a:lnTo>
                  <a:pt x="750948" y="324410"/>
                </a:lnTo>
                <a:lnTo>
                  <a:pt x="988881" y="324410"/>
                </a:lnTo>
                <a:lnTo>
                  <a:pt x="991105" y="324410"/>
                </a:lnTo>
                <a:lnTo>
                  <a:pt x="993011" y="323458"/>
                </a:lnTo>
                <a:lnTo>
                  <a:pt x="994917" y="322507"/>
                </a:lnTo>
                <a:lnTo>
                  <a:pt x="996506" y="321238"/>
                </a:lnTo>
                <a:lnTo>
                  <a:pt x="997776" y="319970"/>
                </a:lnTo>
                <a:lnTo>
                  <a:pt x="998729" y="318067"/>
                </a:lnTo>
                <a:lnTo>
                  <a:pt x="999365" y="315847"/>
                </a:lnTo>
                <a:lnTo>
                  <a:pt x="999365" y="313310"/>
                </a:lnTo>
                <a:lnTo>
                  <a:pt x="999365" y="311725"/>
                </a:lnTo>
                <a:lnTo>
                  <a:pt x="998729" y="309188"/>
                </a:lnTo>
                <a:lnTo>
                  <a:pt x="997776" y="307602"/>
                </a:lnTo>
                <a:lnTo>
                  <a:pt x="996506" y="306017"/>
                </a:lnTo>
                <a:lnTo>
                  <a:pt x="994917" y="304431"/>
                </a:lnTo>
                <a:lnTo>
                  <a:pt x="993011" y="303797"/>
                </a:lnTo>
                <a:lnTo>
                  <a:pt x="991105" y="302846"/>
                </a:lnTo>
                <a:lnTo>
                  <a:pt x="988881" y="302529"/>
                </a:lnTo>
                <a:lnTo>
                  <a:pt x="750948" y="302529"/>
                </a:lnTo>
                <a:close/>
                <a:moveTo>
                  <a:pt x="748724" y="219444"/>
                </a:moveTo>
                <a:lnTo>
                  <a:pt x="746818" y="220396"/>
                </a:lnTo>
                <a:lnTo>
                  <a:pt x="744912" y="221347"/>
                </a:lnTo>
                <a:lnTo>
                  <a:pt x="743641" y="222615"/>
                </a:lnTo>
                <a:lnTo>
                  <a:pt x="742053" y="224201"/>
                </a:lnTo>
                <a:lnTo>
                  <a:pt x="741417" y="226104"/>
                </a:lnTo>
                <a:lnTo>
                  <a:pt x="740464" y="228323"/>
                </a:lnTo>
                <a:lnTo>
                  <a:pt x="740464" y="230543"/>
                </a:lnTo>
                <a:lnTo>
                  <a:pt x="740464" y="232763"/>
                </a:lnTo>
                <a:lnTo>
                  <a:pt x="741417" y="234666"/>
                </a:lnTo>
                <a:lnTo>
                  <a:pt x="742053" y="236568"/>
                </a:lnTo>
                <a:lnTo>
                  <a:pt x="743641" y="237837"/>
                </a:lnTo>
                <a:lnTo>
                  <a:pt x="744912" y="239423"/>
                </a:lnTo>
                <a:lnTo>
                  <a:pt x="746818" y="240374"/>
                </a:lnTo>
                <a:lnTo>
                  <a:pt x="748724" y="241008"/>
                </a:lnTo>
                <a:lnTo>
                  <a:pt x="750948" y="241325"/>
                </a:lnTo>
                <a:lnTo>
                  <a:pt x="1133738" y="241325"/>
                </a:lnTo>
                <a:lnTo>
                  <a:pt x="1135644" y="241008"/>
                </a:lnTo>
                <a:lnTo>
                  <a:pt x="1137868" y="240374"/>
                </a:lnTo>
                <a:lnTo>
                  <a:pt x="1139456" y="239423"/>
                </a:lnTo>
                <a:lnTo>
                  <a:pt x="1141045" y="237837"/>
                </a:lnTo>
                <a:lnTo>
                  <a:pt x="1142316" y="236568"/>
                </a:lnTo>
                <a:lnTo>
                  <a:pt x="1143586" y="234666"/>
                </a:lnTo>
                <a:lnTo>
                  <a:pt x="1143904" y="232763"/>
                </a:lnTo>
                <a:lnTo>
                  <a:pt x="1144222" y="230543"/>
                </a:lnTo>
                <a:lnTo>
                  <a:pt x="1143904" y="228323"/>
                </a:lnTo>
                <a:lnTo>
                  <a:pt x="1143586" y="226104"/>
                </a:lnTo>
                <a:lnTo>
                  <a:pt x="1142316" y="224201"/>
                </a:lnTo>
                <a:lnTo>
                  <a:pt x="1141045" y="222615"/>
                </a:lnTo>
                <a:lnTo>
                  <a:pt x="1139456" y="221347"/>
                </a:lnTo>
                <a:lnTo>
                  <a:pt x="1137868" y="220396"/>
                </a:lnTo>
                <a:lnTo>
                  <a:pt x="1135644" y="219444"/>
                </a:lnTo>
                <a:lnTo>
                  <a:pt x="1133738" y="219444"/>
                </a:lnTo>
                <a:lnTo>
                  <a:pt x="750948" y="219444"/>
                </a:lnTo>
                <a:lnTo>
                  <a:pt x="748724" y="219444"/>
                </a:lnTo>
                <a:close/>
                <a:moveTo>
                  <a:pt x="748724" y="141751"/>
                </a:moveTo>
                <a:lnTo>
                  <a:pt x="746818" y="142702"/>
                </a:lnTo>
                <a:lnTo>
                  <a:pt x="744912" y="143336"/>
                </a:lnTo>
                <a:lnTo>
                  <a:pt x="743641" y="144922"/>
                </a:lnTo>
                <a:lnTo>
                  <a:pt x="742053" y="146191"/>
                </a:lnTo>
                <a:lnTo>
                  <a:pt x="741417" y="148093"/>
                </a:lnTo>
                <a:lnTo>
                  <a:pt x="740464" y="150630"/>
                </a:lnTo>
                <a:lnTo>
                  <a:pt x="740464" y="152216"/>
                </a:lnTo>
                <a:lnTo>
                  <a:pt x="740464" y="154753"/>
                </a:lnTo>
                <a:lnTo>
                  <a:pt x="741417" y="156972"/>
                </a:lnTo>
                <a:lnTo>
                  <a:pt x="742053" y="158875"/>
                </a:lnTo>
                <a:lnTo>
                  <a:pt x="743641" y="160144"/>
                </a:lnTo>
                <a:lnTo>
                  <a:pt x="744912" y="161729"/>
                </a:lnTo>
                <a:lnTo>
                  <a:pt x="746818" y="162363"/>
                </a:lnTo>
                <a:lnTo>
                  <a:pt x="748724" y="163315"/>
                </a:lnTo>
                <a:lnTo>
                  <a:pt x="750948" y="163315"/>
                </a:lnTo>
                <a:lnTo>
                  <a:pt x="1133738" y="163315"/>
                </a:lnTo>
                <a:lnTo>
                  <a:pt x="1135644" y="163315"/>
                </a:lnTo>
                <a:lnTo>
                  <a:pt x="1137868" y="162363"/>
                </a:lnTo>
                <a:lnTo>
                  <a:pt x="1139456" y="161729"/>
                </a:lnTo>
                <a:lnTo>
                  <a:pt x="1141045" y="160144"/>
                </a:lnTo>
                <a:lnTo>
                  <a:pt x="1142316" y="158875"/>
                </a:lnTo>
                <a:lnTo>
                  <a:pt x="1143586" y="156972"/>
                </a:lnTo>
                <a:lnTo>
                  <a:pt x="1143904" y="154753"/>
                </a:lnTo>
                <a:lnTo>
                  <a:pt x="1144222" y="152216"/>
                </a:lnTo>
                <a:lnTo>
                  <a:pt x="1143904" y="150630"/>
                </a:lnTo>
                <a:lnTo>
                  <a:pt x="1143586" y="148093"/>
                </a:lnTo>
                <a:lnTo>
                  <a:pt x="1142316" y="146191"/>
                </a:lnTo>
                <a:lnTo>
                  <a:pt x="1141045" y="144922"/>
                </a:lnTo>
                <a:lnTo>
                  <a:pt x="1139456" y="143336"/>
                </a:lnTo>
                <a:lnTo>
                  <a:pt x="1137868" y="142702"/>
                </a:lnTo>
                <a:lnTo>
                  <a:pt x="1135644" y="141751"/>
                </a:lnTo>
                <a:lnTo>
                  <a:pt x="1133738" y="141751"/>
                </a:lnTo>
                <a:lnTo>
                  <a:pt x="750948" y="141751"/>
                </a:lnTo>
                <a:lnTo>
                  <a:pt x="748724" y="141751"/>
                </a:lnTo>
                <a:close/>
                <a:moveTo>
                  <a:pt x="789068" y="0"/>
                </a:moveTo>
                <a:lnTo>
                  <a:pt x="1085770" y="0"/>
                </a:lnTo>
                <a:lnTo>
                  <a:pt x="1093712" y="317"/>
                </a:lnTo>
                <a:lnTo>
                  <a:pt x="1101336" y="635"/>
                </a:lnTo>
                <a:lnTo>
                  <a:pt x="1108960" y="1903"/>
                </a:lnTo>
                <a:lnTo>
                  <a:pt x="1116267" y="2854"/>
                </a:lnTo>
                <a:lnTo>
                  <a:pt x="1123573" y="4757"/>
                </a:lnTo>
                <a:lnTo>
                  <a:pt x="1130562" y="6660"/>
                </a:lnTo>
                <a:lnTo>
                  <a:pt x="1137868" y="8879"/>
                </a:lnTo>
                <a:lnTo>
                  <a:pt x="1144539" y="12051"/>
                </a:lnTo>
                <a:lnTo>
                  <a:pt x="1151210" y="14905"/>
                </a:lnTo>
                <a:lnTo>
                  <a:pt x="1157881" y="18393"/>
                </a:lnTo>
                <a:lnTo>
                  <a:pt x="1164235" y="21564"/>
                </a:lnTo>
                <a:lnTo>
                  <a:pt x="1170270" y="25687"/>
                </a:lnTo>
                <a:lnTo>
                  <a:pt x="1176306" y="29809"/>
                </a:lnTo>
                <a:lnTo>
                  <a:pt x="1181706" y="34566"/>
                </a:lnTo>
                <a:lnTo>
                  <a:pt x="1187424" y="39006"/>
                </a:lnTo>
                <a:lnTo>
                  <a:pt x="1192507" y="44079"/>
                </a:lnTo>
                <a:lnTo>
                  <a:pt x="1197590" y="49153"/>
                </a:lnTo>
                <a:lnTo>
                  <a:pt x="1202037" y="54861"/>
                </a:lnTo>
                <a:lnTo>
                  <a:pt x="1206802" y="60252"/>
                </a:lnTo>
                <a:lnTo>
                  <a:pt x="1210932" y="66277"/>
                </a:lnTo>
                <a:lnTo>
                  <a:pt x="1215062" y="72303"/>
                </a:lnTo>
                <a:lnTo>
                  <a:pt x="1218238" y="78645"/>
                </a:lnTo>
                <a:lnTo>
                  <a:pt x="1221733" y="84987"/>
                </a:lnTo>
                <a:lnTo>
                  <a:pt x="1224592" y="91964"/>
                </a:lnTo>
                <a:lnTo>
                  <a:pt x="1227768" y="98623"/>
                </a:lnTo>
                <a:lnTo>
                  <a:pt x="1229992" y="105917"/>
                </a:lnTo>
                <a:lnTo>
                  <a:pt x="1231898" y="112893"/>
                </a:lnTo>
                <a:lnTo>
                  <a:pt x="1233804" y="120187"/>
                </a:lnTo>
                <a:lnTo>
                  <a:pt x="1234757" y="127481"/>
                </a:lnTo>
                <a:lnTo>
                  <a:pt x="1236028" y="135092"/>
                </a:lnTo>
                <a:lnTo>
                  <a:pt x="1236345" y="143019"/>
                </a:lnTo>
                <a:lnTo>
                  <a:pt x="1236663" y="150630"/>
                </a:lnTo>
                <a:lnTo>
                  <a:pt x="1236663" y="296186"/>
                </a:lnTo>
                <a:lnTo>
                  <a:pt x="1236345" y="303797"/>
                </a:lnTo>
                <a:lnTo>
                  <a:pt x="1236028" y="311725"/>
                </a:lnTo>
                <a:lnTo>
                  <a:pt x="1234757" y="319019"/>
                </a:lnTo>
                <a:lnTo>
                  <a:pt x="1233804" y="326629"/>
                </a:lnTo>
                <a:lnTo>
                  <a:pt x="1231898" y="333606"/>
                </a:lnTo>
                <a:lnTo>
                  <a:pt x="1229992" y="340900"/>
                </a:lnTo>
                <a:lnTo>
                  <a:pt x="1227768" y="347876"/>
                </a:lnTo>
                <a:lnTo>
                  <a:pt x="1224592" y="354853"/>
                </a:lnTo>
                <a:lnTo>
                  <a:pt x="1221733" y="361512"/>
                </a:lnTo>
                <a:lnTo>
                  <a:pt x="1218238" y="367854"/>
                </a:lnTo>
                <a:lnTo>
                  <a:pt x="1215062" y="374197"/>
                </a:lnTo>
                <a:lnTo>
                  <a:pt x="1210932" y="380222"/>
                </a:lnTo>
                <a:lnTo>
                  <a:pt x="1206802" y="386247"/>
                </a:lnTo>
                <a:lnTo>
                  <a:pt x="1202037" y="391955"/>
                </a:lnTo>
                <a:lnTo>
                  <a:pt x="1197590" y="397346"/>
                </a:lnTo>
                <a:lnTo>
                  <a:pt x="1192507" y="402420"/>
                </a:lnTo>
                <a:lnTo>
                  <a:pt x="1187424" y="407811"/>
                </a:lnTo>
                <a:lnTo>
                  <a:pt x="1181706" y="412251"/>
                </a:lnTo>
                <a:lnTo>
                  <a:pt x="1176306" y="416690"/>
                </a:lnTo>
                <a:lnTo>
                  <a:pt x="1170270" y="420813"/>
                </a:lnTo>
                <a:lnTo>
                  <a:pt x="1164235" y="424935"/>
                </a:lnTo>
                <a:lnTo>
                  <a:pt x="1157881" y="428423"/>
                </a:lnTo>
                <a:lnTo>
                  <a:pt x="1151210" y="431912"/>
                </a:lnTo>
                <a:lnTo>
                  <a:pt x="1144539" y="434766"/>
                </a:lnTo>
                <a:lnTo>
                  <a:pt x="1137868" y="437303"/>
                </a:lnTo>
                <a:lnTo>
                  <a:pt x="1130562" y="440157"/>
                </a:lnTo>
                <a:lnTo>
                  <a:pt x="1123573" y="442059"/>
                </a:lnTo>
                <a:lnTo>
                  <a:pt x="1116267" y="443645"/>
                </a:lnTo>
                <a:lnTo>
                  <a:pt x="1108960" y="444914"/>
                </a:lnTo>
                <a:lnTo>
                  <a:pt x="1101336" y="446182"/>
                </a:lnTo>
                <a:lnTo>
                  <a:pt x="1093712" y="446499"/>
                </a:lnTo>
                <a:lnTo>
                  <a:pt x="1085770" y="446816"/>
                </a:lnTo>
                <a:lnTo>
                  <a:pt x="1060675" y="446816"/>
                </a:lnTo>
                <a:lnTo>
                  <a:pt x="1084500" y="523875"/>
                </a:lnTo>
                <a:lnTo>
                  <a:pt x="945996" y="446816"/>
                </a:lnTo>
                <a:lnTo>
                  <a:pt x="789068" y="446816"/>
                </a:lnTo>
                <a:lnTo>
                  <a:pt x="781444" y="446499"/>
                </a:lnTo>
                <a:lnTo>
                  <a:pt x="773502" y="446182"/>
                </a:lnTo>
                <a:lnTo>
                  <a:pt x="766196" y="444914"/>
                </a:lnTo>
                <a:lnTo>
                  <a:pt x="758889" y="443645"/>
                </a:lnTo>
                <a:lnTo>
                  <a:pt x="751583" y="442059"/>
                </a:lnTo>
                <a:lnTo>
                  <a:pt x="744277" y="440157"/>
                </a:lnTo>
                <a:lnTo>
                  <a:pt x="737288" y="437303"/>
                </a:lnTo>
                <a:lnTo>
                  <a:pt x="730299" y="434766"/>
                </a:lnTo>
                <a:lnTo>
                  <a:pt x="723946" y="431912"/>
                </a:lnTo>
                <a:lnTo>
                  <a:pt x="717275" y="428423"/>
                </a:lnTo>
                <a:lnTo>
                  <a:pt x="710921" y="424935"/>
                </a:lnTo>
                <a:lnTo>
                  <a:pt x="704886" y="420813"/>
                </a:lnTo>
                <a:lnTo>
                  <a:pt x="698850" y="416690"/>
                </a:lnTo>
                <a:lnTo>
                  <a:pt x="693132" y="412251"/>
                </a:lnTo>
                <a:lnTo>
                  <a:pt x="687731" y="407811"/>
                </a:lnTo>
                <a:lnTo>
                  <a:pt x="682649" y="402420"/>
                </a:lnTo>
                <a:lnTo>
                  <a:pt x="677566" y="397346"/>
                </a:lnTo>
                <a:lnTo>
                  <a:pt x="672801" y="391955"/>
                </a:lnTo>
                <a:lnTo>
                  <a:pt x="668354" y="386247"/>
                </a:lnTo>
                <a:lnTo>
                  <a:pt x="664224" y="380222"/>
                </a:lnTo>
                <a:lnTo>
                  <a:pt x="660094" y="374197"/>
                </a:lnTo>
                <a:lnTo>
                  <a:pt x="656600" y="367854"/>
                </a:lnTo>
                <a:lnTo>
                  <a:pt x="653106" y="361512"/>
                </a:lnTo>
                <a:lnTo>
                  <a:pt x="650247" y="354853"/>
                </a:lnTo>
                <a:lnTo>
                  <a:pt x="647705" y="347876"/>
                </a:lnTo>
                <a:lnTo>
                  <a:pt x="644846" y="340900"/>
                </a:lnTo>
                <a:lnTo>
                  <a:pt x="642940" y="333606"/>
                </a:lnTo>
                <a:lnTo>
                  <a:pt x="641669" y="326629"/>
                </a:lnTo>
                <a:lnTo>
                  <a:pt x="640081" y="319019"/>
                </a:lnTo>
                <a:lnTo>
                  <a:pt x="638810" y="311725"/>
                </a:lnTo>
                <a:lnTo>
                  <a:pt x="638493" y="303797"/>
                </a:lnTo>
                <a:lnTo>
                  <a:pt x="638175" y="296186"/>
                </a:lnTo>
                <a:lnTo>
                  <a:pt x="638175" y="150630"/>
                </a:lnTo>
                <a:lnTo>
                  <a:pt x="638493" y="143019"/>
                </a:lnTo>
                <a:lnTo>
                  <a:pt x="638810" y="135092"/>
                </a:lnTo>
                <a:lnTo>
                  <a:pt x="640081" y="127481"/>
                </a:lnTo>
                <a:lnTo>
                  <a:pt x="641669" y="120187"/>
                </a:lnTo>
                <a:lnTo>
                  <a:pt x="642940" y="112893"/>
                </a:lnTo>
                <a:lnTo>
                  <a:pt x="644846" y="105917"/>
                </a:lnTo>
                <a:lnTo>
                  <a:pt x="647705" y="98623"/>
                </a:lnTo>
                <a:lnTo>
                  <a:pt x="650247" y="91964"/>
                </a:lnTo>
                <a:lnTo>
                  <a:pt x="653106" y="84987"/>
                </a:lnTo>
                <a:lnTo>
                  <a:pt x="656600" y="78645"/>
                </a:lnTo>
                <a:lnTo>
                  <a:pt x="660094" y="72303"/>
                </a:lnTo>
                <a:lnTo>
                  <a:pt x="664224" y="66277"/>
                </a:lnTo>
                <a:lnTo>
                  <a:pt x="668354" y="60252"/>
                </a:lnTo>
                <a:lnTo>
                  <a:pt x="672801" y="54861"/>
                </a:lnTo>
                <a:lnTo>
                  <a:pt x="677566" y="49153"/>
                </a:lnTo>
                <a:lnTo>
                  <a:pt x="682649" y="44079"/>
                </a:lnTo>
                <a:lnTo>
                  <a:pt x="687731" y="39006"/>
                </a:lnTo>
                <a:lnTo>
                  <a:pt x="693132" y="34566"/>
                </a:lnTo>
                <a:lnTo>
                  <a:pt x="698850" y="29809"/>
                </a:lnTo>
                <a:lnTo>
                  <a:pt x="704886" y="25687"/>
                </a:lnTo>
                <a:lnTo>
                  <a:pt x="710921" y="21564"/>
                </a:lnTo>
                <a:lnTo>
                  <a:pt x="717275" y="18393"/>
                </a:lnTo>
                <a:lnTo>
                  <a:pt x="723946" y="14905"/>
                </a:lnTo>
                <a:lnTo>
                  <a:pt x="730299" y="12051"/>
                </a:lnTo>
                <a:lnTo>
                  <a:pt x="737288" y="8879"/>
                </a:lnTo>
                <a:lnTo>
                  <a:pt x="744277" y="6660"/>
                </a:lnTo>
                <a:lnTo>
                  <a:pt x="751583" y="4757"/>
                </a:lnTo>
                <a:lnTo>
                  <a:pt x="758889" y="2854"/>
                </a:lnTo>
                <a:lnTo>
                  <a:pt x="766196" y="1903"/>
                </a:lnTo>
                <a:lnTo>
                  <a:pt x="773502" y="635"/>
                </a:lnTo>
                <a:lnTo>
                  <a:pt x="781444" y="317"/>
                </a:lnTo>
                <a:lnTo>
                  <a:pt x="789068" y="0"/>
                </a:lnTo>
                <a:close/>
              </a:path>
            </a:pathLst>
          </a:custGeom>
          <a:solidFill>
            <a:schemeClr val="tx1">
              <a:lumMod val="75000"/>
              <a:lumOff val="2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charset="0"/>
                <a:ea typeface="宋体" panose="02010600030101010101" pitchFamily="2" charset="-122"/>
                <a:cs typeface="+mn-cs"/>
              </a:defRPr>
            </a:lvl9pPr>
          </a:lstStyle>
          <a:p>
            <a:pPr algn="ctr">
              <a:defRPr/>
            </a:pPr>
            <a:endParaRPr lang="zh-CN" altLang="en-US">
              <a:solidFill>
                <a:srgbClr val="FFFFFF"/>
              </a:solidFill>
            </a:endParaRPr>
          </a:p>
        </p:txBody>
      </p:sp>
      <p:graphicFrame>
        <p:nvGraphicFramePr>
          <p:cNvPr id="3" name="对象 2">
            <a:hlinkClick r:id="" action="ppaction://ole?verb=0"/>
          </p:cNvPr>
          <p:cNvGraphicFramePr>
            <a:graphicFrameLocks noChangeAspect="1"/>
          </p:cNvGraphicFramePr>
          <p:nvPr/>
        </p:nvGraphicFramePr>
        <p:xfrm>
          <a:off x="5088255" y="2768600"/>
          <a:ext cx="971550" cy="952500"/>
        </p:xfrm>
        <a:graphic>
          <a:graphicData uri="http://schemas.openxmlformats.org/presentationml/2006/ole">
            <mc:AlternateContent xmlns:mc="http://schemas.openxmlformats.org/markup-compatibility/2006">
              <mc:Choice xmlns:v="urn:schemas-microsoft-com:vml" Requires="v">
                <p:oleObj spid="_x0000_s1054" showAsIcon="1" r:id="rId4" imgW="971550" imgH="952500" progId="Word.Document.8">
                  <p:embed/>
                </p:oleObj>
              </mc:Choice>
              <mc:Fallback>
                <p:oleObj showAsIcon="1" r:id="rId4" imgW="971550" imgH="952500" progId="Word.Document.8">
                  <p:embed/>
                  <p:pic>
                    <p:nvPicPr>
                      <p:cNvPr id="0" name="图片 1024"/>
                      <p:cNvPicPr/>
                      <p:nvPr/>
                    </p:nvPicPr>
                    <p:blipFill>
                      <a:blip r:embed="rId5"/>
                      <a:stretch>
                        <a:fillRect/>
                      </a:stretch>
                    </p:blipFill>
                    <p:spPr>
                      <a:xfrm>
                        <a:off x="5088255" y="2768600"/>
                        <a:ext cx="971550" cy="952500"/>
                      </a:xfrm>
                      <a:prstGeom prst="rect">
                        <a:avLst/>
                      </a:prstGeom>
                    </p:spPr>
                  </p:pic>
                </p:oleObj>
              </mc:Fallback>
            </mc:AlternateContent>
          </a:graphicData>
        </a:graphic>
      </p:graphicFrame>
    </p:spTree>
  </p:cSld>
  <p:clrMapOvr>
    <a:masterClrMapping/>
  </p:clrMapOvr>
  <p:transition>
    <p:zoom dir="in"/>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
        <p:nvSpPr>
          <p:cNvPr id="2" name="文本框 1"/>
          <p:cNvSpPr txBox="1"/>
          <p:nvPr/>
        </p:nvSpPr>
        <p:spPr>
          <a:xfrm>
            <a:off x="684287" y="77254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4</a:t>
            </a:r>
            <a:r>
              <a:rPr lang="zh-CN" altLang="en-US" sz="1800" b="1" dirty="0" smtClean="0">
                <a:solidFill>
                  <a:srgbClr val="000000"/>
                </a:solidFill>
                <a:cs typeface="+mn-ea"/>
              </a:rPr>
              <a:t>、套方放线</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050" name="开会"/>
          <p:cNvSpPr/>
          <p:nvPr/>
        </p:nvSpPr>
        <p:spPr bwMode="auto">
          <a:xfrm>
            <a:off x="9147493" y="4046855"/>
            <a:ext cx="2188845" cy="2188845"/>
          </a:xfrm>
          <a:custGeom>
            <a:avLst/>
            <a:gdLst>
              <a:gd name="T0" fmla="*/ 1555232 w 2741613"/>
              <a:gd name="T1" fmla="*/ 1766302 h 2557463"/>
              <a:gd name="T2" fmla="*/ 1500877 w 2741613"/>
              <a:gd name="T3" fmla="*/ 1732308 h 2557463"/>
              <a:gd name="T4" fmla="*/ 410527 w 2741613"/>
              <a:gd name="T5" fmla="*/ 1777780 h 2557463"/>
              <a:gd name="T6" fmla="*/ 294306 w 2741613"/>
              <a:gd name="T7" fmla="*/ 1747980 h 2557463"/>
              <a:gd name="T8" fmla="*/ 1473436 w 2741613"/>
              <a:gd name="T9" fmla="*/ 1657260 h 2557463"/>
              <a:gd name="T10" fmla="*/ 1387009 w 2741613"/>
              <a:gd name="T11" fmla="*/ 1662603 h 2557463"/>
              <a:gd name="T12" fmla="*/ 511578 w 2741613"/>
              <a:gd name="T13" fmla="*/ 1682417 h 2557463"/>
              <a:gd name="T14" fmla="*/ 414761 w 2741613"/>
              <a:gd name="T15" fmla="*/ 1659264 h 2557463"/>
              <a:gd name="T16" fmla="*/ 1116006 w 2741613"/>
              <a:gd name="T17" fmla="*/ 1639146 h 2557463"/>
              <a:gd name="T18" fmla="*/ 1025639 w 2741613"/>
              <a:gd name="T19" fmla="*/ 1606463 h 2557463"/>
              <a:gd name="T20" fmla="*/ 902419 w 2741613"/>
              <a:gd name="T21" fmla="*/ 1619000 h 2557463"/>
              <a:gd name="T22" fmla="*/ 844427 w 2741613"/>
              <a:gd name="T23" fmla="*/ 1606240 h 2557463"/>
              <a:gd name="T24" fmla="*/ 445447 w 2741613"/>
              <a:gd name="T25" fmla="*/ 1163753 h 2557463"/>
              <a:gd name="T26" fmla="*/ 787487 w 2741613"/>
              <a:gd name="T27" fmla="*/ 791326 h 2557463"/>
              <a:gd name="T28" fmla="*/ 436007 w 2741613"/>
              <a:gd name="T29" fmla="*/ 849224 h 2557463"/>
              <a:gd name="T30" fmla="*/ 288609 w 2741613"/>
              <a:gd name="T31" fmla="*/ 1698536 h 2557463"/>
              <a:gd name="T32" fmla="*/ 48617 w 2741613"/>
              <a:gd name="T33" fmla="*/ 1149773 h 2557463"/>
              <a:gd name="T34" fmla="*/ 9281 w 2741613"/>
              <a:gd name="T35" fmla="*/ 859603 h 2557463"/>
              <a:gd name="T36" fmla="*/ 145851 w 2741613"/>
              <a:gd name="T37" fmla="*/ 699059 h 2557463"/>
              <a:gd name="T38" fmla="*/ 1592699 w 2741613"/>
              <a:gd name="T39" fmla="*/ 734392 h 2557463"/>
              <a:gd name="T40" fmla="*/ 1871083 w 2741613"/>
              <a:gd name="T41" fmla="*/ 787391 h 2557463"/>
              <a:gd name="T42" fmla="*/ 1890905 w 2741613"/>
              <a:gd name="T43" fmla="*/ 1065196 h 2557463"/>
              <a:gd name="T44" fmla="*/ 1812940 w 2741613"/>
              <a:gd name="T45" fmla="*/ 1357575 h 2557463"/>
              <a:gd name="T46" fmla="*/ 1457031 w 2741613"/>
              <a:gd name="T47" fmla="*/ 968693 h 2557463"/>
              <a:gd name="T48" fmla="*/ 1541163 w 2741613"/>
              <a:gd name="T49" fmla="*/ 700164 h 2557463"/>
              <a:gd name="T50" fmla="*/ 1241834 w 2741613"/>
              <a:gd name="T51" fmla="*/ 723340 h 2557463"/>
              <a:gd name="T52" fmla="*/ 1102527 w 2741613"/>
              <a:gd name="T53" fmla="*/ 893083 h 2557463"/>
              <a:gd name="T54" fmla="*/ 798746 w 2741613"/>
              <a:gd name="T55" fmla="*/ 901471 h 2557463"/>
              <a:gd name="T56" fmla="*/ 624337 w 2741613"/>
              <a:gd name="T57" fmla="*/ 850924 h 2557463"/>
              <a:gd name="T58" fmla="*/ 750839 w 2741613"/>
              <a:gd name="T59" fmla="*/ 677208 h 2557463"/>
              <a:gd name="T60" fmla="*/ 1062788 w 2741613"/>
              <a:gd name="T61" fmla="*/ 640566 h 2557463"/>
              <a:gd name="T62" fmla="*/ 137222 w 2741613"/>
              <a:gd name="T63" fmla="*/ 399417 h 2557463"/>
              <a:gd name="T64" fmla="*/ 292755 w 2741613"/>
              <a:gd name="T65" fmla="*/ 345682 h 2557463"/>
              <a:gd name="T66" fmla="*/ 334009 w 2741613"/>
              <a:gd name="T67" fmla="*/ 437452 h 2557463"/>
              <a:gd name="T68" fmla="*/ 372176 w 2741613"/>
              <a:gd name="T69" fmla="*/ 447403 h 2557463"/>
              <a:gd name="T70" fmla="*/ 362248 w 2741613"/>
              <a:gd name="T71" fmla="*/ 593130 h 2557463"/>
              <a:gd name="T72" fmla="*/ 240028 w 2741613"/>
              <a:gd name="T73" fmla="*/ 702591 h 2557463"/>
              <a:gd name="T74" fmla="*/ 122440 w 2741613"/>
              <a:gd name="T75" fmla="*/ 567478 h 2557463"/>
              <a:gd name="T76" fmla="*/ 107439 w 2741613"/>
              <a:gd name="T77" fmla="*/ 480131 h 2557463"/>
              <a:gd name="T78" fmla="*/ 170093 w 2741613"/>
              <a:gd name="T79" fmla="*/ 347893 h 2557463"/>
              <a:gd name="T80" fmla="*/ 1776846 w 2741613"/>
              <a:gd name="T81" fmla="*/ 366247 h 2557463"/>
              <a:gd name="T82" fmla="*/ 1798449 w 2741613"/>
              <a:gd name="T83" fmla="*/ 502465 h 2557463"/>
              <a:gd name="T84" fmla="*/ 1760093 w 2741613"/>
              <a:gd name="T85" fmla="*/ 621435 h 2557463"/>
              <a:gd name="T86" fmla="*/ 1630031 w 2741613"/>
              <a:gd name="T87" fmla="*/ 697505 h 2557463"/>
              <a:gd name="T88" fmla="*/ 1535902 w 2741613"/>
              <a:gd name="T89" fmla="*/ 561508 h 2557463"/>
              <a:gd name="T90" fmla="*/ 1552215 w 2741613"/>
              <a:gd name="T91" fmla="*/ 453594 h 2557463"/>
              <a:gd name="T92" fmla="*/ 1541854 w 2741613"/>
              <a:gd name="T93" fmla="*/ 422193 h 2557463"/>
              <a:gd name="T94" fmla="*/ 1010412 w 2741613"/>
              <a:gd name="T95" fmla="*/ 326683 h 2557463"/>
              <a:gd name="T96" fmla="*/ 1058285 w 2741613"/>
              <a:gd name="T97" fmla="*/ 408958 h 2557463"/>
              <a:gd name="T98" fmla="*/ 1092921 w 2741613"/>
              <a:gd name="T99" fmla="*/ 435649 h 2557463"/>
              <a:gd name="T100" fmla="*/ 1092260 w 2741613"/>
              <a:gd name="T101" fmla="*/ 528071 h 2557463"/>
              <a:gd name="T102" fmla="*/ 1006661 w 2741613"/>
              <a:gd name="T103" fmla="*/ 635492 h 2557463"/>
              <a:gd name="T104" fmla="*/ 893265 w 2741613"/>
              <a:gd name="T105" fmla="*/ 569098 h 2557463"/>
              <a:gd name="T106" fmla="*/ 861497 w 2741613"/>
              <a:gd name="T107" fmla="*/ 458589 h 2557463"/>
              <a:gd name="T108" fmla="*/ 868115 w 2741613"/>
              <a:gd name="T109" fmla="*/ 376093 h 2557463"/>
              <a:gd name="T110" fmla="*/ 514509 w 2741613"/>
              <a:gd name="T111" fmla="*/ 219583 h 2557463"/>
              <a:gd name="T112" fmla="*/ 515613 w 2741613"/>
              <a:gd name="T113" fmla="*/ 155869 h 2557463"/>
              <a:gd name="T114" fmla="*/ 520248 w 2741613"/>
              <a:gd name="T115" fmla="*/ 152562 h 2557463"/>
              <a:gd name="T116" fmla="*/ 791747 w 2741613"/>
              <a:gd name="T117" fmla="*/ 99650 h 2557463"/>
              <a:gd name="T118" fmla="*/ 848917 w 2741613"/>
              <a:gd name="T119" fmla="*/ 59085 h 2557463"/>
              <a:gd name="T120" fmla="*/ 813158 w 2741613"/>
              <a:gd name="T121" fmla="*/ 292558 h 2557463"/>
              <a:gd name="T122" fmla="*/ 481620 w 2741613"/>
              <a:gd name="T123" fmla="*/ 286605 h 2557463"/>
              <a:gd name="T124" fmla="*/ 458664 w 2741613"/>
              <a:gd name="T125" fmla="*/ 50267 h 25574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41613" h="2557463">
                <a:moveTo>
                  <a:pt x="2199444" y="2463800"/>
                </a:moveTo>
                <a:lnTo>
                  <a:pt x="2327275" y="2463800"/>
                </a:lnTo>
                <a:lnTo>
                  <a:pt x="2325367" y="2467928"/>
                </a:lnTo>
                <a:lnTo>
                  <a:pt x="2325685" y="2470150"/>
                </a:lnTo>
                <a:lnTo>
                  <a:pt x="2326003" y="2473325"/>
                </a:lnTo>
                <a:lnTo>
                  <a:pt x="2326321" y="2477770"/>
                </a:lnTo>
                <a:lnTo>
                  <a:pt x="2326321" y="2483803"/>
                </a:lnTo>
                <a:lnTo>
                  <a:pt x="2325685" y="2492058"/>
                </a:lnTo>
                <a:lnTo>
                  <a:pt x="2323777" y="2502218"/>
                </a:lnTo>
                <a:lnTo>
                  <a:pt x="2321233" y="2514283"/>
                </a:lnTo>
                <a:lnTo>
                  <a:pt x="2319326" y="2515235"/>
                </a:lnTo>
                <a:lnTo>
                  <a:pt x="2316464" y="2515870"/>
                </a:lnTo>
                <a:lnTo>
                  <a:pt x="2308514" y="2516505"/>
                </a:lnTo>
                <a:lnTo>
                  <a:pt x="2293568" y="2517140"/>
                </a:lnTo>
                <a:lnTo>
                  <a:pt x="2292614" y="2517140"/>
                </a:lnTo>
                <a:lnTo>
                  <a:pt x="2292296" y="2516823"/>
                </a:lnTo>
                <a:lnTo>
                  <a:pt x="2291024" y="2515235"/>
                </a:lnTo>
                <a:lnTo>
                  <a:pt x="2290388" y="2513965"/>
                </a:lnTo>
                <a:lnTo>
                  <a:pt x="2289435" y="2512060"/>
                </a:lnTo>
                <a:lnTo>
                  <a:pt x="2288799" y="2511425"/>
                </a:lnTo>
                <a:lnTo>
                  <a:pt x="2288163" y="2511108"/>
                </a:lnTo>
                <a:lnTo>
                  <a:pt x="2286891" y="2510790"/>
                </a:lnTo>
                <a:lnTo>
                  <a:pt x="2285937" y="2511108"/>
                </a:lnTo>
                <a:lnTo>
                  <a:pt x="2284029" y="2511425"/>
                </a:lnTo>
                <a:lnTo>
                  <a:pt x="2282121" y="2512695"/>
                </a:lnTo>
                <a:lnTo>
                  <a:pt x="2276397" y="2516188"/>
                </a:lnTo>
                <a:lnTo>
                  <a:pt x="2264313" y="2525078"/>
                </a:lnTo>
                <a:lnTo>
                  <a:pt x="2251594" y="2533333"/>
                </a:lnTo>
                <a:lnTo>
                  <a:pt x="2245234" y="2537143"/>
                </a:lnTo>
                <a:lnTo>
                  <a:pt x="2238238" y="2540636"/>
                </a:lnTo>
                <a:lnTo>
                  <a:pt x="2231243" y="2543811"/>
                </a:lnTo>
                <a:lnTo>
                  <a:pt x="2223929" y="2547303"/>
                </a:lnTo>
                <a:lnTo>
                  <a:pt x="2216615" y="2549843"/>
                </a:lnTo>
                <a:lnTo>
                  <a:pt x="2208665" y="2552066"/>
                </a:lnTo>
                <a:lnTo>
                  <a:pt x="2200716" y="2554606"/>
                </a:lnTo>
                <a:lnTo>
                  <a:pt x="2192130" y="2555876"/>
                </a:lnTo>
                <a:lnTo>
                  <a:pt x="2183226" y="2557146"/>
                </a:lnTo>
                <a:lnTo>
                  <a:pt x="2174004" y="2557463"/>
                </a:lnTo>
                <a:lnTo>
                  <a:pt x="2164147" y="2557463"/>
                </a:lnTo>
                <a:lnTo>
                  <a:pt x="2153971" y="2557146"/>
                </a:lnTo>
                <a:lnTo>
                  <a:pt x="2145703" y="2556193"/>
                </a:lnTo>
                <a:lnTo>
                  <a:pt x="2139026" y="2554923"/>
                </a:lnTo>
                <a:lnTo>
                  <a:pt x="2133302" y="2553336"/>
                </a:lnTo>
                <a:lnTo>
                  <a:pt x="2128850" y="2551113"/>
                </a:lnTo>
                <a:lnTo>
                  <a:pt x="2125352" y="2548891"/>
                </a:lnTo>
                <a:lnTo>
                  <a:pt x="2123762" y="2547303"/>
                </a:lnTo>
                <a:lnTo>
                  <a:pt x="2122808" y="2545716"/>
                </a:lnTo>
                <a:lnTo>
                  <a:pt x="2121854" y="2544446"/>
                </a:lnTo>
                <a:lnTo>
                  <a:pt x="2121536" y="2542858"/>
                </a:lnTo>
                <a:lnTo>
                  <a:pt x="2120900" y="2539366"/>
                </a:lnTo>
                <a:lnTo>
                  <a:pt x="2121218" y="2535873"/>
                </a:lnTo>
                <a:lnTo>
                  <a:pt x="2122490" y="2532380"/>
                </a:lnTo>
                <a:lnTo>
                  <a:pt x="2124398" y="2528570"/>
                </a:lnTo>
                <a:lnTo>
                  <a:pt x="2126624" y="2524443"/>
                </a:lnTo>
                <a:lnTo>
                  <a:pt x="2129486" y="2520633"/>
                </a:lnTo>
                <a:lnTo>
                  <a:pt x="2132984" y="2516505"/>
                </a:lnTo>
                <a:lnTo>
                  <a:pt x="2137118" y="2512060"/>
                </a:lnTo>
                <a:lnTo>
                  <a:pt x="2141252" y="2507933"/>
                </a:lnTo>
                <a:lnTo>
                  <a:pt x="2150155" y="2499678"/>
                </a:lnTo>
                <a:lnTo>
                  <a:pt x="2160013" y="2491740"/>
                </a:lnTo>
                <a:lnTo>
                  <a:pt x="2169871" y="2484120"/>
                </a:lnTo>
                <a:lnTo>
                  <a:pt x="2178774" y="2477770"/>
                </a:lnTo>
                <a:lnTo>
                  <a:pt x="2193402" y="2467610"/>
                </a:lnTo>
                <a:lnTo>
                  <a:pt x="2199444" y="2463800"/>
                </a:lnTo>
                <a:close/>
                <a:moveTo>
                  <a:pt x="417513" y="2463800"/>
                </a:moveTo>
                <a:lnTo>
                  <a:pt x="545027" y="2463800"/>
                </a:lnTo>
                <a:lnTo>
                  <a:pt x="551069" y="2467610"/>
                </a:lnTo>
                <a:lnTo>
                  <a:pt x="565696" y="2477770"/>
                </a:lnTo>
                <a:lnTo>
                  <a:pt x="574918" y="2484120"/>
                </a:lnTo>
                <a:lnTo>
                  <a:pt x="584775" y="2491740"/>
                </a:lnTo>
                <a:lnTo>
                  <a:pt x="594315" y="2499678"/>
                </a:lnTo>
                <a:lnTo>
                  <a:pt x="603537" y="2507933"/>
                </a:lnTo>
                <a:lnTo>
                  <a:pt x="607671" y="2512060"/>
                </a:lnTo>
                <a:lnTo>
                  <a:pt x="611805" y="2516505"/>
                </a:lnTo>
                <a:lnTo>
                  <a:pt x="614984" y="2520633"/>
                </a:lnTo>
                <a:lnTo>
                  <a:pt x="618164" y="2524443"/>
                </a:lnTo>
                <a:lnTo>
                  <a:pt x="620390" y="2528570"/>
                </a:lnTo>
                <a:lnTo>
                  <a:pt x="622298" y="2532380"/>
                </a:lnTo>
                <a:lnTo>
                  <a:pt x="623570" y="2535873"/>
                </a:lnTo>
                <a:lnTo>
                  <a:pt x="623888" y="2539366"/>
                </a:lnTo>
                <a:lnTo>
                  <a:pt x="622934" y="2542858"/>
                </a:lnTo>
                <a:lnTo>
                  <a:pt x="622616" y="2544446"/>
                </a:lnTo>
                <a:lnTo>
                  <a:pt x="621980" y="2545716"/>
                </a:lnTo>
                <a:lnTo>
                  <a:pt x="620708" y="2547303"/>
                </a:lnTo>
                <a:lnTo>
                  <a:pt x="619436" y="2548891"/>
                </a:lnTo>
                <a:lnTo>
                  <a:pt x="615938" y="2551113"/>
                </a:lnTo>
                <a:lnTo>
                  <a:pt x="611487" y="2553336"/>
                </a:lnTo>
                <a:lnTo>
                  <a:pt x="605763" y="2554923"/>
                </a:lnTo>
                <a:lnTo>
                  <a:pt x="599085" y="2556193"/>
                </a:lnTo>
                <a:lnTo>
                  <a:pt x="590817" y="2557146"/>
                </a:lnTo>
                <a:lnTo>
                  <a:pt x="580642" y="2557463"/>
                </a:lnTo>
                <a:lnTo>
                  <a:pt x="570784" y="2557463"/>
                </a:lnTo>
                <a:lnTo>
                  <a:pt x="561244" y="2557146"/>
                </a:lnTo>
                <a:lnTo>
                  <a:pt x="552659" y="2555876"/>
                </a:lnTo>
                <a:lnTo>
                  <a:pt x="544073" y="2554606"/>
                </a:lnTo>
                <a:lnTo>
                  <a:pt x="536123" y="2552066"/>
                </a:lnTo>
                <a:lnTo>
                  <a:pt x="528173" y="2549843"/>
                </a:lnTo>
                <a:lnTo>
                  <a:pt x="520542" y="2547303"/>
                </a:lnTo>
                <a:lnTo>
                  <a:pt x="513546" y="2543811"/>
                </a:lnTo>
                <a:lnTo>
                  <a:pt x="506232" y="2540636"/>
                </a:lnTo>
                <a:lnTo>
                  <a:pt x="499554" y="2537143"/>
                </a:lnTo>
                <a:lnTo>
                  <a:pt x="493195" y="2533333"/>
                </a:lnTo>
                <a:lnTo>
                  <a:pt x="480475" y="2525078"/>
                </a:lnTo>
                <a:lnTo>
                  <a:pt x="468391" y="2516188"/>
                </a:lnTo>
                <a:lnTo>
                  <a:pt x="462668" y="2512695"/>
                </a:lnTo>
                <a:lnTo>
                  <a:pt x="460760" y="2511425"/>
                </a:lnTo>
                <a:lnTo>
                  <a:pt x="458852" y="2511108"/>
                </a:lnTo>
                <a:lnTo>
                  <a:pt x="457580" y="2510790"/>
                </a:lnTo>
                <a:lnTo>
                  <a:pt x="456626" y="2511108"/>
                </a:lnTo>
                <a:lnTo>
                  <a:pt x="455990" y="2511425"/>
                </a:lnTo>
                <a:lnTo>
                  <a:pt x="455036" y="2512060"/>
                </a:lnTo>
                <a:lnTo>
                  <a:pt x="454400" y="2513965"/>
                </a:lnTo>
                <a:lnTo>
                  <a:pt x="453446" y="2515235"/>
                </a:lnTo>
                <a:lnTo>
                  <a:pt x="452492" y="2516823"/>
                </a:lnTo>
                <a:lnTo>
                  <a:pt x="452174" y="2517140"/>
                </a:lnTo>
                <a:lnTo>
                  <a:pt x="450902" y="2517140"/>
                </a:lnTo>
                <a:lnTo>
                  <a:pt x="436274" y="2516505"/>
                </a:lnTo>
                <a:lnTo>
                  <a:pt x="428325" y="2515870"/>
                </a:lnTo>
                <a:lnTo>
                  <a:pt x="425463" y="2515235"/>
                </a:lnTo>
                <a:lnTo>
                  <a:pt x="423555" y="2514283"/>
                </a:lnTo>
                <a:lnTo>
                  <a:pt x="420693" y="2502218"/>
                </a:lnTo>
                <a:lnTo>
                  <a:pt x="419421" y="2492058"/>
                </a:lnTo>
                <a:lnTo>
                  <a:pt x="418149" y="2483803"/>
                </a:lnTo>
                <a:lnTo>
                  <a:pt x="418149" y="2477770"/>
                </a:lnTo>
                <a:lnTo>
                  <a:pt x="418467" y="2473325"/>
                </a:lnTo>
                <a:lnTo>
                  <a:pt x="418785" y="2470150"/>
                </a:lnTo>
                <a:lnTo>
                  <a:pt x="419421" y="2467928"/>
                </a:lnTo>
                <a:lnTo>
                  <a:pt x="417513" y="2463800"/>
                </a:lnTo>
                <a:close/>
                <a:moveTo>
                  <a:pt x="2051490" y="2346325"/>
                </a:moveTo>
                <a:lnTo>
                  <a:pt x="2152651" y="2346325"/>
                </a:lnTo>
                <a:lnTo>
                  <a:pt x="2151061" y="2349527"/>
                </a:lnTo>
                <a:lnTo>
                  <a:pt x="2151697" y="2351449"/>
                </a:lnTo>
                <a:lnTo>
                  <a:pt x="2152015" y="2353690"/>
                </a:lnTo>
                <a:lnTo>
                  <a:pt x="2152333" y="2357533"/>
                </a:lnTo>
                <a:lnTo>
                  <a:pt x="2152015" y="2362336"/>
                </a:lnTo>
                <a:lnTo>
                  <a:pt x="2151697" y="2368741"/>
                </a:lnTo>
                <a:lnTo>
                  <a:pt x="2150106" y="2376747"/>
                </a:lnTo>
                <a:lnTo>
                  <a:pt x="2148198" y="2386674"/>
                </a:lnTo>
                <a:lnTo>
                  <a:pt x="2146289" y="2387314"/>
                </a:lnTo>
                <a:lnTo>
                  <a:pt x="2144062" y="2387634"/>
                </a:lnTo>
                <a:lnTo>
                  <a:pt x="2137700" y="2388595"/>
                </a:lnTo>
                <a:lnTo>
                  <a:pt x="2125929" y="2388915"/>
                </a:lnTo>
                <a:lnTo>
                  <a:pt x="2125611" y="2388915"/>
                </a:lnTo>
                <a:lnTo>
                  <a:pt x="2124975" y="2388595"/>
                </a:lnTo>
                <a:lnTo>
                  <a:pt x="2124021" y="2387314"/>
                </a:lnTo>
                <a:lnTo>
                  <a:pt x="2123702" y="2386354"/>
                </a:lnTo>
                <a:lnTo>
                  <a:pt x="2123066" y="2384752"/>
                </a:lnTo>
                <a:lnTo>
                  <a:pt x="2122112" y="2384432"/>
                </a:lnTo>
                <a:lnTo>
                  <a:pt x="2121794" y="2383792"/>
                </a:lnTo>
                <a:lnTo>
                  <a:pt x="2120521" y="2383792"/>
                </a:lnTo>
                <a:lnTo>
                  <a:pt x="2119885" y="2383792"/>
                </a:lnTo>
                <a:lnTo>
                  <a:pt x="2117022" y="2385073"/>
                </a:lnTo>
                <a:lnTo>
                  <a:pt x="2112250" y="2387955"/>
                </a:lnTo>
                <a:lnTo>
                  <a:pt x="2103025" y="2395000"/>
                </a:lnTo>
                <a:lnTo>
                  <a:pt x="2092845" y="2401724"/>
                </a:lnTo>
                <a:lnTo>
                  <a:pt x="2087437" y="2404927"/>
                </a:lnTo>
                <a:lnTo>
                  <a:pt x="2082347" y="2407489"/>
                </a:lnTo>
                <a:lnTo>
                  <a:pt x="2076621" y="2410371"/>
                </a:lnTo>
                <a:lnTo>
                  <a:pt x="2070895" y="2412612"/>
                </a:lnTo>
                <a:lnTo>
                  <a:pt x="2064850" y="2415174"/>
                </a:lnTo>
                <a:lnTo>
                  <a:pt x="2058806" y="2416775"/>
                </a:lnTo>
                <a:lnTo>
                  <a:pt x="2052444" y="2418376"/>
                </a:lnTo>
                <a:lnTo>
                  <a:pt x="2045763" y="2419657"/>
                </a:lnTo>
                <a:lnTo>
                  <a:pt x="2038447" y="2420618"/>
                </a:lnTo>
                <a:lnTo>
                  <a:pt x="2031448" y="2420938"/>
                </a:lnTo>
                <a:lnTo>
                  <a:pt x="2023495" y="2420938"/>
                </a:lnTo>
                <a:lnTo>
                  <a:pt x="2015542" y="2420618"/>
                </a:lnTo>
                <a:lnTo>
                  <a:pt x="2008862" y="2419977"/>
                </a:lnTo>
                <a:lnTo>
                  <a:pt x="2003454" y="2418697"/>
                </a:lnTo>
                <a:lnTo>
                  <a:pt x="1999000" y="2417736"/>
                </a:lnTo>
                <a:lnTo>
                  <a:pt x="1995501" y="2415814"/>
                </a:lnTo>
                <a:lnTo>
                  <a:pt x="1992638" y="2413893"/>
                </a:lnTo>
                <a:lnTo>
                  <a:pt x="1990729" y="2411652"/>
                </a:lnTo>
                <a:lnTo>
                  <a:pt x="1989456" y="2409410"/>
                </a:lnTo>
                <a:lnTo>
                  <a:pt x="1989138" y="2406528"/>
                </a:lnTo>
                <a:lnTo>
                  <a:pt x="1989456" y="2403966"/>
                </a:lnTo>
                <a:lnTo>
                  <a:pt x="1990411" y="2401084"/>
                </a:lnTo>
                <a:lnTo>
                  <a:pt x="1991683" y="2397882"/>
                </a:lnTo>
                <a:lnTo>
                  <a:pt x="1993592" y="2394679"/>
                </a:lnTo>
                <a:lnTo>
                  <a:pt x="1996137" y="2391477"/>
                </a:lnTo>
                <a:lnTo>
                  <a:pt x="1999000" y="2387955"/>
                </a:lnTo>
                <a:lnTo>
                  <a:pt x="2005362" y="2381230"/>
                </a:lnTo>
                <a:lnTo>
                  <a:pt x="2012679" y="2374825"/>
                </a:lnTo>
                <a:lnTo>
                  <a:pt x="2019996" y="2368421"/>
                </a:lnTo>
                <a:lnTo>
                  <a:pt x="2027949" y="2362336"/>
                </a:lnTo>
                <a:lnTo>
                  <a:pt x="2035265" y="2356893"/>
                </a:lnTo>
                <a:lnTo>
                  <a:pt x="2046718" y="2349527"/>
                </a:lnTo>
                <a:lnTo>
                  <a:pt x="2051490" y="2346325"/>
                </a:lnTo>
                <a:close/>
                <a:moveTo>
                  <a:pt x="592138" y="2346325"/>
                </a:moveTo>
                <a:lnTo>
                  <a:pt x="693618" y="2346325"/>
                </a:lnTo>
                <a:lnTo>
                  <a:pt x="698072" y="2349527"/>
                </a:lnTo>
                <a:lnTo>
                  <a:pt x="709842" y="2356893"/>
                </a:lnTo>
                <a:lnTo>
                  <a:pt x="716841" y="2362336"/>
                </a:lnTo>
                <a:lnTo>
                  <a:pt x="724794" y="2368421"/>
                </a:lnTo>
                <a:lnTo>
                  <a:pt x="732428" y="2374825"/>
                </a:lnTo>
                <a:lnTo>
                  <a:pt x="739427" y="2381230"/>
                </a:lnTo>
                <a:lnTo>
                  <a:pt x="746108" y="2387955"/>
                </a:lnTo>
                <a:lnTo>
                  <a:pt x="748971" y="2391477"/>
                </a:lnTo>
                <a:lnTo>
                  <a:pt x="751197" y="2394679"/>
                </a:lnTo>
                <a:lnTo>
                  <a:pt x="753106" y="2397882"/>
                </a:lnTo>
                <a:lnTo>
                  <a:pt x="754697" y="2401084"/>
                </a:lnTo>
                <a:lnTo>
                  <a:pt x="755333" y="2403966"/>
                </a:lnTo>
                <a:lnTo>
                  <a:pt x="755651" y="2406528"/>
                </a:lnTo>
                <a:lnTo>
                  <a:pt x="755333" y="2409410"/>
                </a:lnTo>
                <a:lnTo>
                  <a:pt x="754379" y="2411652"/>
                </a:lnTo>
                <a:lnTo>
                  <a:pt x="752470" y="2413893"/>
                </a:lnTo>
                <a:lnTo>
                  <a:pt x="749607" y="2415814"/>
                </a:lnTo>
                <a:lnTo>
                  <a:pt x="746108" y="2417736"/>
                </a:lnTo>
                <a:lnTo>
                  <a:pt x="741336" y="2418697"/>
                </a:lnTo>
                <a:lnTo>
                  <a:pt x="736246" y="2419977"/>
                </a:lnTo>
                <a:lnTo>
                  <a:pt x="729565" y="2420618"/>
                </a:lnTo>
                <a:lnTo>
                  <a:pt x="721612" y="2420938"/>
                </a:lnTo>
                <a:lnTo>
                  <a:pt x="713659" y="2420938"/>
                </a:lnTo>
                <a:lnTo>
                  <a:pt x="706343" y="2420618"/>
                </a:lnTo>
                <a:lnTo>
                  <a:pt x="699344" y="2419657"/>
                </a:lnTo>
                <a:lnTo>
                  <a:pt x="692346" y="2418376"/>
                </a:lnTo>
                <a:lnTo>
                  <a:pt x="685983" y="2416775"/>
                </a:lnTo>
                <a:lnTo>
                  <a:pt x="679939" y="2415174"/>
                </a:lnTo>
                <a:lnTo>
                  <a:pt x="673895" y="2412612"/>
                </a:lnTo>
                <a:lnTo>
                  <a:pt x="668487" y="2410371"/>
                </a:lnTo>
                <a:lnTo>
                  <a:pt x="662760" y="2407489"/>
                </a:lnTo>
                <a:lnTo>
                  <a:pt x="657352" y="2404927"/>
                </a:lnTo>
                <a:lnTo>
                  <a:pt x="652263" y="2401724"/>
                </a:lnTo>
                <a:lnTo>
                  <a:pt x="642083" y="2395000"/>
                </a:lnTo>
                <a:lnTo>
                  <a:pt x="632539" y="2387955"/>
                </a:lnTo>
                <a:lnTo>
                  <a:pt x="628086" y="2385073"/>
                </a:lnTo>
                <a:lnTo>
                  <a:pt x="624904" y="2383792"/>
                </a:lnTo>
                <a:lnTo>
                  <a:pt x="624268" y="2383792"/>
                </a:lnTo>
                <a:lnTo>
                  <a:pt x="623314" y="2383792"/>
                </a:lnTo>
                <a:lnTo>
                  <a:pt x="622678" y="2384432"/>
                </a:lnTo>
                <a:lnTo>
                  <a:pt x="622041" y="2384752"/>
                </a:lnTo>
                <a:lnTo>
                  <a:pt x="621405" y="2386354"/>
                </a:lnTo>
                <a:lnTo>
                  <a:pt x="620769" y="2387314"/>
                </a:lnTo>
                <a:lnTo>
                  <a:pt x="620133" y="2388595"/>
                </a:lnTo>
                <a:lnTo>
                  <a:pt x="619496" y="2388915"/>
                </a:lnTo>
                <a:lnTo>
                  <a:pt x="619178" y="2388915"/>
                </a:lnTo>
                <a:lnTo>
                  <a:pt x="607408" y="2388595"/>
                </a:lnTo>
                <a:lnTo>
                  <a:pt x="601045" y="2387634"/>
                </a:lnTo>
                <a:lnTo>
                  <a:pt x="598819" y="2387314"/>
                </a:lnTo>
                <a:lnTo>
                  <a:pt x="596910" y="2386674"/>
                </a:lnTo>
                <a:lnTo>
                  <a:pt x="595001" y="2376747"/>
                </a:lnTo>
                <a:lnTo>
                  <a:pt x="593411" y="2368741"/>
                </a:lnTo>
                <a:lnTo>
                  <a:pt x="593092" y="2362336"/>
                </a:lnTo>
                <a:lnTo>
                  <a:pt x="592774" y="2357533"/>
                </a:lnTo>
                <a:lnTo>
                  <a:pt x="593092" y="2353690"/>
                </a:lnTo>
                <a:lnTo>
                  <a:pt x="593411" y="2351449"/>
                </a:lnTo>
                <a:lnTo>
                  <a:pt x="593729" y="2349527"/>
                </a:lnTo>
                <a:lnTo>
                  <a:pt x="592138" y="2346325"/>
                </a:lnTo>
                <a:close/>
                <a:moveTo>
                  <a:pt x="1474788" y="2290762"/>
                </a:moveTo>
                <a:lnTo>
                  <a:pt x="1567135" y="2290762"/>
                </a:lnTo>
                <a:lnTo>
                  <a:pt x="1571609" y="2293338"/>
                </a:lnTo>
                <a:lnTo>
                  <a:pt x="1582473" y="2300422"/>
                </a:lnTo>
                <a:lnTo>
                  <a:pt x="1588864" y="2305252"/>
                </a:lnTo>
                <a:lnTo>
                  <a:pt x="1595894" y="2310404"/>
                </a:lnTo>
                <a:lnTo>
                  <a:pt x="1602924" y="2316522"/>
                </a:lnTo>
                <a:lnTo>
                  <a:pt x="1609634" y="2322640"/>
                </a:lnTo>
                <a:lnTo>
                  <a:pt x="1615386" y="2328758"/>
                </a:lnTo>
                <a:lnTo>
                  <a:pt x="1617942" y="2331978"/>
                </a:lnTo>
                <a:lnTo>
                  <a:pt x="1620179" y="2334875"/>
                </a:lnTo>
                <a:lnTo>
                  <a:pt x="1621776" y="2337451"/>
                </a:lnTo>
                <a:lnTo>
                  <a:pt x="1623374" y="2340671"/>
                </a:lnTo>
                <a:lnTo>
                  <a:pt x="1624013" y="2343247"/>
                </a:lnTo>
                <a:lnTo>
                  <a:pt x="1624013" y="2345501"/>
                </a:lnTo>
                <a:lnTo>
                  <a:pt x="1623694" y="2348399"/>
                </a:lnTo>
                <a:lnTo>
                  <a:pt x="1622735" y="2350009"/>
                </a:lnTo>
                <a:lnTo>
                  <a:pt x="1620818" y="2352585"/>
                </a:lnTo>
                <a:lnTo>
                  <a:pt x="1618581" y="2353873"/>
                </a:lnTo>
                <a:lnTo>
                  <a:pt x="1615386" y="2355483"/>
                </a:lnTo>
                <a:lnTo>
                  <a:pt x="1611232" y="2357093"/>
                </a:lnTo>
                <a:lnTo>
                  <a:pt x="1606119" y="2357737"/>
                </a:lnTo>
                <a:lnTo>
                  <a:pt x="1600048" y="2358703"/>
                </a:lnTo>
                <a:lnTo>
                  <a:pt x="1593018" y="2359025"/>
                </a:lnTo>
                <a:lnTo>
                  <a:pt x="1585668" y="2359025"/>
                </a:lnTo>
                <a:lnTo>
                  <a:pt x="1578958" y="2358703"/>
                </a:lnTo>
                <a:lnTo>
                  <a:pt x="1572567" y="2357415"/>
                </a:lnTo>
                <a:lnTo>
                  <a:pt x="1566496" y="2356127"/>
                </a:lnTo>
                <a:lnTo>
                  <a:pt x="1560744" y="2355161"/>
                </a:lnTo>
                <a:lnTo>
                  <a:pt x="1554993" y="2353229"/>
                </a:lnTo>
                <a:lnTo>
                  <a:pt x="1549560" y="2351297"/>
                </a:lnTo>
                <a:lnTo>
                  <a:pt x="1544128" y="2349043"/>
                </a:lnTo>
                <a:lnTo>
                  <a:pt x="1539335" y="2346467"/>
                </a:lnTo>
                <a:lnTo>
                  <a:pt x="1529749" y="2340993"/>
                </a:lnTo>
                <a:lnTo>
                  <a:pt x="1520802" y="2334875"/>
                </a:lnTo>
                <a:lnTo>
                  <a:pt x="1511535" y="2328758"/>
                </a:lnTo>
                <a:lnTo>
                  <a:pt x="1507701" y="2326182"/>
                </a:lnTo>
                <a:lnTo>
                  <a:pt x="1505144" y="2324894"/>
                </a:lnTo>
                <a:lnTo>
                  <a:pt x="1503866" y="2324572"/>
                </a:lnTo>
                <a:lnTo>
                  <a:pt x="1503227" y="2324894"/>
                </a:lnTo>
                <a:lnTo>
                  <a:pt x="1502269" y="2325860"/>
                </a:lnTo>
                <a:lnTo>
                  <a:pt x="1501629" y="2326826"/>
                </a:lnTo>
                <a:lnTo>
                  <a:pt x="1500990" y="2328114"/>
                </a:lnTo>
                <a:lnTo>
                  <a:pt x="1500351" y="2329080"/>
                </a:lnTo>
                <a:lnTo>
                  <a:pt x="1499712" y="2329080"/>
                </a:lnTo>
                <a:lnTo>
                  <a:pt x="1499073" y="2329080"/>
                </a:lnTo>
                <a:lnTo>
                  <a:pt x="1488528" y="2328758"/>
                </a:lnTo>
                <a:lnTo>
                  <a:pt x="1482777" y="2328436"/>
                </a:lnTo>
                <a:lnTo>
                  <a:pt x="1480540" y="2328114"/>
                </a:lnTo>
                <a:lnTo>
                  <a:pt x="1478942" y="2327148"/>
                </a:lnTo>
                <a:lnTo>
                  <a:pt x="1477025" y="2318132"/>
                </a:lnTo>
                <a:lnTo>
                  <a:pt x="1476066" y="2310726"/>
                </a:lnTo>
                <a:lnTo>
                  <a:pt x="1475747" y="2305252"/>
                </a:lnTo>
                <a:lnTo>
                  <a:pt x="1475108" y="2300422"/>
                </a:lnTo>
                <a:lnTo>
                  <a:pt x="1475747" y="2297202"/>
                </a:lnTo>
                <a:lnTo>
                  <a:pt x="1476066" y="2294948"/>
                </a:lnTo>
                <a:lnTo>
                  <a:pt x="1476386" y="2293338"/>
                </a:lnTo>
                <a:lnTo>
                  <a:pt x="1474788" y="2290762"/>
                </a:lnTo>
                <a:close/>
                <a:moveTo>
                  <a:pt x="1243723" y="2290762"/>
                </a:moveTo>
                <a:lnTo>
                  <a:pt x="1335088" y="2290762"/>
                </a:lnTo>
                <a:lnTo>
                  <a:pt x="1333507" y="2293338"/>
                </a:lnTo>
                <a:lnTo>
                  <a:pt x="1334140" y="2294948"/>
                </a:lnTo>
                <a:lnTo>
                  <a:pt x="1334140" y="2297202"/>
                </a:lnTo>
                <a:lnTo>
                  <a:pt x="1334456" y="2300422"/>
                </a:lnTo>
                <a:lnTo>
                  <a:pt x="1334456" y="2305252"/>
                </a:lnTo>
                <a:lnTo>
                  <a:pt x="1333824" y="2310726"/>
                </a:lnTo>
                <a:lnTo>
                  <a:pt x="1332559" y="2318132"/>
                </a:lnTo>
                <a:lnTo>
                  <a:pt x="1330978" y="2327148"/>
                </a:lnTo>
                <a:lnTo>
                  <a:pt x="1329398" y="2328114"/>
                </a:lnTo>
                <a:lnTo>
                  <a:pt x="1327185" y="2328436"/>
                </a:lnTo>
                <a:lnTo>
                  <a:pt x="1321494" y="2328758"/>
                </a:lnTo>
                <a:lnTo>
                  <a:pt x="1311061" y="2329080"/>
                </a:lnTo>
                <a:lnTo>
                  <a:pt x="1310113" y="2329080"/>
                </a:lnTo>
                <a:lnTo>
                  <a:pt x="1309797" y="2329080"/>
                </a:lnTo>
                <a:lnTo>
                  <a:pt x="1309165" y="2328114"/>
                </a:lnTo>
                <a:lnTo>
                  <a:pt x="1308848" y="2326826"/>
                </a:lnTo>
                <a:lnTo>
                  <a:pt x="1307900" y="2325860"/>
                </a:lnTo>
                <a:lnTo>
                  <a:pt x="1306952" y="2324894"/>
                </a:lnTo>
                <a:lnTo>
                  <a:pt x="1306003" y="2324572"/>
                </a:lnTo>
                <a:lnTo>
                  <a:pt x="1305371" y="2324894"/>
                </a:lnTo>
                <a:lnTo>
                  <a:pt x="1302842" y="2326182"/>
                </a:lnTo>
                <a:lnTo>
                  <a:pt x="1298732" y="2328758"/>
                </a:lnTo>
                <a:lnTo>
                  <a:pt x="1289880" y="2334875"/>
                </a:lnTo>
                <a:lnTo>
                  <a:pt x="1281028" y="2340993"/>
                </a:lnTo>
                <a:lnTo>
                  <a:pt x="1271228" y="2346467"/>
                </a:lnTo>
                <a:lnTo>
                  <a:pt x="1266485" y="2349043"/>
                </a:lnTo>
                <a:lnTo>
                  <a:pt x="1261111" y="2351297"/>
                </a:lnTo>
                <a:lnTo>
                  <a:pt x="1256053" y="2353229"/>
                </a:lnTo>
                <a:lnTo>
                  <a:pt x="1250362" y="2355161"/>
                </a:lnTo>
                <a:lnTo>
                  <a:pt x="1244356" y="2356127"/>
                </a:lnTo>
                <a:lnTo>
                  <a:pt x="1238349" y="2357415"/>
                </a:lnTo>
                <a:lnTo>
                  <a:pt x="1232026" y="2358703"/>
                </a:lnTo>
                <a:lnTo>
                  <a:pt x="1225387" y="2359025"/>
                </a:lnTo>
                <a:lnTo>
                  <a:pt x="1218116" y="2359025"/>
                </a:lnTo>
                <a:lnTo>
                  <a:pt x="1211161" y="2358703"/>
                </a:lnTo>
                <a:lnTo>
                  <a:pt x="1205154" y="2357737"/>
                </a:lnTo>
                <a:lnTo>
                  <a:pt x="1200096" y="2357093"/>
                </a:lnTo>
                <a:lnTo>
                  <a:pt x="1195986" y="2355483"/>
                </a:lnTo>
                <a:lnTo>
                  <a:pt x="1193141" y="2353873"/>
                </a:lnTo>
                <a:lnTo>
                  <a:pt x="1190295" y="2352585"/>
                </a:lnTo>
                <a:lnTo>
                  <a:pt x="1189031" y="2350009"/>
                </a:lnTo>
                <a:lnTo>
                  <a:pt x="1187766" y="2348399"/>
                </a:lnTo>
                <a:lnTo>
                  <a:pt x="1187450" y="2345501"/>
                </a:lnTo>
                <a:lnTo>
                  <a:pt x="1187766" y="2343247"/>
                </a:lnTo>
                <a:lnTo>
                  <a:pt x="1188715" y="2340671"/>
                </a:lnTo>
                <a:lnTo>
                  <a:pt x="1189663" y="2337451"/>
                </a:lnTo>
                <a:lnTo>
                  <a:pt x="1191560" y="2334875"/>
                </a:lnTo>
                <a:lnTo>
                  <a:pt x="1193457" y="2331978"/>
                </a:lnTo>
                <a:lnTo>
                  <a:pt x="1195986" y="2328758"/>
                </a:lnTo>
                <a:lnTo>
                  <a:pt x="1201676" y="2322640"/>
                </a:lnTo>
                <a:lnTo>
                  <a:pt x="1208315" y="2316522"/>
                </a:lnTo>
                <a:lnTo>
                  <a:pt x="1215271" y="2310404"/>
                </a:lnTo>
                <a:lnTo>
                  <a:pt x="1222226" y="2305252"/>
                </a:lnTo>
                <a:lnTo>
                  <a:pt x="1228865" y="2300422"/>
                </a:lnTo>
                <a:lnTo>
                  <a:pt x="1239613" y="2293338"/>
                </a:lnTo>
                <a:lnTo>
                  <a:pt x="1243723" y="2290762"/>
                </a:lnTo>
                <a:close/>
                <a:moveTo>
                  <a:pt x="1481543" y="1798637"/>
                </a:moveTo>
                <a:lnTo>
                  <a:pt x="1701801" y="1798637"/>
                </a:lnTo>
                <a:lnTo>
                  <a:pt x="1567093" y="2273300"/>
                </a:lnTo>
                <a:lnTo>
                  <a:pt x="1465263" y="2273300"/>
                </a:lnTo>
                <a:lnTo>
                  <a:pt x="1481543" y="1798637"/>
                </a:lnTo>
                <a:close/>
                <a:moveTo>
                  <a:pt x="1119188" y="1798637"/>
                </a:moveTo>
                <a:lnTo>
                  <a:pt x="1336331" y="1798637"/>
                </a:lnTo>
                <a:lnTo>
                  <a:pt x="1346201" y="2272028"/>
                </a:lnTo>
                <a:lnTo>
                  <a:pt x="1240177" y="2273300"/>
                </a:lnTo>
                <a:lnTo>
                  <a:pt x="1119188" y="1798637"/>
                </a:lnTo>
                <a:close/>
                <a:moveTo>
                  <a:pt x="2677270" y="1559805"/>
                </a:moveTo>
                <a:lnTo>
                  <a:pt x="2530833" y="1600780"/>
                </a:lnTo>
                <a:lnTo>
                  <a:pt x="2674417" y="1589663"/>
                </a:lnTo>
                <a:lnTo>
                  <a:pt x="2677270" y="1559805"/>
                </a:lnTo>
                <a:close/>
                <a:moveTo>
                  <a:pt x="64561" y="1559805"/>
                </a:moveTo>
                <a:lnTo>
                  <a:pt x="67742" y="1589663"/>
                </a:lnTo>
                <a:lnTo>
                  <a:pt x="211812" y="1600780"/>
                </a:lnTo>
                <a:lnTo>
                  <a:pt x="64561" y="1559805"/>
                </a:lnTo>
                <a:close/>
                <a:moveTo>
                  <a:pt x="1743293" y="1510232"/>
                </a:moveTo>
                <a:lnTo>
                  <a:pt x="1815377" y="1673934"/>
                </a:lnTo>
                <a:lnTo>
                  <a:pt x="2196121" y="1673934"/>
                </a:lnTo>
                <a:lnTo>
                  <a:pt x="2051635" y="1522922"/>
                </a:lnTo>
                <a:lnTo>
                  <a:pt x="1743293" y="1510232"/>
                </a:lnTo>
                <a:close/>
                <a:moveTo>
                  <a:pt x="1093583" y="1510232"/>
                </a:moveTo>
                <a:lnTo>
                  <a:pt x="785241" y="1522922"/>
                </a:lnTo>
                <a:lnTo>
                  <a:pt x="641072" y="1673934"/>
                </a:lnTo>
                <a:lnTo>
                  <a:pt x="1021499" y="1673934"/>
                </a:lnTo>
                <a:lnTo>
                  <a:pt x="1093583" y="1510232"/>
                </a:lnTo>
                <a:close/>
                <a:moveTo>
                  <a:pt x="840494" y="1363662"/>
                </a:moveTo>
                <a:lnTo>
                  <a:pt x="1955417" y="1363662"/>
                </a:lnTo>
                <a:lnTo>
                  <a:pt x="2368551" y="1768475"/>
                </a:lnTo>
                <a:lnTo>
                  <a:pt x="398463" y="1768475"/>
                </a:lnTo>
                <a:lnTo>
                  <a:pt x="840494" y="1363662"/>
                </a:lnTo>
                <a:close/>
                <a:moveTo>
                  <a:pt x="1125700" y="1131888"/>
                </a:moveTo>
                <a:lnTo>
                  <a:pt x="1123793" y="1132523"/>
                </a:lnTo>
                <a:lnTo>
                  <a:pt x="1121569" y="1134110"/>
                </a:lnTo>
                <a:lnTo>
                  <a:pt x="1118710" y="1136650"/>
                </a:lnTo>
                <a:lnTo>
                  <a:pt x="1111084" y="1144270"/>
                </a:lnTo>
                <a:lnTo>
                  <a:pt x="1101553" y="1155065"/>
                </a:lnTo>
                <a:lnTo>
                  <a:pt x="1077405" y="1184275"/>
                </a:lnTo>
                <a:lnTo>
                  <a:pt x="1046268" y="1220153"/>
                </a:lnTo>
                <a:lnTo>
                  <a:pt x="1059613" y="1236028"/>
                </a:lnTo>
                <a:lnTo>
                  <a:pt x="1064696" y="1242378"/>
                </a:lnTo>
                <a:lnTo>
                  <a:pt x="1070098" y="1248093"/>
                </a:lnTo>
                <a:lnTo>
                  <a:pt x="1074546" y="1252538"/>
                </a:lnTo>
                <a:lnTo>
                  <a:pt x="1078994" y="1256665"/>
                </a:lnTo>
                <a:lnTo>
                  <a:pt x="1083124" y="1260158"/>
                </a:lnTo>
                <a:lnTo>
                  <a:pt x="1087890" y="1263333"/>
                </a:lnTo>
                <a:lnTo>
                  <a:pt x="1092656" y="1266508"/>
                </a:lnTo>
                <a:lnTo>
                  <a:pt x="1098375" y="1269365"/>
                </a:lnTo>
                <a:lnTo>
                  <a:pt x="1111084" y="1276350"/>
                </a:lnTo>
                <a:lnTo>
                  <a:pt x="1127606" y="1284605"/>
                </a:lnTo>
                <a:lnTo>
                  <a:pt x="1149529" y="1295400"/>
                </a:lnTo>
                <a:lnTo>
                  <a:pt x="1139362" y="1143953"/>
                </a:lnTo>
                <a:lnTo>
                  <a:pt x="1136185" y="1141413"/>
                </a:lnTo>
                <a:lnTo>
                  <a:pt x="1133325" y="1138238"/>
                </a:lnTo>
                <a:lnTo>
                  <a:pt x="1126971" y="1132205"/>
                </a:lnTo>
                <a:lnTo>
                  <a:pt x="1126017" y="1131888"/>
                </a:lnTo>
                <a:lnTo>
                  <a:pt x="1125700" y="1131888"/>
                </a:lnTo>
                <a:close/>
                <a:moveTo>
                  <a:pt x="505679" y="1004887"/>
                </a:moveTo>
                <a:lnTo>
                  <a:pt x="511721" y="1004887"/>
                </a:lnTo>
                <a:lnTo>
                  <a:pt x="517446" y="1005205"/>
                </a:lnTo>
                <a:lnTo>
                  <a:pt x="522535" y="1006158"/>
                </a:lnTo>
                <a:lnTo>
                  <a:pt x="528259" y="1007746"/>
                </a:lnTo>
                <a:lnTo>
                  <a:pt x="533348" y="1009969"/>
                </a:lnTo>
                <a:lnTo>
                  <a:pt x="538436" y="1012828"/>
                </a:lnTo>
                <a:lnTo>
                  <a:pt x="543207" y="1015687"/>
                </a:lnTo>
                <a:lnTo>
                  <a:pt x="548296" y="1019498"/>
                </a:lnTo>
                <a:lnTo>
                  <a:pt x="552748" y="1023310"/>
                </a:lnTo>
                <a:lnTo>
                  <a:pt x="557201" y="1028075"/>
                </a:lnTo>
                <a:lnTo>
                  <a:pt x="561335" y="1033157"/>
                </a:lnTo>
                <a:lnTo>
                  <a:pt x="566106" y="1038239"/>
                </a:lnTo>
                <a:lnTo>
                  <a:pt x="570240" y="1044274"/>
                </a:lnTo>
                <a:lnTo>
                  <a:pt x="573738" y="1050309"/>
                </a:lnTo>
                <a:lnTo>
                  <a:pt x="577555" y="1056980"/>
                </a:lnTo>
                <a:lnTo>
                  <a:pt x="581371" y="1063968"/>
                </a:lnTo>
                <a:lnTo>
                  <a:pt x="585188" y="1071274"/>
                </a:lnTo>
                <a:lnTo>
                  <a:pt x="588686" y="1078897"/>
                </a:lnTo>
                <a:lnTo>
                  <a:pt x="591867" y="1086838"/>
                </a:lnTo>
                <a:lnTo>
                  <a:pt x="598227" y="1103673"/>
                </a:lnTo>
                <a:lnTo>
                  <a:pt x="603952" y="1121461"/>
                </a:lnTo>
                <a:lnTo>
                  <a:pt x="609677" y="1140202"/>
                </a:lnTo>
                <a:lnTo>
                  <a:pt x="614447" y="1159260"/>
                </a:lnTo>
                <a:lnTo>
                  <a:pt x="619218" y="1179589"/>
                </a:lnTo>
                <a:lnTo>
                  <a:pt x="623670" y="1200553"/>
                </a:lnTo>
                <a:lnTo>
                  <a:pt x="627487" y="1221518"/>
                </a:lnTo>
                <a:lnTo>
                  <a:pt x="630667" y="1242799"/>
                </a:lnTo>
                <a:lnTo>
                  <a:pt x="634165" y="1264399"/>
                </a:lnTo>
                <a:lnTo>
                  <a:pt x="636710" y="1285681"/>
                </a:lnTo>
                <a:lnTo>
                  <a:pt x="639254" y="1306963"/>
                </a:lnTo>
                <a:lnTo>
                  <a:pt x="641798" y="1327927"/>
                </a:lnTo>
                <a:lnTo>
                  <a:pt x="643389" y="1348574"/>
                </a:lnTo>
                <a:lnTo>
                  <a:pt x="644979" y="1368903"/>
                </a:lnTo>
                <a:lnTo>
                  <a:pt x="647841" y="1407337"/>
                </a:lnTo>
                <a:lnTo>
                  <a:pt x="649431" y="1441960"/>
                </a:lnTo>
                <a:lnTo>
                  <a:pt x="650703" y="1471501"/>
                </a:lnTo>
                <a:lnTo>
                  <a:pt x="651021" y="1495641"/>
                </a:lnTo>
                <a:lnTo>
                  <a:pt x="645933" y="1500088"/>
                </a:lnTo>
                <a:lnTo>
                  <a:pt x="640526" y="1461971"/>
                </a:lnTo>
                <a:lnTo>
                  <a:pt x="635120" y="1423219"/>
                </a:lnTo>
                <a:lnTo>
                  <a:pt x="629713" y="1515335"/>
                </a:lnTo>
                <a:lnTo>
                  <a:pt x="623988" y="1520417"/>
                </a:lnTo>
                <a:lnTo>
                  <a:pt x="225488" y="1414008"/>
                </a:lnTo>
                <a:lnTo>
                  <a:pt x="154884" y="1399079"/>
                </a:lnTo>
                <a:lnTo>
                  <a:pt x="603316" y="1539476"/>
                </a:lnTo>
                <a:lnTo>
                  <a:pt x="319945" y="1798670"/>
                </a:lnTo>
                <a:lnTo>
                  <a:pt x="585824" y="1798670"/>
                </a:lnTo>
                <a:lnTo>
                  <a:pt x="752475" y="1798670"/>
                </a:lnTo>
                <a:lnTo>
                  <a:pt x="687596" y="2326906"/>
                </a:lnTo>
                <a:lnTo>
                  <a:pt x="595365" y="2326906"/>
                </a:lnTo>
                <a:lnTo>
                  <a:pt x="586778" y="1847904"/>
                </a:lnTo>
                <a:lnTo>
                  <a:pt x="581371" y="1857433"/>
                </a:lnTo>
                <a:lnTo>
                  <a:pt x="578509" y="1862516"/>
                </a:lnTo>
                <a:lnTo>
                  <a:pt x="575329" y="1866963"/>
                </a:lnTo>
                <a:lnTo>
                  <a:pt x="531758" y="2443162"/>
                </a:lnTo>
                <a:lnTo>
                  <a:pt x="415356" y="2443162"/>
                </a:lnTo>
                <a:lnTo>
                  <a:pt x="356837" y="1985125"/>
                </a:lnTo>
                <a:lnTo>
                  <a:pt x="349840" y="1985760"/>
                </a:lnTo>
                <a:lnTo>
                  <a:pt x="346024" y="1986078"/>
                </a:lnTo>
                <a:lnTo>
                  <a:pt x="342207" y="1986078"/>
                </a:lnTo>
                <a:lnTo>
                  <a:pt x="337437" y="1985760"/>
                </a:lnTo>
                <a:lnTo>
                  <a:pt x="332348" y="1985443"/>
                </a:lnTo>
                <a:lnTo>
                  <a:pt x="145661" y="1959078"/>
                </a:lnTo>
                <a:lnTo>
                  <a:pt x="141208" y="1957490"/>
                </a:lnTo>
                <a:lnTo>
                  <a:pt x="137074" y="1955267"/>
                </a:lnTo>
                <a:lnTo>
                  <a:pt x="133257" y="1952726"/>
                </a:lnTo>
                <a:lnTo>
                  <a:pt x="129441" y="1949867"/>
                </a:lnTo>
                <a:lnTo>
                  <a:pt x="125624" y="1946055"/>
                </a:lnTo>
                <a:lnTo>
                  <a:pt x="122126" y="1941926"/>
                </a:lnTo>
                <a:lnTo>
                  <a:pt x="119264" y="1937479"/>
                </a:lnTo>
                <a:lnTo>
                  <a:pt x="116401" y="1932397"/>
                </a:lnTo>
                <a:lnTo>
                  <a:pt x="113539" y="1927632"/>
                </a:lnTo>
                <a:lnTo>
                  <a:pt x="110995" y="1921914"/>
                </a:lnTo>
                <a:lnTo>
                  <a:pt x="108768" y="1916197"/>
                </a:lnTo>
                <a:lnTo>
                  <a:pt x="106542" y="1910162"/>
                </a:lnTo>
                <a:lnTo>
                  <a:pt x="102408" y="1897774"/>
                </a:lnTo>
                <a:lnTo>
                  <a:pt x="98909" y="1885068"/>
                </a:lnTo>
                <a:lnTo>
                  <a:pt x="96365" y="1872363"/>
                </a:lnTo>
                <a:lnTo>
                  <a:pt x="93503" y="1859339"/>
                </a:lnTo>
                <a:lnTo>
                  <a:pt x="90004" y="1836152"/>
                </a:lnTo>
                <a:lnTo>
                  <a:pt x="86824" y="1817728"/>
                </a:lnTo>
                <a:lnTo>
                  <a:pt x="85234" y="1811058"/>
                </a:lnTo>
                <a:lnTo>
                  <a:pt x="84280" y="1806293"/>
                </a:lnTo>
                <a:lnTo>
                  <a:pt x="83962" y="1800894"/>
                </a:lnTo>
                <a:lnTo>
                  <a:pt x="76965" y="1730695"/>
                </a:lnTo>
                <a:lnTo>
                  <a:pt x="69968" y="1653826"/>
                </a:lnTo>
                <a:lnTo>
                  <a:pt x="62017" y="1556628"/>
                </a:lnTo>
                <a:lnTo>
                  <a:pt x="52158" y="1552499"/>
                </a:lnTo>
                <a:lnTo>
                  <a:pt x="43571" y="1548687"/>
                </a:lnTo>
                <a:lnTo>
                  <a:pt x="35938" y="1545511"/>
                </a:lnTo>
                <a:lnTo>
                  <a:pt x="29895" y="1542017"/>
                </a:lnTo>
                <a:lnTo>
                  <a:pt x="25443" y="1538523"/>
                </a:lnTo>
                <a:lnTo>
                  <a:pt x="23535" y="1536617"/>
                </a:lnTo>
                <a:lnTo>
                  <a:pt x="21944" y="1535346"/>
                </a:lnTo>
                <a:lnTo>
                  <a:pt x="20990" y="1533758"/>
                </a:lnTo>
                <a:lnTo>
                  <a:pt x="20354" y="1532170"/>
                </a:lnTo>
                <a:lnTo>
                  <a:pt x="19718" y="1530582"/>
                </a:lnTo>
                <a:lnTo>
                  <a:pt x="20354" y="1529311"/>
                </a:lnTo>
                <a:lnTo>
                  <a:pt x="17492" y="1522641"/>
                </a:lnTo>
                <a:lnTo>
                  <a:pt x="15266" y="1515017"/>
                </a:lnTo>
                <a:lnTo>
                  <a:pt x="12721" y="1504853"/>
                </a:lnTo>
                <a:lnTo>
                  <a:pt x="10495" y="1493100"/>
                </a:lnTo>
                <a:lnTo>
                  <a:pt x="8269" y="1479759"/>
                </a:lnTo>
                <a:lnTo>
                  <a:pt x="6043" y="1465148"/>
                </a:lnTo>
                <a:lnTo>
                  <a:pt x="4134" y="1449583"/>
                </a:lnTo>
                <a:lnTo>
                  <a:pt x="2544" y="1432431"/>
                </a:lnTo>
                <a:lnTo>
                  <a:pt x="954" y="1414325"/>
                </a:lnTo>
                <a:lnTo>
                  <a:pt x="318" y="1395267"/>
                </a:lnTo>
                <a:lnTo>
                  <a:pt x="0" y="1375256"/>
                </a:lnTo>
                <a:lnTo>
                  <a:pt x="318" y="1354926"/>
                </a:lnTo>
                <a:lnTo>
                  <a:pt x="954" y="1333962"/>
                </a:lnTo>
                <a:lnTo>
                  <a:pt x="2544" y="1312363"/>
                </a:lnTo>
                <a:lnTo>
                  <a:pt x="4452" y="1290763"/>
                </a:lnTo>
                <a:lnTo>
                  <a:pt x="7315" y="1268846"/>
                </a:lnTo>
                <a:lnTo>
                  <a:pt x="11131" y="1246929"/>
                </a:lnTo>
                <a:lnTo>
                  <a:pt x="13357" y="1236447"/>
                </a:lnTo>
                <a:lnTo>
                  <a:pt x="15584" y="1225647"/>
                </a:lnTo>
                <a:lnTo>
                  <a:pt x="18446" y="1214847"/>
                </a:lnTo>
                <a:lnTo>
                  <a:pt x="21308" y="1204047"/>
                </a:lnTo>
                <a:lnTo>
                  <a:pt x="24489" y="1193248"/>
                </a:lnTo>
                <a:lnTo>
                  <a:pt x="27669" y="1183083"/>
                </a:lnTo>
                <a:lnTo>
                  <a:pt x="31486" y="1172601"/>
                </a:lnTo>
                <a:lnTo>
                  <a:pt x="35302" y="1162436"/>
                </a:lnTo>
                <a:lnTo>
                  <a:pt x="39436" y="1152272"/>
                </a:lnTo>
                <a:lnTo>
                  <a:pt x="43889" y="1142425"/>
                </a:lnTo>
                <a:lnTo>
                  <a:pt x="48978" y="1132578"/>
                </a:lnTo>
                <a:lnTo>
                  <a:pt x="54066" y="1123367"/>
                </a:lnTo>
                <a:lnTo>
                  <a:pt x="59473" y="1113838"/>
                </a:lnTo>
                <a:lnTo>
                  <a:pt x="64879" y="1104944"/>
                </a:lnTo>
                <a:lnTo>
                  <a:pt x="70922" y="1096050"/>
                </a:lnTo>
                <a:lnTo>
                  <a:pt x="77601" y="1087473"/>
                </a:lnTo>
                <a:lnTo>
                  <a:pt x="84280" y="1079215"/>
                </a:lnTo>
                <a:lnTo>
                  <a:pt x="91276" y="1071274"/>
                </a:lnTo>
                <a:lnTo>
                  <a:pt x="98591" y="1063968"/>
                </a:lnTo>
                <a:lnTo>
                  <a:pt x="106542" y="1056662"/>
                </a:lnTo>
                <a:lnTo>
                  <a:pt x="114811" y="1049674"/>
                </a:lnTo>
                <a:lnTo>
                  <a:pt x="123080" y="1043321"/>
                </a:lnTo>
                <a:lnTo>
                  <a:pt x="131985" y="1036651"/>
                </a:lnTo>
                <a:lnTo>
                  <a:pt x="141526" y="1031251"/>
                </a:lnTo>
                <a:lnTo>
                  <a:pt x="150749" y="1025851"/>
                </a:lnTo>
                <a:lnTo>
                  <a:pt x="160926" y="1021087"/>
                </a:lnTo>
                <a:lnTo>
                  <a:pt x="171740" y="1016322"/>
                </a:lnTo>
                <a:lnTo>
                  <a:pt x="182553" y="1012193"/>
                </a:lnTo>
                <a:lnTo>
                  <a:pt x="193684" y="1009016"/>
                </a:lnTo>
                <a:lnTo>
                  <a:pt x="205452" y="1005522"/>
                </a:lnTo>
                <a:lnTo>
                  <a:pt x="209904" y="1005522"/>
                </a:lnTo>
                <a:lnTo>
                  <a:pt x="218809" y="1005840"/>
                </a:lnTo>
                <a:lnTo>
                  <a:pt x="243298" y="1007428"/>
                </a:lnTo>
                <a:lnTo>
                  <a:pt x="280508" y="1009969"/>
                </a:lnTo>
                <a:lnTo>
                  <a:pt x="409313" y="1420361"/>
                </a:lnTo>
                <a:lnTo>
                  <a:pt x="397228" y="1297751"/>
                </a:lnTo>
                <a:lnTo>
                  <a:pt x="390867" y="1077309"/>
                </a:lnTo>
                <a:lnTo>
                  <a:pt x="382598" y="1056345"/>
                </a:lnTo>
                <a:lnTo>
                  <a:pt x="399136" y="1028392"/>
                </a:lnTo>
                <a:lnTo>
                  <a:pt x="436029" y="1028392"/>
                </a:lnTo>
                <a:lnTo>
                  <a:pt x="450976" y="1056345"/>
                </a:lnTo>
                <a:lnTo>
                  <a:pt x="443979" y="1081438"/>
                </a:lnTo>
                <a:lnTo>
                  <a:pt x="489141" y="1401937"/>
                </a:lnTo>
                <a:lnTo>
                  <a:pt x="481508" y="1015369"/>
                </a:lnTo>
                <a:lnTo>
                  <a:pt x="489459" y="1011875"/>
                </a:lnTo>
                <a:lnTo>
                  <a:pt x="495501" y="1009016"/>
                </a:lnTo>
                <a:lnTo>
                  <a:pt x="499000" y="1006793"/>
                </a:lnTo>
                <a:lnTo>
                  <a:pt x="499636" y="1005840"/>
                </a:lnTo>
                <a:lnTo>
                  <a:pt x="499954" y="1005522"/>
                </a:lnTo>
                <a:lnTo>
                  <a:pt x="505679" y="1004887"/>
                </a:lnTo>
                <a:close/>
                <a:moveTo>
                  <a:pt x="2233205" y="1004887"/>
                </a:moveTo>
                <a:lnTo>
                  <a:pt x="2238276" y="1005205"/>
                </a:lnTo>
                <a:lnTo>
                  <a:pt x="2243665" y="1005522"/>
                </a:lnTo>
                <a:lnTo>
                  <a:pt x="2243665" y="1005840"/>
                </a:lnTo>
                <a:lnTo>
                  <a:pt x="2244299" y="1006793"/>
                </a:lnTo>
                <a:lnTo>
                  <a:pt x="2248102" y="1009016"/>
                </a:lnTo>
                <a:lnTo>
                  <a:pt x="2253808" y="1011875"/>
                </a:lnTo>
                <a:lnTo>
                  <a:pt x="2261732" y="1015369"/>
                </a:lnTo>
                <a:lnTo>
                  <a:pt x="2254441" y="1401937"/>
                </a:lnTo>
                <a:lnTo>
                  <a:pt x="2299133" y="1081438"/>
                </a:lnTo>
                <a:lnTo>
                  <a:pt x="2292160" y="1056345"/>
                </a:lnTo>
                <a:lnTo>
                  <a:pt x="2307374" y="1028392"/>
                </a:lnTo>
                <a:lnTo>
                  <a:pt x="2344142" y="1028392"/>
                </a:lnTo>
                <a:lnTo>
                  <a:pt x="2360307" y="1056345"/>
                </a:lnTo>
                <a:lnTo>
                  <a:pt x="2352066" y="1077309"/>
                </a:lnTo>
                <a:lnTo>
                  <a:pt x="2346044" y="1297751"/>
                </a:lnTo>
                <a:lnTo>
                  <a:pt x="2333682" y="1420361"/>
                </a:lnTo>
                <a:lnTo>
                  <a:pt x="2462052" y="1009969"/>
                </a:lnTo>
                <a:lnTo>
                  <a:pt x="2499137" y="1007428"/>
                </a:lnTo>
                <a:lnTo>
                  <a:pt x="2523860" y="1005840"/>
                </a:lnTo>
                <a:lnTo>
                  <a:pt x="2532735" y="1005522"/>
                </a:lnTo>
                <a:lnTo>
                  <a:pt x="2536855" y="1005522"/>
                </a:lnTo>
                <a:lnTo>
                  <a:pt x="2548266" y="1009016"/>
                </a:lnTo>
                <a:lnTo>
                  <a:pt x="2559677" y="1012193"/>
                </a:lnTo>
                <a:lnTo>
                  <a:pt x="2570453" y="1016322"/>
                </a:lnTo>
                <a:lnTo>
                  <a:pt x="2580913" y="1021087"/>
                </a:lnTo>
                <a:lnTo>
                  <a:pt x="2591056" y="1025851"/>
                </a:lnTo>
                <a:lnTo>
                  <a:pt x="2600882" y="1031251"/>
                </a:lnTo>
                <a:lnTo>
                  <a:pt x="2610391" y="1036651"/>
                </a:lnTo>
                <a:lnTo>
                  <a:pt x="2618949" y="1043321"/>
                </a:lnTo>
                <a:lnTo>
                  <a:pt x="2627507" y="1049674"/>
                </a:lnTo>
                <a:lnTo>
                  <a:pt x="2635431" y="1056662"/>
                </a:lnTo>
                <a:lnTo>
                  <a:pt x="2643355" y="1063968"/>
                </a:lnTo>
                <a:lnTo>
                  <a:pt x="2650962" y="1071274"/>
                </a:lnTo>
                <a:lnTo>
                  <a:pt x="2657618" y="1079215"/>
                </a:lnTo>
                <a:lnTo>
                  <a:pt x="2664274" y="1087473"/>
                </a:lnTo>
                <a:lnTo>
                  <a:pt x="2670614" y="1096050"/>
                </a:lnTo>
                <a:lnTo>
                  <a:pt x="2676636" y="1104944"/>
                </a:lnTo>
                <a:lnTo>
                  <a:pt x="2682341" y="1113838"/>
                </a:lnTo>
                <a:lnTo>
                  <a:pt x="2688047" y="1123367"/>
                </a:lnTo>
                <a:lnTo>
                  <a:pt x="2692801" y="1132578"/>
                </a:lnTo>
                <a:lnTo>
                  <a:pt x="2697872" y="1142425"/>
                </a:lnTo>
                <a:lnTo>
                  <a:pt x="2702310" y="1152272"/>
                </a:lnTo>
                <a:lnTo>
                  <a:pt x="2706430" y="1162436"/>
                </a:lnTo>
                <a:lnTo>
                  <a:pt x="2710551" y="1172601"/>
                </a:lnTo>
                <a:lnTo>
                  <a:pt x="2714037" y="1183083"/>
                </a:lnTo>
                <a:lnTo>
                  <a:pt x="2717207" y="1193248"/>
                </a:lnTo>
                <a:lnTo>
                  <a:pt x="2720694" y="1204047"/>
                </a:lnTo>
                <a:lnTo>
                  <a:pt x="2723229" y="1214847"/>
                </a:lnTo>
                <a:lnTo>
                  <a:pt x="2726082" y="1225647"/>
                </a:lnTo>
                <a:lnTo>
                  <a:pt x="2728618" y="1236447"/>
                </a:lnTo>
                <a:lnTo>
                  <a:pt x="2730836" y="1246929"/>
                </a:lnTo>
                <a:lnTo>
                  <a:pt x="2734640" y="1268846"/>
                </a:lnTo>
                <a:lnTo>
                  <a:pt x="2737176" y="1290763"/>
                </a:lnTo>
                <a:lnTo>
                  <a:pt x="2739394" y="1312363"/>
                </a:lnTo>
                <a:lnTo>
                  <a:pt x="2740979" y="1333962"/>
                </a:lnTo>
                <a:lnTo>
                  <a:pt x="2741613" y="1354926"/>
                </a:lnTo>
                <a:lnTo>
                  <a:pt x="2741613" y="1375256"/>
                </a:lnTo>
                <a:lnTo>
                  <a:pt x="2741296" y="1395267"/>
                </a:lnTo>
                <a:lnTo>
                  <a:pt x="2740662" y="1414325"/>
                </a:lnTo>
                <a:lnTo>
                  <a:pt x="2739394" y="1432431"/>
                </a:lnTo>
                <a:lnTo>
                  <a:pt x="2737493" y="1449583"/>
                </a:lnTo>
                <a:lnTo>
                  <a:pt x="2735591" y="1465148"/>
                </a:lnTo>
                <a:lnTo>
                  <a:pt x="2733689" y="1479759"/>
                </a:lnTo>
                <a:lnTo>
                  <a:pt x="2731470" y="1493100"/>
                </a:lnTo>
                <a:lnTo>
                  <a:pt x="2728935" y="1504853"/>
                </a:lnTo>
                <a:lnTo>
                  <a:pt x="2726716" y="1515017"/>
                </a:lnTo>
                <a:lnTo>
                  <a:pt x="2724180" y="1522641"/>
                </a:lnTo>
                <a:lnTo>
                  <a:pt x="2721962" y="1529311"/>
                </a:lnTo>
                <a:lnTo>
                  <a:pt x="2721962" y="1530582"/>
                </a:lnTo>
                <a:lnTo>
                  <a:pt x="2721328" y="1532170"/>
                </a:lnTo>
                <a:lnTo>
                  <a:pt x="2720694" y="1533758"/>
                </a:lnTo>
                <a:lnTo>
                  <a:pt x="2719426" y="1535346"/>
                </a:lnTo>
                <a:lnTo>
                  <a:pt x="2718158" y="1536617"/>
                </a:lnTo>
                <a:lnTo>
                  <a:pt x="2716573" y="1538523"/>
                </a:lnTo>
                <a:lnTo>
                  <a:pt x="2711819" y="1542017"/>
                </a:lnTo>
                <a:lnTo>
                  <a:pt x="2705796" y="1545511"/>
                </a:lnTo>
                <a:lnTo>
                  <a:pt x="2698506" y="1548687"/>
                </a:lnTo>
                <a:lnTo>
                  <a:pt x="2689948" y="1552499"/>
                </a:lnTo>
                <a:lnTo>
                  <a:pt x="2680122" y="1556628"/>
                </a:lnTo>
                <a:lnTo>
                  <a:pt x="2671881" y="1653826"/>
                </a:lnTo>
                <a:lnTo>
                  <a:pt x="2664908" y="1730695"/>
                </a:lnTo>
                <a:lnTo>
                  <a:pt x="2657935" y="1800894"/>
                </a:lnTo>
                <a:lnTo>
                  <a:pt x="2657618" y="1806293"/>
                </a:lnTo>
                <a:lnTo>
                  <a:pt x="2656350" y="1811058"/>
                </a:lnTo>
                <a:lnTo>
                  <a:pt x="2655399" y="1817728"/>
                </a:lnTo>
                <a:lnTo>
                  <a:pt x="2652230" y="1836152"/>
                </a:lnTo>
                <a:lnTo>
                  <a:pt x="2648109" y="1859339"/>
                </a:lnTo>
                <a:lnTo>
                  <a:pt x="2645890" y="1872363"/>
                </a:lnTo>
                <a:lnTo>
                  <a:pt x="2643038" y="1885068"/>
                </a:lnTo>
                <a:lnTo>
                  <a:pt x="2639551" y="1897774"/>
                </a:lnTo>
                <a:lnTo>
                  <a:pt x="2635431" y="1910162"/>
                </a:lnTo>
                <a:lnTo>
                  <a:pt x="2633529" y="1916197"/>
                </a:lnTo>
                <a:lnTo>
                  <a:pt x="2630993" y="1921914"/>
                </a:lnTo>
                <a:lnTo>
                  <a:pt x="2628458" y="1927632"/>
                </a:lnTo>
                <a:lnTo>
                  <a:pt x="2625605" y="1932397"/>
                </a:lnTo>
                <a:lnTo>
                  <a:pt x="2622752" y="1937479"/>
                </a:lnTo>
                <a:lnTo>
                  <a:pt x="2619583" y="1941926"/>
                </a:lnTo>
                <a:lnTo>
                  <a:pt x="2616413" y="1946055"/>
                </a:lnTo>
                <a:lnTo>
                  <a:pt x="2612926" y="1949867"/>
                </a:lnTo>
                <a:lnTo>
                  <a:pt x="2609123" y="1952726"/>
                </a:lnTo>
                <a:lnTo>
                  <a:pt x="2605002" y="1955267"/>
                </a:lnTo>
                <a:lnTo>
                  <a:pt x="2600882" y="1957490"/>
                </a:lnTo>
                <a:lnTo>
                  <a:pt x="2596444" y="1959078"/>
                </a:lnTo>
                <a:lnTo>
                  <a:pt x="2410704" y="1985443"/>
                </a:lnTo>
                <a:lnTo>
                  <a:pt x="2405633" y="1985760"/>
                </a:lnTo>
                <a:lnTo>
                  <a:pt x="2400561" y="1986078"/>
                </a:lnTo>
                <a:lnTo>
                  <a:pt x="2397075" y="1986078"/>
                </a:lnTo>
                <a:lnTo>
                  <a:pt x="2393271" y="1985760"/>
                </a:lnTo>
                <a:lnTo>
                  <a:pt x="2385981" y="1985125"/>
                </a:lnTo>
                <a:lnTo>
                  <a:pt x="2327660" y="2443162"/>
                </a:lnTo>
                <a:lnTo>
                  <a:pt x="2211651" y="2443162"/>
                </a:lnTo>
                <a:lnTo>
                  <a:pt x="2168545" y="1866963"/>
                </a:lnTo>
                <a:lnTo>
                  <a:pt x="2165375" y="1862516"/>
                </a:lnTo>
                <a:lnTo>
                  <a:pt x="2162522" y="1857433"/>
                </a:lnTo>
                <a:lnTo>
                  <a:pt x="2156817" y="1847904"/>
                </a:lnTo>
                <a:lnTo>
                  <a:pt x="2148576" y="2326906"/>
                </a:lnTo>
                <a:lnTo>
                  <a:pt x="2063630" y="2320235"/>
                </a:lnTo>
                <a:lnTo>
                  <a:pt x="1992313" y="1798670"/>
                </a:lnTo>
                <a:lnTo>
                  <a:pt x="2157768" y="1798670"/>
                </a:lnTo>
                <a:lnTo>
                  <a:pt x="2443668" y="1798670"/>
                </a:lnTo>
                <a:lnTo>
                  <a:pt x="2170129" y="1529946"/>
                </a:lnTo>
                <a:lnTo>
                  <a:pt x="2587569" y="1399079"/>
                </a:lnTo>
                <a:lnTo>
                  <a:pt x="2517204" y="1414008"/>
                </a:lnTo>
                <a:lnTo>
                  <a:pt x="2151746" y="1511841"/>
                </a:lnTo>
                <a:lnTo>
                  <a:pt x="2111808" y="1472771"/>
                </a:lnTo>
                <a:lnTo>
                  <a:pt x="2108956" y="1423219"/>
                </a:lnTo>
                <a:lnTo>
                  <a:pt x="2103250" y="1464513"/>
                </a:lnTo>
                <a:lnTo>
                  <a:pt x="2093741" y="1455301"/>
                </a:lnTo>
                <a:lnTo>
                  <a:pt x="2095009" y="1426078"/>
                </a:lnTo>
                <a:lnTo>
                  <a:pt x="2096911" y="1393361"/>
                </a:lnTo>
                <a:lnTo>
                  <a:pt x="2099447" y="1358103"/>
                </a:lnTo>
                <a:lnTo>
                  <a:pt x="2103250" y="1320621"/>
                </a:lnTo>
                <a:lnTo>
                  <a:pt x="2105152" y="1301563"/>
                </a:lnTo>
                <a:lnTo>
                  <a:pt x="2107371" y="1282504"/>
                </a:lnTo>
                <a:lnTo>
                  <a:pt x="2109906" y="1262811"/>
                </a:lnTo>
                <a:lnTo>
                  <a:pt x="2113076" y="1243752"/>
                </a:lnTo>
                <a:lnTo>
                  <a:pt x="2115929" y="1224059"/>
                </a:lnTo>
                <a:lnTo>
                  <a:pt x="2119415" y="1205318"/>
                </a:lnTo>
                <a:lnTo>
                  <a:pt x="2123219" y="1186577"/>
                </a:lnTo>
                <a:lnTo>
                  <a:pt x="2127339" y="1168154"/>
                </a:lnTo>
                <a:lnTo>
                  <a:pt x="2131777" y="1150366"/>
                </a:lnTo>
                <a:lnTo>
                  <a:pt x="2136214" y="1133214"/>
                </a:lnTo>
                <a:lnTo>
                  <a:pt x="2140969" y="1116379"/>
                </a:lnTo>
                <a:lnTo>
                  <a:pt x="2146674" y="1100497"/>
                </a:lnTo>
                <a:lnTo>
                  <a:pt x="2152379" y="1085568"/>
                </a:lnTo>
                <a:lnTo>
                  <a:pt x="2158719" y="1071274"/>
                </a:lnTo>
                <a:lnTo>
                  <a:pt x="2165058" y="1058568"/>
                </a:lnTo>
                <a:lnTo>
                  <a:pt x="2168545" y="1052533"/>
                </a:lnTo>
                <a:lnTo>
                  <a:pt x="2172031" y="1046815"/>
                </a:lnTo>
                <a:lnTo>
                  <a:pt x="2175518" y="1041416"/>
                </a:lnTo>
                <a:lnTo>
                  <a:pt x="2179321" y="1036333"/>
                </a:lnTo>
                <a:lnTo>
                  <a:pt x="2183125" y="1031569"/>
                </a:lnTo>
                <a:lnTo>
                  <a:pt x="2187245" y="1027122"/>
                </a:lnTo>
                <a:lnTo>
                  <a:pt x="2191366" y="1023310"/>
                </a:lnTo>
                <a:lnTo>
                  <a:pt x="2195486" y="1019498"/>
                </a:lnTo>
                <a:lnTo>
                  <a:pt x="2199607" y="1016004"/>
                </a:lnTo>
                <a:lnTo>
                  <a:pt x="2204044" y="1013146"/>
                </a:lnTo>
                <a:lnTo>
                  <a:pt x="2208799" y="1010922"/>
                </a:lnTo>
                <a:lnTo>
                  <a:pt x="2213236" y="1008699"/>
                </a:lnTo>
                <a:lnTo>
                  <a:pt x="2217991" y="1007111"/>
                </a:lnTo>
                <a:lnTo>
                  <a:pt x="2223062" y="1005840"/>
                </a:lnTo>
                <a:lnTo>
                  <a:pt x="2227817" y="1005205"/>
                </a:lnTo>
                <a:lnTo>
                  <a:pt x="2233205" y="1004887"/>
                </a:lnTo>
                <a:close/>
                <a:moveTo>
                  <a:pt x="1560668" y="914401"/>
                </a:moveTo>
                <a:lnTo>
                  <a:pt x="1571788" y="914401"/>
                </a:lnTo>
                <a:lnTo>
                  <a:pt x="1582591" y="915671"/>
                </a:lnTo>
                <a:lnTo>
                  <a:pt x="1594029" y="917258"/>
                </a:lnTo>
                <a:lnTo>
                  <a:pt x="1604514" y="919480"/>
                </a:lnTo>
                <a:lnTo>
                  <a:pt x="1615317" y="922021"/>
                </a:lnTo>
                <a:lnTo>
                  <a:pt x="1625802" y="925196"/>
                </a:lnTo>
                <a:lnTo>
                  <a:pt x="1636287" y="928688"/>
                </a:lnTo>
                <a:lnTo>
                  <a:pt x="1646772" y="933133"/>
                </a:lnTo>
                <a:lnTo>
                  <a:pt x="1656939" y="937261"/>
                </a:lnTo>
                <a:lnTo>
                  <a:pt x="1666788" y="942023"/>
                </a:lnTo>
                <a:lnTo>
                  <a:pt x="1676638" y="946786"/>
                </a:lnTo>
                <a:lnTo>
                  <a:pt x="1686487" y="952183"/>
                </a:lnTo>
                <a:lnTo>
                  <a:pt x="1695384" y="957263"/>
                </a:lnTo>
                <a:lnTo>
                  <a:pt x="1704598" y="962978"/>
                </a:lnTo>
                <a:lnTo>
                  <a:pt x="1712859" y="968693"/>
                </a:lnTo>
                <a:lnTo>
                  <a:pt x="1721120" y="974726"/>
                </a:lnTo>
                <a:lnTo>
                  <a:pt x="1729063" y="980441"/>
                </a:lnTo>
                <a:lnTo>
                  <a:pt x="1736371" y="986473"/>
                </a:lnTo>
                <a:lnTo>
                  <a:pt x="1750033" y="997586"/>
                </a:lnTo>
                <a:lnTo>
                  <a:pt x="1762106" y="1008698"/>
                </a:lnTo>
                <a:lnTo>
                  <a:pt x="1771956" y="1018858"/>
                </a:lnTo>
                <a:lnTo>
                  <a:pt x="1779264" y="1027748"/>
                </a:lnTo>
                <a:lnTo>
                  <a:pt x="1782441" y="1031558"/>
                </a:lnTo>
                <a:lnTo>
                  <a:pt x="1784665" y="1034733"/>
                </a:lnTo>
                <a:lnTo>
                  <a:pt x="1786254" y="1037908"/>
                </a:lnTo>
                <a:lnTo>
                  <a:pt x="1787207" y="1040448"/>
                </a:lnTo>
                <a:lnTo>
                  <a:pt x="1788160" y="1045845"/>
                </a:lnTo>
                <a:lnTo>
                  <a:pt x="1788478" y="1053783"/>
                </a:lnTo>
                <a:lnTo>
                  <a:pt x="1789113" y="1076643"/>
                </a:lnTo>
                <a:lnTo>
                  <a:pt x="1789113" y="1107440"/>
                </a:lnTo>
                <a:lnTo>
                  <a:pt x="1788478" y="1144588"/>
                </a:lnTo>
                <a:lnTo>
                  <a:pt x="1787525" y="1187133"/>
                </a:lnTo>
                <a:lnTo>
                  <a:pt x="1786254" y="1233488"/>
                </a:lnTo>
                <a:lnTo>
                  <a:pt x="1784347" y="1282383"/>
                </a:lnTo>
                <a:lnTo>
                  <a:pt x="1782123" y="1331913"/>
                </a:lnTo>
                <a:lnTo>
                  <a:pt x="1672507" y="1331913"/>
                </a:lnTo>
                <a:lnTo>
                  <a:pt x="1674096" y="1293813"/>
                </a:lnTo>
                <a:lnTo>
                  <a:pt x="1674732" y="1258253"/>
                </a:lnTo>
                <a:lnTo>
                  <a:pt x="1675685" y="1225550"/>
                </a:lnTo>
                <a:lnTo>
                  <a:pt x="1676002" y="1197293"/>
                </a:lnTo>
                <a:lnTo>
                  <a:pt x="1675685" y="1174115"/>
                </a:lnTo>
                <a:lnTo>
                  <a:pt x="1674732" y="1156970"/>
                </a:lnTo>
                <a:lnTo>
                  <a:pt x="1674096" y="1150938"/>
                </a:lnTo>
                <a:lnTo>
                  <a:pt x="1673143" y="1147445"/>
                </a:lnTo>
                <a:lnTo>
                  <a:pt x="1672825" y="1145858"/>
                </a:lnTo>
                <a:lnTo>
                  <a:pt x="1672507" y="1144905"/>
                </a:lnTo>
                <a:lnTo>
                  <a:pt x="1672190" y="1144905"/>
                </a:lnTo>
                <a:lnTo>
                  <a:pt x="1671237" y="1145540"/>
                </a:lnTo>
                <a:lnTo>
                  <a:pt x="1669648" y="1147445"/>
                </a:lnTo>
                <a:lnTo>
                  <a:pt x="1668059" y="1149668"/>
                </a:lnTo>
                <a:lnTo>
                  <a:pt x="1666471" y="1151890"/>
                </a:lnTo>
                <a:lnTo>
                  <a:pt x="1654079" y="1331913"/>
                </a:lnTo>
                <a:lnTo>
                  <a:pt x="1602608" y="1331913"/>
                </a:lnTo>
                <a:lnTo>
                  <a:pt x="1602290" y="1283335"/>
                </a:lnTo>
                <a:lnTo>
                  <a:pt x="1598477" y="1283653"/>
                </a:lnTo>
                <a:lnTo>
                  <a:pt x="1586721" y="1284605"/>
                </a:lnTo>
                <a:lnTo>
                  <a:pt x="1568293" y="1285240"/>
                </a:lnTo>
                <a:lnTo>
                  <a:pt x="1556537" y="1285558"/>
                </a:lnTo>
                <a:lnTo>
                  <a:pt x="1543828" y="1285558"/>
                </a:lnTo>
                <a:lnTo>
                  <a:pt x="1529213" y="1285240"/>
                </a:lnTo>
                <a:lnTo>
                  <a:pt x="1513009" y="1284605"/>
                </a:lnTo>
                <a:lnTo>
                  <a:pt x="1496169" y="1283653"/>
                </a:lnTo>
                <a:lnTo>
                  <a:pt x="1477741" y="1282383"/>
                </a:lnTo>
                <a:lnTo>
                  <a:pt x="1457724" y="1280478"/>
                </a:lnTo>
                <a:lnTo>
                  <a:pt x="1437390" y="1277620"/>
                </a:lnTo>
                <a:lnTo>
                  <a:pt x="1415467" y="1274763"/>
                </a:lnTo>
                <a:lnTo>
                  <a:pt x="1392908" y="1270953"/>
                </a:lnTo>
                <a:lnTo>
                  <a:pt x="1381787" y="1268730"/>
                </a:lnTo>
                <a:lnTo>
                  <a:pt x="1370349" y="1266508"/>
                </a:lnTo>
                <a:lnTo>
                  <a:pt x="1359547" y="1263968"/>
                </a:lnTo>
                <a:lnTo>
                  <a:pt x="1348426" y="1261110"/>
                </a:lnTo>
                <a:lnTo>
                  <a:pt x="1328092" y="1254760"/>
                </a:lnTo>
                <a:lnTo>
                  <a:pt x="1308710" y="1248410"/>
                </a:lnTo>
                <a:lnTo>
                  <a:pt x="1290282" y="1241743"/>
                </a:lnTo>
                <a:lnTo>
                  <a:pt x="1273443" y="1234440"/>
                </a:lnTo>
                <a:lnTo>
                  <a:pt x="1257556" y="1227455"/>
                </a:lnTo>
                <a:lnTo>
                  <a:pt x="1243259" y="1220153"/>
                </a:lnTo>
                <a:lnTo>
                  <a:pt x="1229914" y="1213485"/>
                </a:lnTo>
                <a:lnTo>
                  <a:pt x="1218794" y="1207135"/>
                </a:lnTo>
                <a:lnTo>
                  <a:pt x="1208626" y="1201103"/>
                </a:lnTo>
                <a:lnTo>
                  <a:pt x="1200366" y="1196340"/>
                </a:lnTo>
                <a:lnTo>
                  <a:pt x="1189245" y="1188720"/>
                </a:lnTo>
                <a:lnTo>
                  <a:pt x="1185115" y="1186180"/>
                </a:lnTo>
                <a:lnTo>
                  <a:pt x="1204814" y="1331913"/>
                </a:lnTo>
                <a:lnTo>
                  <a:pt x="1152071" y="1331913"/>
                </a:lnTo>
                <a:lnTo>
                  <a:pt x="1149529" y="1296670"/>
                </a:lnTo>
                <a:lnTo>
                  <a:pt x="1143810" y="1297305"/>
                </a:lnTo>
                <a:lnTo>
                  <a:pt x="1135549" y="1299210"/>
                </a:lnTo>
                <a:lnTo>
                  <a:pt x="1112355" y="1303655"/>
                </a:lnTo>
                <a:lnTo>
                  <a:pt x="1082489" y="1309688"/>
                </a:lnTo>
                <a:lnTo>
                  <a:pt x="1066285" y="1313180"/>
                </a:lnTo>
                <a:lnTo>
                  <a:pt x="1049445" y="1316038"/>
                </a:lnTo>
                <a:lnTo>
                  <a:pt x="1032606" y="1318895"/>
                </a:lnTo>
                <a:lnTo>
                  <a:pt x="1015766" y="1321118"/>
                </a:lnTo>
                <a:lnTo>
                  <a:pt x="999880" y="1322388"/>
                </a:lnTo>
                <a:lnTo>
                  <a:pt x="984629" y="1323658"/>
                </a:lnTo>
                <a:lnTo>
                  <a:pt x="977639" y="1323658"/>
                </a:lnTo>
                <a:lnTo>
                  <a:pt x="970649" y="1323658"/>
                </a:lnTo>
                <a:lnTo>
                  <a:pt x="964295" y="1323340"/>
                </a:lnTo>
                <a:lnTo>
                  <a:pt x="958575" y="1323023"/>
                </a:lnTo>
                <a:lnTo>
                  <a:pt x="953174" y="1322070"/>
                </a:lnTo>
                <a:lnTo>
                  <a:pt x="948090" y="1320483"/>
                </a:lnTo>
                <a:lnTo>
                  <a:pt x="943960" y="1319213"/>
                </a:lnTo>
                <a:lnTo>
                  <a:pt x="940783" y="1317625"/>
                </a:lnTo>
                <a:lnTo>
                  <a:pt x="934746" y="1305560"/>
                </a:lnTo>
                <a:lnTo>
                  <a:pt x="928709" y="1295083"/>
                </a:lnTo>
                <a:lnTo>
                  <a:pt x="917271" y="1275398"/>
                </a:lnTo>
                <a:lnTo>
                  <a:pt x="912505" y="1266508"/>
                </a:lnTo>
                <a:lnTo>
                  <a:pt x="908057" y="1257935"/>
                </a:lnTo>
                <a:lnTo>
                  <a:pt x="904244" y="1249680"/>
                </a:lnTo>
                <a:lnTo>
                  <a:pt x="902338" y="1244918"/>
                </a:lnTo>
                <a:lnTo>
                  <a:pt x="901067" y="1240790"/>
                </a:lnTo>
                <a:lnTo>
                  <a:pt x="900114" y="1236663"/>
                </a:lnTo>
                <a:lnTo>
                  <a:pt x="899161" y="1232535"/>
                </a:lnTo>
                <a:lnTo>
                  <a:pt x="898843" y="1228408"/>
                </a:lnTo>
                <a:lnTo>
                  <a:pt x="898525" y="1223963"/>
                </a:lnTo>
                <a:lnTo>
                  <a:pt x="898843" y="1219835"/>
                </a:lnTo>
                <a:lnTo>
                  <a:pt x="899161" y="1215390"/>
                </a:lnTo>
                <a:lnTo>
                  <a:pt x="900431" y="1210628"/>
                </a:lnTo>
                <a:lnTo>
                  <a:pt x="901385" y="1205865"/>
                </a:lnTo>
                <a:lnTo>
                  <a:pt x="903291" y="1201103"/>
                </a:lnTo>
                <a:lnTo>
                  <a:pt x="905197" y="1195705"/>
                </a:lnTo>
                <a:lnTo>
                  <a:pt x="908057" y="1190943"/>
                </a:lnTo>
                <a:lnTo>
                  <a:pt x="910916" y="1185228"/>
                </a:lnTo>
                <a:lnTo>
                  <a:pt x="914729" y="1179513"/>
                </a:lnTo>
                <a:lnTo>
                  <a:pt x="918542" y="1173480"/>
                </a:lnTo>
                <a:lnTo>
                  <a:pt x="922990" y="1167765"/>
                </a:lnTo>
                <a:lnTo>
                  <a:pt x="928391" y="1161098"/>
                </a:lnTo>
                <a:lnTo>
                  <a:pt x="939512" y="1146810"/>
                </a:lnTo>
                <a:lnTo>
                  <a:pt x="949361" y="1133793"/>
                </a:lnTo>
                <a:lnTo>
                  <a:pt x="967154" y="1109345"/>
                </a:lnTo>
                <a:lnTo>
                  <a:pt x="976050" y="1096963"/>
                </a:lnTo>
                <a:lnTo>
                  <a:pt x="985900" y="1084580"/>
                </a:lnTo>
                <a:lnTo>
                  <a:pt x="997338" y="1070928"/>
                </a:lnTo>
                <a:lnTo>
                  <a:pt x="1004328" y="1063943"/>
                </a:lnTo>
                <a:lnTo>
                  <a:pt x="1011318" y="1056323"/>
                </a:lnTo>
                <a:lnTo>
                  <a:pt x="1017673" y="1045528"/>
                </a:lnTo>
                <a:lnTo>
                  <a:pt x="1024663" y="1035368"/>
                </a:lnTo>
                <a:lnTo>
                  <a:pt x="1031335" y="1025525"/>
                </a:lnTo>
                <a:lnTo>
                  <a:pt x="1038007" y="1016318"/>
                </a:lnTo>
                <a:lnTo>
                  <a:pt x="1044997" y="1008063"/>
                </a:lnTo>
                <a:lnTo>
                  <a:pt x="1051669" y="1000443"/>
                </a:lnTo>
                <a:lnTo>
                  <a:pt x="1058659" y="993141"/>
                </a:lnTo>
                <a:lnTo>
                  <a:pt x="1065967" y="986473"/>
                </a:lnTo>
                <a:lnTo>
                  <a:pt x="1073593" y="980123"/>
                </a:lnTo>
                <a:lnTo>
                  <a:pt x="1080583" y="974091"/>
                </a:lnTo>
                <a:lnTo>
                  <a:pt x="1088208" y="968693"/>
                </a:lnTo>
                <a:lnTo>
                  <a:pt x="1096151" y="963931"/>
                </a:lnTo>
                <a:lnTo>
                  <a:pt x="1104094" y="959168"/>
                </a:lnTo>
                <a:lnTo>
                  <a:pt x="1111720" y="954723"/>
                </a:lnTo>
                <a:lnTo>
                  <a:pt x="1119663" y="950913"/>
                </a:lnTo>
                <a:lnTo>
                  <a:pt x="1127924" y="947738"/>
                </a:lnTo>
                <a:lnTo>
                  <a:pt x="1136185" y="944246"/>
                </a:lnTo>
                <a:lnTo>
                  <a:pt x="1145081" y="941388"/>
                </a:lnTo>
                <a:lnTo>
                  <a:pt x="1153660" y="938531"/>
                </a:lnTo>
                <a:lnTo>
                  <a:pt x="1162238" y="935991"/>
                </a:lnTo>
                <a:lnTo>
                  <a:pt x="1171452" y="933768"/>
                </a:lnTo>
                <a:lnTo>
                  <a:pt x="1180349" y="931863"/>
                </a:lnTo>
                <a:lnTo>
                  <a:pt x="1199412" y="928053"/>
                </a:lnTo>
                <a:lnTo>
                  <a:pt x="1218794" y="924561"/>
                </a:lnTo>
                <a:lnTo>
                  <a:pt x="1239128" y="921703"/>
                </a:lnTo>
                <a:lnTo>
                  <a:pt x="1282021" y="915988"/>
                </a:lnTo>
                <a:lnTo>
                  <a:pt x="1284881" y="915671"/>
                </a:lnTo>
                <a:lnTo>
                  <a:pt x="1287740" y="915671"/>
                </a:lnTo>
                <a:lnTo>
                  <a:pt x="1292824" y="915671"/>
                </a:lnTo>
                <a:lnTo>
                  <a:pt x="1366537" y="1187768"/>
                </a:lnTo>
                <a:lnTo>
                  <a:pt x="1368125" y="1176973"/>
                </a:lnTo>
                <a:lnTo>
                  <a:pt x="1393226" y="990283"/>
                </a:lnTo>
                <a:lnTo>
                  <a:pt x="1386236" y="972186"/>
                </a:lnTo>
                <a:lnTo>
                  <a:pt x="1400216" y="947738"/>
                </a:lnTo>
                <a:lnTo>
                  <a:pt x="1432306" y="947421"/>
                </a:lnTo>
                <a:lnTo>
                  <a:pt x="1445968" y="972186"/>
                </a:lnTo>
                <a:lnTo>
                  <a:pt x="1439614" y="993776"/>
                </a:lnTo>
                <a:lnTo>
                  <a:pt x="1462490" y="1190943"/>
                </a:lnTo>
                <a:lnTo>
                  <a:pt x="1522858" y="924243"/>
                </a:lnTo>
                <a:lnTo>
                  <a:pt x="1529530" y="921386"/>
                </a:lnTo>
                <a:lnTo>
                  <a:pt x="1534932" y="918846"/>
                </a:lnTo>
                <a:lnTo>
                  <a:pt x="1537791" y="916940"/>
                </a:lnTo>
                <a:lnTo>
                  <a:pt x="1538427" y="915988"/>
                </a:lnTo>
                <a:lnTo>
                  <a:pt x="1549865" y="915036"/>
                </a:lnTo>
                <a:lnTo>
                  <a:pt x="1560668" y="914401"/>
                </a:lnTo>
                <a:close/>
                <a:moveTo>
                  <a:pt x="170497" y="661035"/>
                </a:moveTo>
                <a:lnTo>
                  <a:pt x="168576" y="681657"/>
                </a:lnTo>
                <a:lnTo>
                  <a:pt x="168275" y="683619"/>
                </a:lnTo>
                <a:lnTo>
                  <a:pt x="167640" y="691889"/>
                </a:lnTo>
                <a:lnTo>
                  <a:pt x="167640" y="695282"/>
                </a:lnTo>
                <a:lnTo>
                  <a:pt x="167322" y="700477"/>
                </a:lnTo>
                <a:lnTo>
                  <a:pt x="167640" y="700795"/>
                </a:lnTo>
                <a:lnTo>
                  <a:pt x="167640" y="695282"/>
                </a:lnTo>
                <a:lnTo>
                  <a:pt x="168275" y="684891"/>
                </a:lnTo>
                <a:lnTo>
                  <a:pt x="168576" y="681657"/>
                </a:lnTo>
                <a:lnTo>
                  <a:pt x="169545" y="675349"/>
                </a:lnTo>
                <a:lnTo>
                  <a:pt x="170497" y="668033"/>
                </a:lnTo>
                <a:lnTo>
                  <a:pt x="170497" y="664534"/>
                </a:lnTo>
                <a:lnTo>
                  <a:pt x="170497" y="661035"/>
                </a:lnTo>
                <a:close/>
                <a:moveTo>
                  <a:pt x="2571454" y="661035"/>
                </a:moveTo>
                <a:lnTo>
                  <a:pt x="2571454" y="664534"/>
                </a:lnTo>
                <a:lnTo>
                  <a:pt x="2571137" y="668033"/>
                </a:lnTo>
                <a:lnTo>
                  <a:pt x="2572406" y="675349"/>
                </a:lnTo>
                <a:lnTo>
                  <a:pt x="2573358" y="683619"/>
                </a:lnTo>
                <a:lnTo>
                  <a:pt x="2573992" y="691889"/>
                </a:lnTo>
                <a:lnTo>
                  <a:pt x="2574310" y="700795"/>
                </a:lnTo>
                <a:lnTo>
                  <a:pt x="2574627" y="700477"/>
                </a:lnTo>
                <a:lnTo>
                  <a:pt x="2573675" y="684891"/>
                </a:lnTo>
                <a:lnTo>
                  <a:pt x="2571454" y="661035"/>
                </a:lnTo>
                <a:close/>
                <a:moveTo>
                  <a:pt x="197485" y="574519"/>
                </a:moveTo>
                <a:lnTo>
                  <a:pt x="195897" y="575155"/>
                </a:lnTo>
                <a:lnTo>
                  <a:pt x="194310" y="576109"/>
                </a:lnTo>
                <a:lnTo>
                  <a:pt x="192405" y="577381"/>
                </a:lnTo>
                <a:lnTo>
                  <a:pt x="190817" y="579290"/>
                </a:lnTo>
                <a:lnTo>
                  <a:pt x="189230" y="581198"/>
                </a:lnTo>
                <a:lnTo>
                  <a:pt x="186690" y="585969"/>
                </a:lnTo>
                <a:lnTo>
                  <a:pt x="189865" y="582789"/>
                </a:lnTo>
                <a:lnTo>
                  <a:pt x="192722" y="579608"/>
                </a:lnTo>
                <a:lnTo>
                  <a:pt x="195897" y="576745"/>
                </a:lnTo>
                <a:lnTo>
                  <a:pt x="199390" y="574519"/>
                </a:lnTo>
                <a:lnTo>
                  <a:pt x="197485" y="574519"/>
                </a:lnTo>
                <a:close/>
                <a:moveTo>
                  <a:pt x="2542584" y="574518"/>
                </a:moveTo>
                <a:lnTo>
                  <a:pt x="2545757" y="576745"/>
                </a:lnTo>
                <a:lnTo>
                  <a:pt x="2549247" y="579608"/>
                </a:lnTo>
                <a:lnTo>
                  <a:pt x="2552102" y="582788"/>
                </a:lnTo>
                <a:lnTo>
                  <a:pt x="2555274" y="585969"/>
                </a:lnTo>
                <a:lnTo>
                  <a:pt x="2552102" y="581198"/>
                </a:lnTo>
                <a:lnTo>
                  <a:pt x="2550833" y="579290"/>
                </a:lnTo>
                <a:lnTo>
                  <a:pt x="2549247" y="577381"/>
                </a:lnTo>
                <a:lnTo>
                  <a:pt x="2547660" y="576109"/>
                </a:lnTo>
                <a:lnTo>
                  <a:pt x="2545757" y="575155"/>
                </a:lnTo>
                <a:lnTo>
                  <a:pt x="2544488" y="574518"/>
                </a:lnTo>
                <a:lnTo>
                  <a:pt x="2542584" y="574518"/>
                </a:lnTo>
                <a:close/>
                <a:moveTo>
                  <a:pt x="331470" y="485775"/>
                </a:moveTo>
                <a:lnTo>
                  <a:pt x="347662" y="485775"/>
                </a:lnTo>
                <a:lnTo>
                  <a:pt x="363537" y="486729"/>
                </a:lnTo>
                <a:lnTo>
                  <a:pt x="378460" y="488638"/>
                </a:lnTo>
                <a:lnTo>
                  <a:pt x="393700" y="490864"/>
                </a:lnTo>
                <a:lnTo>
                  <a:pt x="407988" y="493409"/>
                </a:lnTo>
                <a:lnTo>
                  <a:pt x="421323" y="497226"/>
                </a:lnTo>
                <a:lnTo>
                  <a:pt x="434658" y="501043"/>
                </a:lnTo>
                <a:lnTo>
                  <a:pt x="447040" y="505178"/>
                </a:lnTo>
                <a:lnTo>
                  <a:pt x="459105" y="509631"/>
                </a:lnTo>
                <a:lnTo>
                  <a:pt x="470535" y="514402"/>
                </a:lnTo>
                <a:lnTo>
                  <a:pt x="481013" y="519491"/>
                </a:lnTo>
                <a:lnTo>
                  <a:pt x="491173" y="524580"/>
                </a:lnTo>
                <a:lnTo>
                  <a:pt x="500698" y="529670"/>
                </a:lnTo>
                <a:lnTo>
                  <a:pt x="509270" y="534759"/>
                </a:lnTo>
                <a:lnTo>
                  <a:pt x="517208" y="539848"/>
                </a:lnTo>
                <a:lnTo>
                  <a:pt x="524510" y="544301"/>
                </a:lnTo>
                <a:lnTo>
                  <a:pt x="536575" y="552889"/>
                </a:lnTo>
                <a:lnTo>
                  <a:pt x="545465" y="559569"/>
                </a:lnTo>
                <a:lnTo>
                  <a:pt x="550863" y="564340"/>
                </a:lnTo>
                <a:lnTo>
                  <a:pt x="552450" y="565612"/>
                </a:lnTo>
                <a:lnTo>
                  <a:pt x="550863" y="569747"/>
                </a:lnTo>
                <a:lnTo>
                  <a:pt x="548005" y="574837"/>
                </a:lnTo>
                <a:lnTo>
                  <a:pt x="544195" y="581198"/>
                </a:lnTo>
                <a:lnTo>
                  <a:pt x="539750" y="587878"/>
                </a:lnTo>
                <a:lnTo>
                  <a:pt x="534035" y="595512"/>
                </a:lnTo>
                <a:lnTo>
                  <a:pt x="530860" y="599647"/>
                </a:lnTo>
                <a:lnTo>
                  <a:pt x="527050" y="603463"/>
                </a:lnTo>
                <a:lnTo>
                  <a:pt x="523240" y="607280"/>
                </a:lnTo>
                <a:lnTo>
                  <a:pt x="518795" y="610779"/>
                </a:lnTo>
                <a:lnTo>
                  <a:pt x="514350" y="614278"/>
                </a:lnTo>
                <a:lnTo>
                  <a:pt x="509588" y="617777"/>
                </a:lnTo>
                <a:lnTo>
                  <a:pt x="504508" y="620640"/>
                </a:lnTo>
                <a:lnTo>
                  <a:pt x="498793" y="623502"/>
                </a:lnTo>
                <a:lnTo>
                  <a:pt x="493078" y="626047"/>
                </a:lnTo>
                <a:lnTo>
                  <a:pt x="487045" y="627955"/>
                </a:lnTo>
                <a:lnTo>
                  <a:pt x="480695" y="629228"/>
                </a:lnTo>
                <a:lnTo>
                  <a:pt x="474028" y="630500"/>
                </a:lnTo>
                <a:lnTo>
                  <a:pt x="466725" y="630818"/>
                </a:lnTo>
                <a:lnTo>
                  <a:pt x="459423" y="630818"/>
                </a:lnTo>
                <a:lnTo>
                  <a:pt x="451803" y="630182"/>
                </a:lnTo>
                <a:lnTo>
                  <a:pt x="443548" y="628910"/>
                </a:lnTo>
                <a:lnTo>
                  <a:pt x="434975" y="626683"/>
                </a:lnTo>
                <a:lnTo>
                  <a:pt x="426403" y="624139"/>
                </a:lnTo>
                <a:lnTo>
                  <a:pt x="417195" y="620322"/>
                </a:lnTo>
                <a:lnTo>
                  <a:pt x="407353" y="615869"/>
                </a:lnTo>
                <a:lnTo>
                  <a:pt x="396557" y="610461"/>
                </a:lnTo>
                <a:lnTo>
                  <a:pt x="385127" y="605690"/>
                </a:lnTo>
                <a:lnTo>
                  <a:pt x="408305" y="616823"/>
                </a:lnTo>
                <a:lnTo>
                  <a:pt x="430848" y="627955"/>
                </a:lnTo>
                <a:lnTo>
                  <a:pt x="441643" y="632727"/>
                </a:lnTo>
                <a:lnTo>
                  <a:pt x="452120" y="637180"/>
                </a:lnTo>
                <a:lnTo>
                  <a:pt x="462280" y="641315"/>
                </a:lnTo>
                <a:lnTo>
                  <a:pt x="472440" y="645132"/>
                </a:lnTo>
                <a:lnTo>
                  <a:pt x="481965" y="648312"/>
                </a:lnTo>
                <a:lnTo>
                  <a:pt x="491173" y="650539"/>
                </a:lnTo>
                <a:lnTo>
                  <a:pt x="500063" y="652129"/>
                </a:lnTo>
                <a:lnTo>
                  <a:pt x="504190" y="652447"/>
                </a:lnTo>
                <a:lnTo>
                  <a:pt x="508318" y="652447"/>
                </a:lnTo>
                <a:lnTo>
                  <a:pt x="512128" y="652447"/>
                </a:lnTo>
                <a:lnTo>
                  <a:pt x="515620" y="652129"/>
                </a:lnTo>
                <a:lnTo>
                  <a:pt x="519430" y="651493"/>
                </a:lnTo>
                <a:lnTo>
                  <a:pt x="522923" y="650539"/>
                </a:lnTo>
                <a:lnTo>
                  <a:pt x="526415" y="649267"/>
                </a:lnTo>
                <a:lnTo>
                  <a:pt x="529590" y="647676"/>
                </a:lnTo>
                <a:lnTo>
                  <a:pt x="532765" y="646086"/>
                </a:lnTo>
                <a:lnTo>
                  <a:pt x="535623" y="643541"/>
                </a:lnTo>
                <a:lnTo>
                  <a:pt x="536893" y="651493"/>
                </a:lnTo>
                <a:lnTo>
                  <a:pt x="537210" y="659127"/>
                </a:lnTo>
                <a:lnTo>
                  <a:pt x="537845" y="673440"/>
                </a:lnTo>
                <a:lnTo>
                  <a:pt x="537845" y="687118"/>
                </a:lnTo>
                <a:lnTo>
                  <a:pt x="537210" y="700159"/>
                </a:lnTo>
                <a:lnTo>
                  <a:pt x="538163" y="699205"/>
                </a:lnTo>
                <a:lnTo>
                  <a:pt x="539433" y="697932"/>
                </a:lnTo>
                <a:lnTo>
                  <a:pt x="540703" y="697296"/>
                </a:lnTo>
                <a:lnTo>
                  <a:pt x="541973" y="696660"/>
                </a:lnTo>
                <a:lnTo>
                  <a:pt x="542925" y="697296"/>
                </a:lnTo>
                <a:lnTo>
                  <a:pt x="543243" y="698251"/>
                </a:lnTo>
                <a:lnTo>
                  <a:pt x="543878" y="699841"/>
                </a:lnTo>
                <a:lnTo>
                  <a:pt x="543878" y="702067"/>
                </a:lnTo>
                <a:lnTo>
                  <a:pt x="544195" y="708429"/>
                </a:lnTo>
                <a:lnTo>
                  <a:pt x="544195" y="716063"/>
                </a:lnTo>
                <a:lnTo>
                  <a:pt x="543878" y="725287"/>
                </a:lnTo>
                <a:lnTo>
                  <a:pt x="542925" y="735466"/>
                </a:lnTo>
                <a:lnTo>
                  <a:pt x="540703" y="757413"/>
                </a:lnTo>
                <a:lnTo>
                  <a:pt x="537528" y="779042"/>
                </a:lnTo>
                <a:lnTo>
                  <a:pt x="534670" y="796536"/>
                </a:lnTo>
                <a:lnTo>
                  <a:pt x="533083" y="802898"/>
                </a:lnTo>
                <a:lnTo>
                  <a:pt x="531813" y="807669"/>
                </a:lnTo>
                <a:lnTo>
                  <a:pt x="531178" y="808623"/>
                </a:lnTo>
                <a:lnTo>
                  <a:pt x="530860" y="809577"/>
                </a:lnTo>
                <a:lnTo>
                  <a:pt x="530543" y="809577"/>
                </a:lnTo>
                <a:lnTo>
                  <a:pt x="529908" y="808623"/>
                </a:lnTo>
                <a:lnTo>
                  <a:pt x="528638" y="820392"/>
                </a:lnTo>
                <a:lnTo>
                  <a:pt x="526733" y="831525"/>
                </a:lnTo>
                <a:lnTo>
                  <a:pt x="524510" y="842657"/>
                </a:lnTo>
                <a:lnTo>
                  <a:pt x="521335" y="853154"/>
                </a:lnTo>
                <a:lnTo>
                  <a:pt x="518478" y="863650"/>
                </a:lnTo>
                <a:lnTo>
                  <a:pt x="514985" y="873829"/>
                </a:lnTo>
                <a:lnTo>
                  <a:pt x="510858" y="883689"/>
                </a:lnTo>
                <a:lnTo>
                  <a:pt x="506730" y="892913"/>
                </a:lnTo>
                <a:lnTo>
                  <a:pt x="502285" y="902138"/>
                </a:lnTo>
                <a:lnTo>
                  <a:pt x="497205" y="911044"/>
                </a:lnTo>
                <a:lnTo>
                  <a:pt x="492443" y="919314"/>
                </a:lnTo>
                <a:lnTo>
                  <a:pt x="486728" y="927584"/>
                </a:lnTo>
                <a:lnTo>
                  <a:pt x="481013" y="935536"/>
                </a:lnTo>
                <a:lnTo>
                  <a:pt x="475615" y="943170"/>
                </a:lnTo>
                <a:lnTo>
                  <a:pt x="469583" y="950167"/>
                </a:lnTo>
                <a:lnTo>
                  <a:pt x="463550" y="957165"/>
                </a:lnTo>
                <a:lnTo>
                  <a:pt x="457200" y="963209"/>
                </a:lnTo>
                <a:lnTo>
                  <a:pt x="450850" y="969252"/>
                </a:lnTo>
                <a:lnTo>
                  <a:pt x="443865" y="974659"/>
                </a:lnTo>
                <a:lnTo>
                  <a:pt x="437198" y="980067"/>
                </a:lnTo>
                <a:lnTo>
                  <a:pt x="430530" y="984838"/>
                </a:lnTo>
                <a:lnTo>
                  <a:pt x="423545" y="989609"/>
                </a:lnTo>
                <a:lnTo>
                  <a:pt x="416878" y="993744"/>
                </a:lnTo>
                <a:lnTo>
                  <a:pt x="410210" y="997243"/>
                </a:lnTo>
                <a:lnTo>
                  <a:pt x="402908" y="1000742"/>
                </a:lnTo>
                <a:lnTo>
                  <a:pt x="396240" y="1003286"/>
                </a:lnTo>
                <a:lnTo>
                  <a:pt x="389255" y="1006149"/>
                </a:lnTo>
                <a:lnTo>
                  <a:pt x="382587" y="1008057"/>
                </a:lnTo>
                <a:lnTo>
                  <a:pt x="375920" y="1009330"/>
                </a:lnTo>
                <a:lnTo>
                  <a:pt x="369252" y="1010602"/>
                </a:lnTo>
                <a:lnTo>
                  <a:pt x="362585" y="1011238"/>
                </a:lnTo>
                <a:lnTo>
                  <a:pt x="356235" y="1011238"/>
                </a:lnTo>
                <a:lnTo>
                  <a:pt x="351155" y="1011238"/>
                </a:lnTo>
                <a:lnTo>
                  <a:pt x="345440" y="1010602"/>
                </a:lnTo>
                <a:lnTo>
                  <a:pt x="339725" y="1009330"/>
                </a:lnTo>
                <a:lnTo>
                  <a:pt x="334010" y="1007421"/>
                </a:lnTo>
                <a:lnTo>
                  <a:pt x="327977" y="1005831"/>
                </a:lnTo>
                <a:lnTo>
                  <a:pt x="321945" y="1002968"/>
                </a:lnTo>
                <a:lnTo>
                  <a:pt x="315595" y="1000105"/>
                </a:lnTo>
                <a:lnTo>
                  <a:pt x="309245" y="996607"/>
                </a:lnTo>
                <a:lnTo>
                  <a:pt x="302895" y="992790"/>
                </a:lnTo>
                <a:lnTo>
                  <a:pt x="296227" y="988655"/>
                </a:lnTo>
                <a:lnTo>
                  <a:pt x="289877" y="984202"/>
                </a:lnTo>
                <a:lnTo>
                  <a:pt x="282892" y="979430"/>
                </a:lnTo>
                <a:lnTo>
                  <a:pt x="276542" y="974023"/>
                </a:lnTo>
                <a:lnTo>
                  <a:pt x="269875" y="968298"/>
                </a:lnTo>
                <a:lnTo>
                  <a:pt x="263207" y="962254"/>
                </a:lnTo>
                <a:lnTo>
                  <a:pt x="256540" y="955893"/>
                </a:lnTo>
                <a:lnTo>
                  <a:pt x="250190" y="949213"/>
                </a:lnTo>
                <a:lnTo>
                  <a:pt x="243840" y="941897"/>
                </a:lnTo>
                <a:lnTo>
                  <a:pt x="237490" y="934900"/>
                </a:lnTo>
                <a:lnTo>
                  <a:pt x="231457" y="927266"/>
                </a:lnTo>
                <a:lnTo>
                  <a:pt x="225425" y="919314"/>
                </a:lnTo>
                <a:lnTo>
                  <a:pt x="219710" y="911044"/>
                </a:lnTo>
                <a:lnTo>
                  <a:pt x="214312" y="902774"/>
                </a:lnTo>
                <a:lnTo>
                  <a:pt x="208915" y="893868"/>
                </a:lnTo>
                <a:lnTo>
                  <a:pt x="203517" y="885280"/>
                </a:lnTo>
                <a:lnTo>
                  <a:pt x="198755" y="875737"/>
                </a:lnTo>
                <a:lnTo>
                  <a:pt x="194310" y="866195"/>
                </a:lnTo>
                <a:lnTo>
                  <a:pt x="190182" y="856971"/>
                </a:lnTo>
                <a:lnTo>
                  <a:pt x="186055" y="846792"/>
                </a:lnTo>
                <a:lnTo>
                  <a:pt x="182245" y="836932"/>
                </a:lnTo>
                <a:lnTo>
                  <a:pt x="179070" y="826754"/>
                </a:lnTo>
                <a:lnTo>
                  <a:pt x="176212" y="816257"/>
                </a:lnTo>
                <a:lnTo>
                  <a:pt x="173990" y="822937"/>
                </a:lnTo>
                <a:lnTo>
                  <a:pt x="172402" y="826117"/>
                </a:lnTo>
                <a:lnTo>
                  <a:pt x="171450" y="828344"/>
                </a:lnTo>
                <a:lnTo>
                  <a:pt x="169862" y="830252"/>
                </a:lnTo>
                <a:lnTo>
                  <a:pt x="168275" y="831525"/>
                </a:lnTo>
                <a:lnTo>
                  <a:pt x="167322" y="832479"/>
                </a:lnTo>
                <a:lnTo>
                  <a:pt x="165417" y="832797"/>
                </a:lnTo>
                <a:lnTo>
                  <a:pt x="163830" y="832479"/>
                </a:lnTo>
                <a:lnTo>
                  <a:pt x="162242" y="831207"/>
                </a:lnTo>
                <a:lnTo>
                  <a:pt x="160655" y="829616"/>
                </a:lnTo>
                <a:lnTo>
                  <a:pt x="159385" y="827390"/>
                </a:lnTo>
                <a:lnTo>
                  <a:pt x="157797" y="824845"/>
                </a:lnTo>
                <a:lnTo>
                  <a:pt x="156210" y="821346"/>
                </a:lnTo>
                <a:lnTo>
                  <a:pt x="153987" y="813076"/>
                </a:lnTo>
                <a:lnTo>
                  <a:pt x="152082" y="803534"/>
                </a:lnTo>
                <a:lnTo>
                  <a:pt x="150495" y="792083"/>
                </a:lnTo>
                <a:lnTo>
                  <a:pt x="149542" y="779678"/>
                </a:lnTo>
                <a:lnTo>
                  <a:pt x="149225" y="766637"/>
                </a:lnTo>
                <a:lnTo>
                  <a:pt x="149542" y="753914"/>
                </a:lnTo>
                <a:lnTo>
                  <a:pt x="150177" y="742781"/>
                </a:lnTo>
                <a:lnTo>
                  <a:pt x="151765" y="732285"/>
                </a:lnTo>
                <a:lnTo>
                  <a:pt x="153352" y="722742"/>
                </a:lnTo>
                <a:lnTo>
                  <a:pt x="155257" y="714790"/>
                </a:lnTo>
                <a:lnTo>
                  <a:pt x="157797" y="708429"/>
                </a:lnTo>
                <a:lnTo>
                  <a:pt x="159067" y="705884"/>
                </a:lnTo>
                <a:lnTo>
                  <a:pt x="160337" y="703976"/>
                </a:lnTo>
                <a:lnTo>
                  <a:pt x="161607" y="702067"/>
                </a:lnTo>
                <a:lnTo>
                  <a:pt x="163195" y="700795"/>
                </a:lnTo>
                <a:lnTo>
                  <a:pt x="158432" y="696024"/>
                </a:lnTo>
                <a:lnTo>
                  <a:pt x="154622" y="690617"/>
                </a:lnTo>
                <a:lnTo>
                  <a:pt x="151447" y="685209"/>
                </a:lnTo>
                <a:lnTo>
                  <a:pt x="148907" y="679166"/>
                </a:lnTo>
                <a:lnTo>
                  <a:pt x="147002" y="672804"/>
                </a:lnTo>
                <a:lnTo>
                  <a:pt x="145097" y="666443"/>
                </a:lnTo>
                <a:lnTo>
                  <a:pt x="143827" y="659763"/>
                </a:lnTo>
                <a:lnTo>
                  <a:pt x="143192" y="653083"/>
                </a:lnTo>
                <a:lnTo>
                  <a:pt x="142875" y="646086"/>
                </a:lnTo>
                <a:lnTo>
                  <a:pt x="142875" y="639088"/>
                </a:lnTo>
                <a:lnTo>
                  <a:pt x="143510" y="632090"/>
                </a:lnTo>
                <a:lnTo>
                  <a:pt x="144145" y="624775"/>
                </a:lnTo>
                <a:lnTo>
                  <a:pt x="145415" y="617777"/>
                </a:lnTo>
                <a:lnTo>
                  <a:pt x="146367" y="610461"/>
                </a:lnTo>
                <a:lnTo>
                  <a:pt x="148272" y="603782"/>
                </a:lnTo>
                <a:lnTo>
                  <a:pt x="149860" y="596466"/>
                </a:lnTo>
                <a:lnTo>
                  <a:pt x="154305" y="583425"/>
                </a:lnTo>
                <a:lnTo>
                  <a:pt x="159385" y="570702"/>
                </a:lnTo>
                <a:lnTo>
                  <a:pt x="164465" y="558933"/>
                </a:lnTo>
                <a:lnTo>
                  <a:pt x="169862" y="548436"/>
                </a:lnTo>
                <a:lnTo>
                  <a:pt x="174942" y="539212"/>
                </a:lnTo>
                <a:lnTo>
                  <a:pt x="180022" y="532214"/>
                </a:lnTo>
                <a:lnTo>
                  <a:pt x="182562" y="529034"/>
                </a:lnTo>
                <a:lnTo>
                  <a:pt x="184467" y="526807"/>
                </a:lnTo>
                <a:lnTo>
                  <a:pt x="186690" y="525535"/>
                </a:lnTo>
                <a:lnTo>
                  <a:pt x="188277" y="524262"/>
                </a:lnTo>
                <a:lnTo>
                  <a:pt x="198120" y="519491"/>
                </a:lnTo>
                <a:lnTo>
                  <a:pt x="207327" y="514720"/>
                </a:lnTo>
                <a:lnTo>
                  <a:pt x="216852" y="510585"/>
                </a:lnTo>
                <a:lnTo>
                  <a:pt x="226377" y="507086"/>
                </a:lnTo>
                <a:lnTo>
                  <a:pt x="235267" y="503587"/>
                </a:lnTo>
                <a:lnTo>
                  <a:pt x="244792" y="500407"/>
                </a:lnTo>
                <a:lnTo>
                  <a:pt x="253682" y="497862"/>
                </a:lnTo>
                <a:lnTo>
                  <a:pt x="262572" y="495317"/>
                </a:lnTo>
                <a:lnTo>
                  <a:pt x="271780" y="493409"/>
                </a:lnTo>
                <a:lnTo>
                  <a:pt x="280352" y="491501"/>
                </a:lnTo>
                <a:lnTo>
                  <a:pt x="288925" y="489910"/>
                </a:lnTo>
                <a:lnTo>
                  <a:pt x="298132" y="488638"/>
                </a:lnTo>
                <a:lnTo>
                  <a:pt x="306387" y="487365"/>
                </a:lnTo>
                <a:lnTo>
                  <a:pt x="314960" y="486729"/>
                </a:lnTo>
                <a:lnTo>
                  <a:pt x="323215" y="486093"/>
                </a:lnTo>
                <a:lnTo>
                  <a:pt x="331470" y="485775"/>
                </a:lnTo>
                <a:close/>
                <a:moveTo>
                  <a:pt x="2394109" y="485775"/>
                </a:moveTo>
                <a:lnTo>
                  <a:pt x="2410607" y="485775"/>
                </a:lnTo>
                <a:lnTo>
                  <a:pt x="2418538" y="486093"/>
                </a:lnTo>
                <a:lnTo>
                  <a:pt x="2427104" y="486729"/>
                </a:lnTo>
                <a:lnTo>
                  <a:pt x="2435352" y="487365"/>
                </a:lnTo>
                <a:lnTo>
                  <a:pt x="2443918" y="488638"/>
                </a:lnTo>
                <a:lnTo>
                  <a:pt x="2452801" y="489910"/>
                </a:lnTo>
                <a:lnTo>
                  <a:pt x="2461367" y="491500"/>
                </a:lnTo>
                <a:lnTo>
                  <a:pt x="2470250" y="493409"/>
                </a:lnTo>
                <a:lnTo>
                  <a:pt x="2479451" y="495317"/>
                </a:lnTo>
                <a:lnTo>
                  <a:pt x="2488334" y="497862"/>
                </a:lnTo>
                <a:lnTo>
                  <a:pt x="2497534" y="500407"/>
                </a:lnTo>
                <a:lnTo>
                  <a:pt x="2506417" y="503587"/>
                </a:lnTo>
                <a:lnTo>
                  <a:pt x="2515935" y="507086"/>
                </a:lnTo>
                <a:lnTo>
                  <a:pt x="2525135" y="510585"/>
                </a:lnTo>
                <a:lnTo>
                  <a:pt x="2534653" y="514720"/>
                </a:lnTo>
                <a:lnTo>
                  <a:pt x="2543853" y="519491"/>
                </a:lnTo>
                <a:lnTo>
                  <a:pt x="2553371" y="524262"/>
                </a:lnTo>
                <a:lnTo>
                  <a:pt x="2555274" y="525535"/>
                </a:lnTo>
                <a:lnTo>
                  <a:pt x="2557178" y="526807"/>
                </a:lnTo>
                <a:lnTo>
                  <a:pt x="2559399" y="529033"/>
                </a:lnTo>
                <a:lnTo>
                  <a:pt x="2561620" y="532214"/>
                </a:lnTo>
                <a:lnTo>
                  <a:pt x="2566378" y="539212"/>
                </a:lnTo>
                <a:lnTo>
                  <a:pt x="2571772" y="548436"/>
                </a:lnTo>
                <a:lnTo>
                  <a:pt x="2577482" y="558933"/>
                </a:lnTo>
                <a:lnTo>
                  <a:pt x="2582558" y="570702"/>
                </a:lnTo>
                <a:lnTo>
                  <a:pt x="2587634" y="583425"/>
                </a:lnTo>
                <a:lnTo>
                  <a:pt x="2591759" y="596466"/>
                </a:lnTo>
                <a:lnTo>
                  <a:pt x="2593662" y="603782"/>
                </a:lnTo>
                <a:lnTo>
                  <a:pt x="2594931" y="610461"/>
                </a:lnTo>
                <a:lnTo>
                  <a:pt x="2596517" y="617777"/>
                </a:lnTo>
                <a:lnTo>
                  <a:pt x="2597786" y="624775"/>
                </a:lnTo>
                <a:lnTo>
                  <a:pt x="2598421" y="632090"/>
                </a:lnTo>
                <a:lnTo>
                  <a:pt x="2598738" y="639088"/>
                </a:lnTo>
                <a:lnTo>
                  <a:pt x="2598738" y="646086"/>
                </a:lnTo>
                <a:lnTo>
                  <a:pt x="2598421" y="653083"/>
                </a:lnTo>
                <a:lnTo>
                  <a:pt x="2598104" y="659763"/>
                </a:lnTo>
                <a:lnTo>
                  <a:pt x="2596517" y="666443"/>
                </a:lnTo>
                <a:lnTo>
                  <a:pt x="2594931" y="672804"/>
                </a:lnTo>
                <a:lnTo>
                  <a:pt x="2592710" y="679166"/>
                </a:lnTo>
                <a:lnTo>
                  <a:pt x="2590172" y="685209"/>
                </a:lnTo>
                <a:lnTo>
                  <a:pt x="2586683" y="690617"/>
                </a:lnTo>
                <a:lnTo>
                  <a:pt x="2583193" y="696024"/>
                </a:lnTo>
                <a:lnTo>
                  <a:pt x="2578434" y="700795"/>
                </a:lnTo>
                <a:lnTo>
                  <a:pt x="2580020" y="702067"/>
                </a:lnTo>
                <a:lnTo>
                  <a:pt x="2581607" y="703976"/>
                </a:lnTo>
                <a:lnTo>
                  <a:pt x="2582558" y="705884"/>
                </a:lnTo>
                <a:lnTo>
                  <a:pt x="2584145" y="708429"/>
                </a:lnTo>
                <a:lnTo>
                  <a:pt x="2586365" y="714790"/>
                </a:lnTo>
                <a:lnTo>
                  <a:pt x="2588269" y="722742"/>
                </a:lnTo>
                <a:lnTo>
                  <a:pt x="2590172" y="732285"/>
                </a:lnTo>
                <a:lnTo>
                  <a:pt x="2591441" y="742781"/>
                </a:lnTo>
                <a:lnTo>
                  <a:pt x="2592076" y="753914"/>
                </a:lnTo>
                <a:lnTo>
                  <a:pt x="2592393" y="766637"/>
                </a:lnTo>
                <a:lnTo>
                  <a:pt x="2592076" y="779678"/>
                </a:lnTo>
                <a:lnTo>
                  <a:pt x="2591441" y="792083"/>
                </a:lnTo>
                <a:lnTo>
                  <a:pt x="2589855" y="803534"/>
                </a:lnTo>
                <a:lnTo>
                  <a:pt x="2587634" y="813076"/>
                </a:lnTo>
                <a:lnTo>
                  <a:pt x="2585414" y="821346"/>
                </a:lnTo>
                <a:lnTo>
                  <a:pt x="2584145" y="824845"/>
                </a:lnTo>
                <a:lnTo>
                  <a:pt x="2582558" y="827390"/>
                </a:lnTo>
                <a:lnTo>
                  <a:pt x="2581289" y="829616"/>
                </a:lnTo>
                <a:lnTo>
                  <a:pt x="2579703" y="831207"/>
                </a:lnTo>
                <a:lnTo>
                  <a:pt x="2577799" y="832479"/>
                </a:lnTo>
                <a:lnTo>
                  <a:pt x="2576213" y="832797"/>
                </a:lnTo>
                <a:lnTo>
                  <a:pt x="2574627" y="832479"/>
                </a:lnTo>
                <a:lnTo>
                  <a:pt x="2573358" y="831525"/>
                </a:lnTo>
                <a:lnTo>
                  <a:pt x="2571772" y="830252"/>
                </a:lnTo>
                <a:lnTo>
                  <a:pt x="2570503" y="828344"/>
                </a:lnTo>
                <a:lnTo>
                  <a:pt x="2569234" y="826117"/>
                </a:lnTo>
                <a:lnTo>
                  <a:pt x="2567965" y="822936"/>
                </a:lnTo>
                <a:lnTo>
                  <a:pt x="2565744" y="816257"/>
                </a:lnTo>
                <a:lnTo>
                  <a:pt x="2562889" y="826753"/>
                </a:lnTo>
                <a:lnTo>
                  <a:pt x="2559399" y="836932"/>
                </a:lnTo>
                <a:lnTo>
                  <a:pt x="2555592" y="846792"/>
                </a:lnTo>
                <a:lnTo>
                  <a:pt x="2551785" y="856971"/>
                </a:lnTo>
                <a:lnTo>
                  <a:pt x="2547343" y="866195"/>
                </a:lnTo>
                <a:lnTo>
                  <a:pt x="2542902" y="875737"/>
                </a:lnTo>
                <a:lnTo>
                  <a:pt x="2537825" y="885280"/>
                </a:lnTo>
                <a:lnTo>
                  <a:pt x="2533067" y="893868"/>
                </a:lnTo>
                <a:lnTo>
                  <a:pt x="2527356" y="902774"/>
                </a:lnTo>
                <a:lnTo>
                  <a:pt x="2522280" y="911044"/>
                </a:lnTo>
                <a:lnTo>
                  <a:pt x="2516252" y="919314"/>
                </a:lnTo>
                <a:lnTo>
                  <a:pt x="2510224" y="927266"/>
                </a:lnTo>
                <a:lnTo>
                  <a:pt x="2504197" y="934900"/>
                </a:lnTo>
                <a:lnTo>
                  <a:pt x="2497851" y="941897"/>
                </a:lnTo>
                <a:lnTo>
                  <a:pt x="2491824" y="949213"/>
                </a:lnTo>
                <a:lnTo>
                  <a:pt x="2484844" y="955893"/>
                </a:lnTo>
                <a:lnTo>
                  <a:pt x="2478499" y="962254"/>
                </a:lnTo>
                <a:lnTo>
                  <a:pt x="2472154" y="968298"/>
                </a:lnTo>
                <a:lnTo>
                  <a:pt x="2465492" y="974023"/>
                </a:lnTo>
                <a:lnTo>
                  <a:pt x="2458829" y="979430"/>
                </a:lnTo>
                <a:lnTo>
                  <a:pt x="2452167" y="984202"/>
                </a:lnTo>
                <a:lnTo>
                  <a:pt x="2445505" y="988654"/>
                </a:lnTo>
                <a:lnTo>
                  <a:pt x="2439159" y="992789"/>
                </a:lnTo>
                <a:lnTo>
                  <a:pt x="2432814" y="996607"/>
                </a:lnTo>
                <a:lnTo>
                  <a:pt x="2426469" y="1000105"/>
                </a:lnTo>
                <a:lnTo>
                  <a:pt x="2420124" y="1002968"/>
                </a:lnTo>
                <a:lnTo>
                  <a:pt x="2413462" y="1005831"/>
                </a:lnTo>
                <a:lnTo>
                  <a:pt x="2408069" y="1007421"/>
                </a:lnTo>
                <a:lnTo>
                  <a:pt x="2402041" y="1009330"/>
                </a:lnTo>
                <a:lnTo>
                  <a:pt x="2396330" y="1010602"/>
                </a:lnTo>
                <a:lnTo>
                  <a:pt x="2390937" y="1011238"/>
                </a:lnTo>
                <a:lnTo>
                  <a:pt x="2385861" y="1011238"/>
                </a:lnTo>
                <a:lnTo>
                  <a:pt x="2379516" y="1011238"/>
                </a:lnTo>
                <a:lnTo>
                  <a:pt x="2372536" y="1010602"/>
                </a:lnTo>
                <a:lnTo>
                  <a:pt x="2366191" y="1009330"/>
                </a:lnTo>
                <a:lnTo>
                  <a:pt x="2359529" y="1008057"/>
                </a:lnTo>
                <a:lnTo>
                  <a:pt x="2352866" y="1006149"/>
                </a:lnTo>
                <a:lnTo>
                  <a:pt x="2345887" y="1003286"/>
                </a:lnTo>
                <a:lnTo>
                  <a:pt x="2338907" y="1000742"/>
                </a:lnTo>
                <a:lnTo>
                  <a:pt x="2331928" y="997243"/>
                </a:lnTo>
                <a:lnTo>
                  <a:pt x="2325265" y="993744"/>
                </a:lnTo>
                <a:lnTo>
                  <a:pt x="2318286" y="989609"/>
                </a:lnTo>
                <a:lnTo>
                  <a:pt x="2311306" y="984838"/>
                </a:lnTo>
                <a:lnTo>
                  <a:pt x="2304644" y="980067"/>
                </a:lnTo>
                <a:lnTo>
                  <a:pt x="2297981" y="974659"/>
                </a:lnTo>
                <a:lnTo>
                  <a:pt x="2291636" y="969252"/>
                </a:lnTo>
                <a:lnTo>
                  <a:pt x="2284974" y="963208"/>
                </a:lnTo>
                <a:lnTo>
                  <a:pt x="2278629" y="957165"/>
                </a:lnTo>
                <a:lnTo>
                  <a:pt x="2272284" y="950167"/>
                </a:lnTo>
                <a:lnTo>
                  <a:pt x="2266256" y="943170"/>
                </a:lnTo>
                <a:lnTo>
                  <a:pt x="2260545" y="935536"/>
                </a:lnTo>
                <a:lnTo>
                  <a:pt x="2255152" y="927584"/>
                </a:lnTo>
                <a:lnTo>
                  <a:pt x="2249759" y="919314"/>
                </a:lnTo>
                <a:lnTo>
                  <a:pt x="2244365" y="911044"/>
                </a:lnTo>
                <a:lnTo>
                  <a:pt x="2239924" y="902138"/>
                </a:lnTo>
                <a:lnTo>
                  <a:pt x="2235482" y="892913"/>
                </a:lnTo>
                <a:lnTo>
                  <a:pt x="2231041" y="883689"/>
                </a:lnTo>
                <a:lnTo>
                  <a:pt x="2227234" y="873829"/>
                </a:lnTo>
                <a:lnTo>
                  <a:pt x="2223744" y="863650"/>
                </a:lnTo>
                <a:lnTo>
                  <a:pt x="2220571" y="853154"/>
                </a:lnTo>
                <a:lnTo>
                  <a:pt x="2217716" y="842657"/>
                </a:lnTo>
                <a:lnTo>
                  <a:pt x="2215178" y="831525"/>
                </a:lnTo>
                <a:lnTo>
                  <a:pt x="2213275" y="820392"/>
                </a:lnTo>
                <a:lnTo>
                  <a:pt x="2211688" y="808623"/>
                </a:lnTo>
                <a:lnTo>
                  <a:pt x="2211371" y="809577"/>
                </a:lnTo>
                <a:lnTo>
                  <a:pt x="2211054" y="809577"/>
                </a:lnTo>
                <a:lnTo>
                  <a:pt x="2210737" y="808623"/>
                </a:lnTo>
                <a:lnTo>
                  <a:pt x="2210419" y="807669"/>
                </a:lnTo>
                <a:lnTo>
                  <a:pt x="2208833" y="802898"/>
                </a:lnTo>
                <a:lnTo>
                  <a:pt x="2207564" y="796536"/>
                </a:lnTo>
                <a:lnTo>
                  <a:pt x="2204391" y="779042"/>
                </a:lnTo>
                <a:lnTo>
                  <a:pt x="2201536" y="757413"/>
                </a:lnTo>
                <a:lnTo>
                  <a:pt x="2198998" y="735465"/>
                </a:lnTo>
                <a:lnTo>
                  <a:pt x="2198364" y="725287"/>
                </a:lnTo>
                <a:lnTo>
                  <a:pt x="2198046" y="716063"/>
                </a:lnTo>
                <a:lnTo>
                  <a:pt x="2197412" y="708429"/>
                </a:lnTo>
                <a:lnTo>
                  <a:pt x="2198046" y="702067"/>
                </a:lnTo>
                <a:lnTo>
                  <a:pt x="2198364" y="699841"/>
                </a:lnTo>
                <a:lnTo>
                  <a:pt x="2198681" y="698250"/>
                </a:lnTo>
                <a:lnTo>
                  <a:pt x="2199315" y="697296"/>
                </a:lnTo>
                <a:lnTo>
                  <a:pt x="2200267" y="696660"/>
                </a:lnTo>
                <a:lnTo>
                  <a:pt x="2201219" y="697296"/>
                </a:lnTo>
                <a:lnTo>
                  <a:pt x="2202488" y="697932"/>
                </a:lnTo>
                <a:lnTo>
                  <a:pt x="2204074" y="699205"/>
                </a:lnTo>
                <a:lnTo>
                  <a:pt x="2205026" y="700159"/>
                </a:lnTo>
                <a:lnTo>
                  <a:pt x="2204391" y="687118"/>
                </a:lnTo>
                <a:lnTo>
                  <a:pt x="2204074" y="673440"/>
                </a:lnTo>
                <a:lnTo>
                  <a:pt x="2204709" y="659127"/>
                </a:lnTo>
                <a:lnTo>
                  <a:pt x="2205343" y="651493"/>
                </a:lnTo>
                <a:lnTo>
                  <a:pt x="2206295" y="643541"/>
                </a:lnTo>
                <a:lnTo>
                  <a:pt x="2209150" y="646086"/>
                </a:lnTo>
                <a:lnTo>
                  <a:pt x="2212323" y="647676"/>
                </a:lnTo>
                <a:lnTo>
                  <a:pt x="2215495" y="649267"/>
                </a:lnTo>
                <a:lnTo>
                  <a:pt x="2218985" y="650539"/>
                </a:lnTo>
                <a:lnTo>
                  <a:pt x="2222475" y="651493"/>
                </a:lnTo>
                <a:lnTo>
                  <a:pt x="2225965" y="652129"/>
                </a:lnTo>
                <a:lnTo>
                  <a:pt x="2229772" y="652447"/>
                </a:lnTo>
                <a:lnTo>
                  <a:pt x="2233896" y="652447"/>
                </a:lnTo>
                <a:lnTo>
                  <a:pt x="2238020" y="652447"/>
                </a:lnTo>
                <a:lnTo>
                  <a:pt x="2242145" y="652129"/>
                </a:lnTo>
                <a:lnTo>
                  <a:pt x="2251028" y="650539"/>
                </a:lnTo>
                <a:lnTo>
                  <a:pt x="2259911" y="648312"/>
                </a:lnTo>
                <a:lnTo>
                  <a:pt x="2269746" y="645132"/>
                </a:lnTo>
                <a:lnTo>
                  <a:pt x="2279581" y="641315"/>
                </a:lnTo>
                <a:lnTo>
                  <a:pt x="2289733" y="637180"/>
                </a:lnTo>
                <a:lnTo>
                  <a:pt x="2300519" y="632726"/>
                </a:lnTo>
                <a:lnTo>
                  <a:pt x="2310989" y="627955"/>
                </a:lnTo>
                <a:lnTo>
                  <a:pt x="2333514" y="616823"/>
                </a:lnTo>
                <a:lnTo>
                  <a:pt x="2356991" y="605690"/>
                </a:lnTo>
                <a:lnTo>
                  <a:pt x="2345569" y="610461"/>
                </a:lnTo>
                <a:lnTo>
                  <a:pt x="2334466" y="615868"/>
                </a:lnTo>
                <a:lnTo>
                  <a:pt x="2324948" y="620322"/>
                </a:lnTo>
                <a:lnTo>
                  <a:pt x="2315430" y="624138"/>
                </a:lnTo>
                <a:lnTo>
                  <a:pt x="2306865" y="626683"/>
                </a:lnTo>
                <a:lnTo>
                  <a:pt x="2298616" y="628910"/>
                </a:lnTo>
                <a:lnTo>
                  <a:pt x="2290367" y="630182"/>
                </a:lnTo>
                <a:lnTo>
                  <a:pt x="2282436" y="630818"/>
                </a:lnTo>
                <a:lnTo>
                  <a:pt x="2275456" y="630818"/>
                </a:lnTo>
                <a:lnTo>
                  <a:pt x="2268160" y="630500"/>
                </a:lnTo>
                <a:lnTo>
                  <a:pt x="2261497" y="629228"/>
                </a:lnTo>
                <a:lnTo>
                  <a:pt x="2255152" y="627955"/>
                </a:lnTo>
                <a:lnTo>
                  <a:pt x="2248807" y="626047"/>
                </a:lnTo>
                <a:lnTo>
                  <a:pt x="2243096" y="623502"/>
                </a:lnTo>
                <a:lnTo>
                  <a:pt x="2237703" y="620640"/>
                </a:lnTo>
                <a:lnTo>
                  <a:pt x="2232627" y="617777"/>
                </a:lnTo>
                <a:lnTo>
                  <a:pt x="2227551" y="614278"/>
                </a:lnTo>
                <a:lnTo>
                  <a:pt x="2223109" y="610779"/>
                </a:lnTo>
                <a:lnTo>
                  <a:pt x="2218985" y="607280"/>
                </a:lnTo>
                <a:lnTo>
                  <a:pt x="2214861" y="603463"/>
                </a:lnTo>
                <a:lnTo>
                  <a:pt x="2211371" y="599647"/>
                </a:lnTo>
                <a:lnTo>
                  <a:pt x="2208198" y="595512"/>
                </a:lnTo>
                <a:lnTo>
                  <a:pt x="2202171" y="587878"/>
                </a:lnTo>
                <a:lnTo>
                  <a:pt x="2197412" y="581198"/>
                </a:lnTo>
                <a:lnTo>
                  <a:pt x="2193922" y="574837"/>
                </a:lnTo>
                <a:lnTo>
                  <a:pt x="2191701" y="569747"/>
                </a:lnTo>
                <a:lnTo>
                  <a:pt x="2189163" y="565612"/>
                </a:lnTo>
                <a:lnTo>
                  <a:pt x="2191067" y="564340"/>
                </a:lnTo>
                <a:lnTo>
                  <a:pt x="2196777" y="559569"/>
                </a:lnTo>
                <a:lnTo>
                  <a:pt x="2205343" y="552889"/>
                </a:lnTo>
                <a:lnTo>
                  <a:pt x="2217399" y="544301"/>
                </a:lnTo>
                <a:lnTo>
                  <a:pt x="2225013" y="539848"/>
                </a:lnTo>
                <a:lnTo>
                  <a:pt x="2232944" y="534759"/>
                </a:lnTo>
                <a:lnTo>
                  <a:pt x="2241510" y="529670"/>
                </a:lnTo>
                <a:lnTo>
                  <a:pt x="2251028" y="524580"/>
                </a:lnTo>
                <a:lnTo>
                  <a:pt x="2260545" y="519491"/>
                </a:lnTo>
                <a:lnTo>
                  <a:pt x="2271649" y="514402"/>
                </a:lnTo>
                <a:lnTo>
                  <a:pt x="2282753" y="509631"/>
                </a:lnTo>
                <a:lnTo>
                  <a:pt x="2294809" y="505178"/>
                </a:lnTo>
                <a:lnTo>
                  <a:pt x="2307182" y="501043"/>
                </a:lnTo>
                <a:lnTo>
                  <a:pt x="2320506" y="497226"/>
                </a:lnTo>
                <a:lnTo>
                  <a:pt x="2334466" y="493409"/>
                </a:lnTo>
                <a:lnTo>
                  <a:pt x="2348742" y="490864"/>
                </a:lnTo>
                <a:lnTo>
                  <a:pt x="2363336" y="488638"/>
                </a:lnTo>
                <a:lnTo>
                  <a:pt x="2378564" y="486729"/>
                </a:lnTo>
                <a:lnTo>
                  <a:pt x="2394109" y="485775"/>
                </a:lnTo>
                <a:close/>
                <a:moveTo>
                  <a:pt x="1429386" y="468312"/>
                </a:moveTo>
                <a:lnTo>
                  <a:pt x="1442086" y="468630"/>
                </a:lnTo>
                <a:lnTo>
                  <a:pt x="1454151" y="469899"/>
                </a:lnTo>
                <a:lnTo>
                  <a:pt x="1465898" y="471802"/>
                </a:lnTo>
                <a:lnTo>
                  <a:pt x="1477011" y="474023"/>
                </a:lnTo>
                <a:lnTo>
                  <a:pt x="1487488" y="476562"/>
                </a:lnTo>
                <a:lnTo>
                  <a:pt x="1497649" y="479734"/>
                </a:lnTo>
                <a:lnTo>
                  <a:pt x="1507491" y="482907"/>
                </a:lnTo>
                <a:lnTo>
                  <a:pt x="1516699" y="486714"/>
                </a:lnTo>
                <a:lnTo>
                  <a:pt x="1525271" y="490522"/>
                </a:lnTo>
                <a:lnTo>
                  <a:pt x="1533526" y="494646"/>
                </a:lnTo>
                <a:lnTo>
                  <a:pt x="1541146" y="498771"/>
                </a:lnTo>
                <a:lnTo>
                  <a:pt x="1547814" y="502896"/>
                </a:lnTo>
                <a:lnTo>
                  <a:pt x="1554164" y="507020"/>
                </a:lnTo>
                <a:lnTo>
                  <a:pt x="1565594" y="514952"/>
                </a:lnTo>
                <a:lnTo>
                  <a:pt x="1574166" y="522250"/>
                </a:lnTo>
                <a:lnTo>
                  <a:pt x="1580516" y="527643"/>
                </a:lnTo>
                <a:lnTo>
                  <a:pt x="1585596" y="532720"/>
                </a:lnTo>
                <a:lnTo>
                  <a:pt x="1584009" y="536527"/>
                </a:lnTo>
                <a:lnTo>
                  <a:pt x="1581469" y="540652"/>
                </a:lnTo>
                <a:lnTo>
                  <a:pt x="1578611" y="546046"/>
                </a:lnTo>
                <a:lnTo>
                  <a:pt x="1574484" y="552074"/>
                </a:lnTo>
                <a:lnTo>
                  <a:pt x="1569721" y="558419"/>
                </a:lnTo>
                <a:lnTo>
                  <a:pt x="1563054" y="565399"/>
                </a:lnTo>
                <a:lnTo>
                  <a:pt x="1559879" y="568572"/>
                </a:lnTo>
                <a:lnTo>
                  <a:pt x="1556386" y="571745"/>
                </a:lnTo>
                <a:lnTo>
                  <a:pt x="1552259" y="575235"/>
                </a:lnTo>
                <a:lnTo>
                  <a:pt x="1548131" y="577773"/>
                </a:lnTo>
                <a:lnTo>
                  <a:pt x="1543686" y="580311"/>
                </a:lnTo>
                <a:lnTo>
                  <a:pt x="1538606" y="582850"/>
                </a:lnTo>
                <a:lnTo>
                  <a:pt x="1533844" y="584753"/>
                </a:lnTo>
                <a:lnTo>
                  <a:pt x="1528446" y="586657"/>
                </a:lnTo>
                <a:lnTo>
                  <a:pt x="1523049" y="588243"/>
                </a:lnTo>
                <a:lnTo>
                  <a:pt x="1517016" y="588878"/>
                </a:lnTo>
                <a:lnTo>
                  <a:pt x="1510984" y="589512"/>
                </a:lnTo>
                <a:lnTo>
                  <a:pt x="1503999" y="589512"/>
                </a:lnTo>
                <a:lnTo>
                  <a:pt x="1497331" y="588878"/>
                </a:lnTo>
                <a:lnTo>
                  <a:pt x="1490346" y="587926"/>
                </a:lnTo>
                <a:lnTo>
                  <a:pt x="1483043" y="586022"/>
                </a:lnTo>
                <a:lnTo>
                  <a:pt x="1475106" y="583484"/>
                </a:lnTo>
                <a:lnTo>
                  <a:pt x="1467168" y="580311"/>
                </a:lnTo>
                <a:lnTo>
                  <a:pt x="1458913" y="576187"/>
                </a:lnTo>
                <a:lnTo>
                  <a:pt x="1449388" y="571745"/>
                </a:lnTo>
                <a:lnTo>
                  <a:pt x="1439546" y="567620"/>
                </a:lnTo>
                <a:lnTo>
                  <a:pt x="1479233" y="586657"/>
                </a:lnTo>
                <a:lnTo>
                  <a:pt x="1498284" y="594906"/>
                </a:lnTo>
                <a:lnTo>
                  <a:pt x="1506856" y="598714"/>
                </a:lnTo>
                <a:lnTo>
                  <a:pt x="1515746" y="601886"/>
                </a:lnTo>
                <a:lnTo>
                  <a:pt x="1524001" y="604425"/>
                </a:lnTo>
                <a:lnTo>
                  <a:pt x="1531939" y="606646"/>
                </a:lnTo>
                <a:lnTo>
                  <a:pt x="1539559" y="607915"/>
                </a:lnTo>
                <a:lnTo>
                  <a:pt x="1546544" y="608232"/>
                </a:lnTo>
                <a:lnTo>
                  <a:pt x="1550036" y="608232"/>
                </a:lnTo>
                <a:lnTo>
                  <a:pt x="1553529" y="607915"/>
                </a:lnTo>
                <a:lnTo>
                  <a:pt x="1556704" y="607280"/>
                </a:lnTo>
                <a:lnTo>
                  <a:pt x="1559879" y="606646"/>
                </a:lnTo>
                <a:lnTo>
                  <a:pt x="1562736" y="605376"/>
                </a:lnTo>
                <a:lnTo>
                  <a:pt x="1565594" y="604107"/>
                </a:lnTo>
                <a:lnTo>
                  <a:pt x="1568451" y="602521"/>
                </a:lnTo>
                <a:lnTo>
                  <a:pt x="1570674" y="600617"/>
                </a:lnTo>
                <a:lnTo>
                  <a:pt x="1571944" y="607280"/>
                </a:lnTo>
                <a:lnTo>
                  <a:pt x="1572261" y="614260"/>
                </a:lnTo>
                <a:lnTo>
                  <a:pt x="1572896" y="626634"/>
                </a:lnTo>
                <a:lnTo>
                  <a:pt x="1572579" y="638691"/>
                </a:lnTo>
                <a:lnTo>
                  <a:pt x="1572261" y="649795"/>
                </a:lnTo>
                <a:lnTo>
                  <a:pt x="1574166" y="647574"/>
                </a:lnTo>
                <a:lnTo>
                  <a:pt x="1575119" y="647257"/>
                </a:lnTo>
                <a:lnTo>
                  <a:pt x="1576389" y="646940"/>
                </a:lnTo>
                <a:lnTo>
                  <a:pt x="1577976" y="647257"/>
                </a:lnTo>
                <a:lnTo>
                  <a:pt x="1578929" y="647892"/>
                </a:lnTo>
                <a:lnTo>
                  <a:pt x="1580516" y="649478"/>
                </a:lnTo>
                <a:lnTo>
                  <a:pt x="1582104" y="651382"/>
                </a:lnTo>
                <a:lnTo>
                  <a:pt x="1583056" y="653920"/>
                </a:lnTo>
                <a:lnTo>
                  <a:pt x="1584326" y="656775"/>
                </a:lnTo>
                <a:lnTo>
                  <a:pt x="1586549" y="663756"/>
                </a:lnTo>
                <a:lnTo>
                  <a:pt x="1588136" y="672322"/>
                </a:lnTo>
                <a:lnTo>
                  <a:pt x="1589406" y="682158"/>
                </a:lnTo>
                <a:lnTo>
                  <a:pt x="1590359" y="692945"/>
                </a:lnTo>
                <a:lnTo>
                  <a:pt x="1590676" y="704685"/>
                </a:lnTo>
                <a:lnTo>
                  <a:pt x="1590359" y="716424"/>
                </a:lnTo>
                <a:lnTo>
                  <a:pt x="1589406" y="727211"/>
                </a:lnTo>
                <a:lnTo>
                  <a:pt x="1588136" y="737047"/>
                </a:lnTo>
                <a:lnTo>
                  <a:pt x="1586549" y="745613"/>
                </a:lnTo>
                <a:lnTo>
                  <a:pt x="1584326" y="752911"/>
                </a:lnTo>
                <a:lnTo>
                  <a:pt x="1583056" y="755449"/>
                </a:lnTo>
                <a:lnTo>
                  <a:pt x="1582104" y="757987"/>
                </a:lnTo>
                <a:lnTo>
                  <a:pt x="1580516" y="759891"/>
                </a:lnTo>
                <a:lnTo>
                  <a:pt x="1578929" y="761477"/>
                </a:lnTo>
                <a:lnTo>
                  <a:pt x="1577976" y="762112"/>
                </a:lnTo>
                <a:lnTo>
                  <a:pt x="1576389" y="762429"/>
                </a:lnTo>
                <a:lnTo>
                  <a:pt x="1574801" y="762112"/>
                </a:lnTo>
                <a:lnTo>
                  <a:pt x="1573214" y="761160"/>
                </a:lnTo>
                <a:lnTo>
                  <a:pt x="1571944" y="759573"/>
                </a:lnTo>
                <a:lnTo>
                  <a:pt x="1570674" y="757670"/>
                </a:lnTo>
                <a:lnTo>
                  <a:pt x="1569086" y="755131"/>
                </a:lnTo>
                <a:lnTo>
                  <a:pt x="1568134" y="751641"/>
                </a:lnTo>
                <a:lnTo>
                  <a:pt x="1565911" y="744027"/>
                </a:lnTo>
                <a:lnTo>
                  <a:pt x="1564641" y="754180"/>
                </a:lnTo>
                <a:lnTo>
                  <a:pt x="1562736" y="764015"/>
                </a:lnTo>
                <a:lnTo>
                  <a:pt x="1560831" y="773851"/>
                </a:lnTo>
                <a:lnTo>
                  <a:pt x="1558291" y="782735"/>
                </a:lnTo>
                <a:lnTo>
                  <a:pt x="1555751" y="792253"/>
                </a:lnTo>
                <a:lnTo>
                  <a:pt x="1552576" y="800819"/>
                </a:lnTo>
                <a:lnTo>
                  <a:pt x="1549401" y="809703"/>
                </a:lnTo>
                <a:lnTo>
                  <a:pt x="1545591" y="817953"/>
                </a:lnTo>
                <a:lnTo>
                  <a:pt x="1541781" y="825567"/>
                </a:lnTo>
                <a:lnTo>
                  <a:pt x="1537336" y="833182"/>
                </a:lnTo>
                <a:lnTo>
                  <a:pt x="1532574" y="840797"/>
                </a:lnTo>
                <a:lnTo>
                  <a:pt x="1528129" y="847777"/>
                </a:lnTo>
                <a:lnTo>
                  <a:pt x="1523366" y="854757"/>
                </a:lnTo>
                <a:lnTo>
                  <a:pt x="1518286" y="861102"/>
                </a:lnTo>
                <a:lnTo>
                  <a:pt x="1513206" y="867448"/>
                </a:lnTo>
                <a:lnTo>
                  <a:pt x="1507491" y="873476"/>
                </a:lnTo>
                <a:lnTo>
                  <a:pt x="1502411" y="878553"/>
                </a:lnTo>
                <a:lnTo>
                  <a:pt x="1496696" y="883946"/>
                </a:lnTo>
                <a:lnTo>
                  <a:pt x="1490663" y="889340"/>
                </a:lnTo>
                <a:lnTo>
                  <a:pt x="1484948" y="893782"/>
                </a:lnTo>
                <a:lnTo>
                  <a:pt x="1478916" y="897907"/>
                </a:lnTo>
                <a:lnTo>
                  <a:pt x="1472883" y="901714"/>
                </a:lnTo>
                <a:lnTo>
                  <a:pt x="1466851" y="905521"/>
                </a:lnTo>
                <a:lnTo>
                  <a:pt x="1460818" y="908377"/>
                </a:lnTo>
                <a:lnTo>
                  <a:pt x="1454786" y="911232"/>
                </a:lnTo>
                <a:lnTo>
                  <a:pt x="1448753" y="914088"/>
                </a:lnTo>
                <a:lnTo>
                  <a:pt x="1442721" y="915991"/>
                </a:lnTo>
                <a:lnTo>
                  <a:pt x="1437323" y="917895"/>
                </a:lnTo>
                <a:lnTo>
                  <a:pt x="1431291" y="918847"/>
                </a:lnTo>
                <a:lnTo>
                  <a:pt x="1425576" y="920116"/>
                </a:lnTo>
                <a:lnTo>
                  <a:pt x="1419861" y="920751"/>
                </a:lnTo>
                <a:lnTo>
                  <a:pt x="1414146" y="920751"/>
                </a:lnTo>
                <a:lnTo>
                  <a:pt x="1409701" y="920751"/>
                </a:lnTo>
                <a:lnTo>
                  <a:pt x="1404938" y="920116"/>
                </a:lnTo>
                <a:lnTo>
                  <a:pt x="1399858" y="918847"/>
                </a:lnTo>
                <a:lnTo>
                  <a:pt x="1394778" y="917260"/>
                </a:lnTo>
                <a:lnTo>
                  <a:pt x="1389381" y="915357"/>
                </a:lnTo>
                <a:lnTo>
                  <a:pt x="1384301" y="913770"/>
                </a:lnTo>
                <a:lnTo>
                  <a:pt x="1378903" y="910915"/>
                </a:lnTo>
                <a:lnTo>
                  <a:pt x="1373188" y="908059"/>
                </a:lnTo>
                <a:lnTo>
                  <a:pt x="1367791" y="904569"/>
                </a:lnTo>
                <a:lnTo>
                  <a:pt x="1362076" y="900762"/>
                </a:lnTo>
                <a:lnTo>
                  <a:pt x="1356043" y="896955"/>
                </a:lnTo>
                <a:lnTo>
                  <a:pt x="1350328" y="892513"/>
                </a:lnTo>
                <a:lnTo>
                  <a:pt x="1344296" y="888071"/>
                </a:lnTo>
                <a:lnTo>
                  <a:pt x="1338581" y="883312"/>
                </a:lnTo>
                <a:lnTo>
                  <a:pt x="1333183" y="877918"/>
                </a:lnTo>
                <a:lnTo>
                  <a:pt x="1327468" y="872207"/>
                </a:lnTo>
                <a:lnTo>
                  <a:pt x="1321753" y="866813"/>
                </a:lnTo>
                <a:lnTo>
                  <a:pt x="1316038" y="860151"/>
                </a:lnTo>
                <a:lnTo>
                  <a:pt x="1310641" y="854122"/>
                </a:lnTo>
                <a:lnTo>
                  <a:pt x="1305243" y="847459"/>
                </a:lnTo>
                <a:lnTo>
                  <a:pt x="1299846" y="840797"/>
                </a:lnTo>
                <a:lnTo>
                  <a:pt x="1295083" y="833499"/>
                </a:lnTo>
                <a:lnTo>
                  <a:pt x="1290321" y="826202"/>
                </a:lnTo>
                <a:lnTo>
                  <a:pt x="1285558" y="818587"/>
                </a:lnTo>
                <a:lnTo>
                  <a:pt x="1281113" y="810655"/>
                </a:lnTo>
                <a:lnTo>
                  <a:pt x="1276668" y="802723"/>
                </a:lnTo>
                <a:lnTo>
                  <a:pt x="1272858" y="794474"/>
                </a:lnTo>
                <a:lnTo>
                  <a:pt x="1269048" y="786225"/>
                </a:lnTo>
                <a:lnTo>
                  <a:pt x="1265238" y="777658"/>
                </a:lnTo>
                <a:lnTo>
                  <a:pt x="1262381" y="768457"/>
                </a:lnTo>
                <a:lnTo>
                  <a:pt x="1259523" y="759891"/>
                </a:lnTo>
                <a:lnTo>
                  <a:pt x="1256983" y="751007"/>
                </a:lnTo>
                <a:lnTo>
                  <a:pt x="1254761" y="757035"/>
                </a:lnTo>
                <a:lnTo>
                  <a:pt x="1252538" y="761477"/>
                </a:lnTo>
                <a:lnTo>
                  <a:pt x="1251586" y="763063"/>
                </a:lnTo>
                <a:lnTo>
                  <a:pt x="1250316" y="764015"/>
                </a:lnTo>
                <a:lnTo>
                  <a:pt x="1248728" y="764967"/>
                </a:lnTo>
                <a:lnTo>
                  <a:pt x="1247776" y="765284"/>
                </a:lnTo>
                <a:lnTo>
                  <a:pt x="1246188" y="764967"/>
                </a:lnTo>
                <a:lnTo>
                  <a:pt x="1244601" y="764015"/>
                </a:lnTo>
                <a:lnTo>
                  <a:pt x="1243648" y="762429"/>
                </a:lnTo>
                <a:lnTo>
                  <a:pt x="1242061" y="760842"/>
                </a:lnTo>
                <a:lnTo>
                  <a:pt x="1240791" y="758304"/>
                </a:lnTo>
                <a:lnTo>
                  <a:pt x="1239838" y="755449"/>
                </a:lnTo>
                <a:lnTo>
                  <a:pt x="1237616" y="748151"/>
                </a:lnTo>
                <a:lnTo>
                  <a:pt x="1236028" y="739585"/>
                </a:lnTo>
                <a:lnTo>
                  <a:pt x="1234441" y="729749"/>
                </a:lnTo>
                <a:lnTo>
                  <a:pt x="1233806" y="718962"/>
                </a:lnTo>
                <a:lnTo>
                  <a:pt x="1233488" y="707223"/>
                </a:lnTo>
                <a:lnTo>
                  <a:pt x="1233806" y="695801"/>
                </a:lnTo>
                <a:lnTo>
                  <a:pt x="1234441" y="684696"/>
                </a:lnTo>
                <a:lnTo>
                  <a:pt x="1236028" y="675178"/>
                </a:lnTo>
                <a:lnTo>
                  <a:pt x="1237616" y="666294"/>
                </a:lnTo>
                <a:lnTo>
                  <a:pt x="1239838" y="659631"/>
                </a:lnTo>
                <a:lnTo>
                  <a:pt x="1240791" y="656775"/>
                </a:lnTo>
                <a:lnTo>
                  <a:pt x="1242061" y="653920"/>
                </a:lnTo>
                <a:lnTo>
                  <a:pt x="1243648" y="652016"/>
                </a:lnTo>
                <a:lnTo>
                  <a:pt x="1244601" y="651064"/>
                </a:lnTo>
                <a:lnTo>
                  <a:pt x="1246188" y="649795"/>
                </a:lnTo>
                <a:lnTo>
                  <a:pt x="1247776" y="649478"/>
                </a:lnTo>
                <a:lnTo>
                  <a:pt x="1248411" y="649795"/>
                </a:lnTo>
                <a:lnTo>
                  <a:pt x="1249363" y="650113"/>
                </a:lnTo>
                <a:lnTo>
                  <a:pt x="1249681" y="642815"/>
                </a:lnTo>
                <a:lnTo>
                  <a:pt x="1250316" y="635201"/>
                </a:lnTo>
                <a:lnTo>
                  <a:pt x="1250951" y="628220"/>
                </a:lnTo>
                <a:lnTo>
                  <a:pt x="1252221" y="622192"/>
                </a:lnTo>
                <a:lnTo>
                  <a:pt x="1251586" y="613943"/>
                </a:lnTo>
                <a:lnTo>
                  <a:pt x="1250951" y="606328"/>
                </a:lnTo>
                <a:lnTo>
                  <a:pt x="1250951" y="599031"/>
                </a:lnTo>
                <a:lnTo>
                  <a:pt x="1251586" y="592368"/>
                </a:lnTo>
                <a:lnTo>
                  <a:pt x="1251903" y="586022"/>
                </a:lnTo>
                <a:lnTo>
                  <a:pt x="1252856" y="579994"/>
                </a:lnTo>
                <a:lnTo>
                  <a:pt x="1254126" y="574283"/>
                </a:lnTo>
                <a:lnTo>
                  <a:pt x="1255713" y="569207"/>
                </a:lnTo>
                <a:lnTo>
                  <a:pt x="1257618" y="564130"/>
                </a:lnTo>
                <a:lnTo>
                  <a:pt x="1259841" y="559688"/>
                </a:lnTo>
                <a:lnTo>
                  <a:pt x="1262063" y="555564"/>
                </a:lnTo>
                <a:lnTo>
                  <a:pt x="1264603" y="551756"/>
                </a:lnTo>
                <a:lnTo>
                  <a:pt x="1267143" y="548266"/>
                </a:lnTo>
                <a:lnTo>
                  <a:pt x="1270636" y="545411"/>
                </a:lnTo>
                <a:lnTo>
                  <a:pt x="1273811" y="542873"/>
                </a:lnTo>
                <a:lnTo>
                  <a:pt x="1277303" y="540017"/>
                </a:lnTo>
                <a:lnTo>
                  <a:pt x="1261746" y="540017"/>
                </a:lnTo>
                <a:lnTo>
                  <a:pt x="1249363" y="540969"/>
                </a:lnTo>
                <a:lnTo>
                  <a:pt x="1239203" y="541286"/>
                </a:lnTo>
                <a:lnTo>
                  <a:pt x="1246188" y="537479"/>
                </a:lnTo>
                <a:lnTo>
                  <a:pt x="1253808" y="532720"/>
                </a:lnTo>
                <a:lnTo>
                  <a:pt x="1261111" y="527326"/>
                </a:lnTo>
                <a:lnTo>
                  <a:pt x="1268413" y="521615"/>
                </a:lnTo>
                <a:lnTo>
                  <a:pt x="1282701" y="511145"/>
                </a:lnTo>
                <a:lnTo>
                  <a:pt x="1289368" y="506703"/>
                </a:lnTo>
                <a:lnTo>
                  <a:pt x="1295401" y="502896"/>
                </a:lnTo>
                <a:lnTo>
                  <a:pt x="1303973" y="498771"/>
                </a:lnTo>
                <a:lnTo>
                  <a:pt x="1311911" y="494964"/>
                </a:lnTo>
                <a:lnTo>
                  <a:pt x="1320166" y="491156"/>
                </a:lnTo>
                <a:lnTo>
                  <a:pt x="1328103" y="487984"/>
                </a:lnTo>
                <a:lnTo>
                  <a:pt x="1336041" y="484811"/>
                </a:lnTo>
                <a:lnTo>
                  <a:pt x="1343978" y="482273"/>
                </a:lnTo>
                <a:lnTo>
                  <a:pt x="1359536" y="477831"/>
                </a:lnTo>
                <a:lnTo>
                  <a:pt x="1374141" y="474023"/>
                </a:lnTo>
                <a:lnTo>
                  <a:pt x="1388746" y="471485"/>
                </a:lnTo>
                <a:lnTo>
                  <a:pt x="1402716" y="469581"/>
                </a:lnTo>
                <a:lnTo>
                  <a:pt x="1416051" y="468630"/>
                </a:lnTo>
                <a:lnTo>
                  <a:pt x="1429386" y="468312"/>
                </a:lnTo>
                <a:close/>
                <a:moveTo>
                  <a:pt x="750948" y="302529"/>
                </a:moveTo>
                <a:lnTo>
                  <a:pt x="748724" y="302846"/>
                </a:lnTo>
                <a:lnTo>
                  <a:pt x="746818" y="303797"/>
                </a:lnTo>
                <a:lnTo>
                  <a:pt x="744912" y="304431"/>
                </a:lnTo>
                <a:lnTo>
                  <a:pt x="743641" y="306017"/>
                </a:lnTo>
                <a:lnTo>
                  <a:pt x="742053" y="307602"/>
                </a:lnTo>
                <a:lnTo>
                  <a:pt x="741417" y="309188"/>
                </a:lnTo>
                <a:lnTo>
                  <a:pt x="740464" y="311725"/>
                </a:lnTo>
                <a:lnTo>
                  <a:pt x="740464" y="313310"/>
                </a:lnTo>
                <a:lnTo>
                  <a:pt x="740464" y="315847"/>
                </a:lnTo>
                <a:lnTo>
                  <a:pt x="741417" y="318067"/>
                </a:lnTo>
                <a:lnTo>
                  <a:pt x="742053" y="319970"/>
                </a:lnTo>
                <a:lnTo>
                  <a:pt x="743641" y="321238"/>
                </a:lnTo>
                <a:lnTo>
                  <a:pt x="744912" y="322507"/>
                </a:lnTo>
                <a:lnTo>
                  <a:pt x="746818" y="323458"/>
                </a:lnTo>
                <a:lnTo>
                  <a:pt x="748724" y="324410"/>
                </a:lnTo>
                <a:lnTo>
                  <a:pt x="750948" y="324410"/>
                </a:lnTo>
                <a:lnTo>
                  <a:pt x="988881" y="324410"/>
                </a:lnTo>
                <a:lnTo>
                  <a:pt x="991105" y="324410"/>
                </a:lnTo>
                <a:lnTo>
                  <a:pt x="993011" y="323458"/>
                </a:lnTo>
                <a:lnTo>
                  <a:pt x="994917" y="322507"/>
                </a:lnTo>
                <a:lnTo>
                  <a:pt x="996506" y="321238"/>
                </a:lnTo>
                <a:lnTo>
                  <a:pt x="997776" y="319970"/>
                </a:lnTo>
                <a:lnTo>
                  <a:pt x="998729" y="318067"/>
                </a:lnTo>
                <a:lnTo>
                  <a:pt x="999365" y="315847"/>
                </a:lnTo>
                <a:lnTo>
                  <a:pt x="999365" y="313310"/>
                </a:lnTo>
                <a:lnTo>
                  <a:pt x="999365" y="311725"/>
                </a:lnTo>
                <a:lnTo>
                  <a:pt x="998729" y="309188"/>
                </a:lnTo>
                <a:lnTo>
                  <a:pt x="997776" y="307602"/>
                </a:lnTo>
                <a:lnTo>
                  <a:pt x="996506" y="306017"/>
                </a:lnTo>
                <a:lnTo>
                  <a:pt x="994917" y="304431"/>
                </a:lnTo>
                <a:lnTo>
                  <a:pt x="993011" y="303797"/>
                </a:lnTo>
                <a:lnTo>
                  <a:pt x="991105" y="302846"/>
                </a:lnTo>
                <a:lnTo>
                  <a:pt x="988881" y="302529"/>
                </a:lnTo>
                <a:lnTo>
                  <a:pt x="750948" y="302529"/>
                </a:lnTo>
                <a:close/>
                <a:moveTo>
                  <a:pt x="748724" y="219444"/>
                </a:moveTo>
                <a:lnTo>
                  <a:pt x="746818" y="220396"/>
                </a:lnTo>
                <a:lnTo>
                  <a:pt x="744912" y="221347"/>
                </a:lnTo>
                <a:lnTo>
                  <a:pt x="743641" y="222615"/>
                </a:lnTo>
                <a:lnTo>
                  <a:pt x="742053" y="224201"/>
                </a:lnTo>
                <a:lnTo>
                  <a:pt x="741417" y="226104"/>
                </a:lnTo>
                <a:lnTo>
                  <a:pt x="740464" y="228323"/>
                </a:lnTo>
                <a:lnTo>
                  <a:pt x="740464" y="230543"/>
                </a:lnTo>
                <a:lnTo>
                  <a:pt x="740464" y="232763"/>
                </a:lnTo>
                <a:lnTo>
                  <a:pt x="741417" y="234666"/>
                </a:lnTo>
                <a:lnTo>
                  <a:pt x="742053" y="236568"/>
                </a:lnTo>
                <a:lnTo>
                  <a:pt x="743641" y="237837"/>
                </a:lnTo>
                <a:lnTo>
                  <a:pt x="744912" y="239423"/>
                </a:lnTo>
                <a:lnTo>
                  <a:pt x="746818" y="240374"/>
                </a:lnTo>
                <a:lnTo>
                  <a:pt x="748724" y="241008"/>
                </a:lnTo>
                <a:lnTo>
                  <a:pt x="750948" y="241325"/>
                </a:lnTo>
                <a:lnTo>
                  <a:pt x="1133738" y="241325"/>
                </a:lnTo>
                <a:lnTo>
                  <a:pt x="1135644" y="241008"/>
                </a:lnTo>
                <a:lnTo>
                  <a:pt x="1137868" y="240374"/>
                </a:lnTo>
                <a:lnTo>
                  <a:pt x="1139456" y="239423"/>
                </a:lnTo>
                <a:lnTo>
                  <a:pt x="1141045" y="237837"/>
                </a:lnTo>
                <a:lnTo>
                  <a:pt x="1142316" y="236568"/>
                </a:lnTo>
                <a:lnTo>
                  <a:pt x="1143586" y="234666"/>
                </a:lnTo>
                <a:lnTo>
                  <a:pt x="1143904" y="232763"/>
                </a:lnTo>
                <a:lnTo>
                  <a:pt x="1144222" y="230543"/>
                </a:lnTo>
                <a:lnTo>
                  <a:pt x="1143904" y="228323"/>
                </a:lnTo>
                <a:lnTo>
                  <a:pt x="1143586" y="226104"/>
                </a:lnTo>
                <a:lnTo>
                  <a:pt x="1142316" y="224201"/>
                </a:lnTo>
                <a:lnTo>
                  <a:pt x="1141045" y="222615"/>
                </a:lnTo>
                <a:lnTo>
                  <a:pt x="1139456" y="221347"/>
                </a:lnTo>
                <a:lnTo>
                  <a:pt x="1137868" y="220396"/>
                </a:lnTo>
                <a:lnTo>
                  <a:pt x="1135644" y="219444"/>
                </a:lnTo>
                <a:lnTo>
                  <a:pt x="1133738" y="219444"/>
                </a:lnTo>
                <a:lnTo>
                  <a:pt x="750948" y="219444"/>
                </a:lnTo>
                <a:lnTo>
                  <a:pt x="748724" y="219444"/>
                </a:lnTo>
                <a:close/>
                <a:moveTo>
                  <a:pt x="748724" y="141751"/>
                </a:moveTo>
                <a:lnTo>
                  <a:pt x="746818" y="142702"/>
                </a:lnTo>
                <a:lnTo>
                  <a:pt x="744912" y="143336"/>
                </a:lnTo>
                <a:lnTo>
                  <a:pt x="743641" y="144922"/>
                </a:lnTo>
                <a:lnTo>
                  <a:pt x="742053" y="146191"/>
                </a:lnTo>
                <a:lnTo>
                  <a:pt x="741417" y="148093"/>
                </a:lnTo>
                <a:lnTo>
                  <a:pt x="740464" y="150630"/>
                </a:lnTo>
                <a:lnTo>
                  <a:pt x="740464" y="152216"/>
                </a:lnTo>
                <a:lnTo>
                  <a:pt x="740464" y="154753"/>
                </a:lnTo>
                <a:lnTo>
                  <a:pt x="741417" y="156972"/>
                </a:lnTo>
                <a:lnTo>
                  <a:pt x="742053" y="158875"/>
                </a:lnTo>
                <a:lnTo>
                  <a:pt x="743641" y="160144"/>
                </a:lnTo>
                <a:lnTo>
                  <a:pt x="744912" y="161729"/>
                </a:lnTo>
                <a:lnTo>
                  <a:pt x="746818" y="162363"/>
                </a:lnTo>
                <a:lnTo>
                  <a:pt x="748724" y="163315"/>
                </a:lnTo>
                <a:lnTo>
                  <a:pt x="750948" y="163315"/>
                </a:lnTo>
                <a:lnTo>
                  <a:pt x="1133738" y="163315"/>
                </a:lnTo>
                <a:lnTo>
                  <a:pt x="1135644" y="163315"/>
                </a:lnTo>
                <a:lnTo>
                  <a:pt x="1137868" y="162363"/>
                </a:lnTo>
                <a:lnTo>
                  <a:pt x="1139456" y="161729"/>
                </a:lnTo>
                <a:lnTo>
                  <a:pt x="1141045" y="160144"/>
                </a:lnTo>
                <a:lnTo>
                  <a:pt x="1142316" y="158875"/>
                </a:lnTo>
                <a:lnTo>
                  <a:pt x="1143586" y="156972"/>
                </a:lnTo>
                <a:lnTo>
                  <a:pt x="1143904" y="154753"/>
                </a:lnTo>
                <a:lnTo>
                  <a:pt x="1144222" y="152216"/>
                </a:lnTo>
                <a:lnTo>
                  <a:pt x="1143904" y="150630"/>
                </a:lnTo>
                <a:lnTo>
                  <a:pt x="1143586" y="148093"/>
                </a:lnTo>
                <a:lnTo>
                  <a:pt x="1142316" y="146191"/>
                </a:lnTo>
                <a:lnTo>
                  <a:pt x="1141045" y="144922"/>
                </a:lnTo>
                <a:lnTo>
                  <a:pt x="1139456" y="143336"/>
                </a:lnTo>
                <a:lnTo>
                  <a:pt x="1137868" y="142702"/>
                </a:lnTo>
                <a:lnTo>
                  <a:pt x="1135644" y="141751"/>
                </a:lnTo>
                <a:lnTo>
                  <a:pt x="1133738" y="141751"/>
                </a:lnTo>
                <a:lnTo>
                  <a:pt x="750948" y="141751"/>
                </a:lnTo>
                <a:lnTo>
                  <a:pt x="748724" y="141751"/>
                </a:lnTo>
                <a:close/>
                <a:moveTo>
                  <a:pt x="789068" y="0"/>
                </a:moveTo>
                <a:lnTo>
                  <a:pt x="1085770" y="0"/>
                </a:lnTo>
                <a:lnTo>
                  <a:pt x="1093712" y="317"/>
                </a:lnTo>
                <a:lnTo>
                  <a:pt x="1101336" y="635"/>
                </a:lnTo>
                <a:lnTo>
                  <a:pt x="1108960" y="1903"/>
                </a:lnTo>
                <a:lnTo>
                  <a:pt x="1116267" y="2854"/>
                </a:lnTo>
                <a:lnTo>
                  <a:pt x="1123573" y="4757"/>
                </a:lnTo>
                <a:lnTo>
                  <a:pt x="1130562" y="6660"/>
                </a:lnTo>
                <a:lnTo>
                  <a:pt x="1137868" y="8879"/>
                </a:lnTo>
                <a:lnTo>
                  <a:pt x="1144539" y="12051"/>
                </a:lnTo>
                <a:lnTo>
                  <a:pt x="1151210" y="14905"/>
                </a:lnTo>
                <a:lnTo>
                  <a:pt x="1157881" y="18393"/>
                </a:lnTo>
                <a:lnTo>
                  <a:pt x="1164235" y="21564"/>
                </a:lnTo>
                <a:lnTo>
                  <a:pt x="1170270" y="25687"/>
                </a:lnTo>
                <a:lnTo>
                  <a:pt x="1176306" y="29809"/>
                </a:lnTo>
                <a:lnTo>
                  <a:pt x="1181706" y="34566"/>
                </a:lnTo>
                <a:lnTo>
                  <a:pt x="1187424" y="39006"/>
                </a:lnTo>
                <a:lnTo>
                  <a:pt x="1192507" y="44079"/>
                </a:lnTo>
                <a:lnTo>
                  <a:pt x="1197590" y="49153"/>
                </a:lnTo>
                <a:lnTo>
                  <a:pt x="1202037" y="54861"/>
                </a:lnTo>
                <a:lnTo>
                  <a:pt x="1206802" y="60252"/>
                </a:lnTo>
                <a:lnTo>
                  <a:pt x="1210932" y="66277"/>
                </a:lnTo>
                <a:lnTo>
                  <a:pt x="1215062" y="72303"/>
                </a:lnTo>
                <a:lnTo>
                  <a:pt x="1218238" y="78645"/>
                </a:lnTo>
                <a:lnTo>
                  <a:pt x="1221733" y="84987"/>
                </a:lnTo>
                <a:lnTo>
                  <a:pt x="1224592" y="91964"/>
                </a:lnTo>
                <a:lnTo>
                  <a:pt x="1227768" y="98623"/>
                </a:lnTo>
                <a:lnTo>
                  <a:pt x="1229992" y="105917"/>
                </a:lnTo>
                <a:lnTo>
                  <a:pt x="1231898" y="112893"/>
                </a:lnTo>
                <a:lnTo>
                  <a:pt x="1233804" y="120187"/>
                </a:lnTo>
                <a:lnTo>
                  <a:pt x="1234757" y="127481"/>
                </a:lnTo>
                <a:lnTo>
                  <a:pt x="1236028" y="135092"/>
                </a:lnTo>
                <a:lnTo>
                  <a:pt x="1236345" y="143019"/>
                </a:lnTo>
                <a:lnTo>
                  <a:pt x="1236663" y="150630"/>
                </a:lnTo>
                <a:lnTo>
                  <a:pt x="1236663" y="296186"/>
                </a:lnTo>
                <a:lnTo>
                  <a:pt x="1236345" y="303797"/>
                </a:lnTo>
                <a:lnTo>
                  <a:pt x="1236028" y="311725"/>
                </a:lnTo>
                <a:lnTo>
                  <a:pt x="1234757" y="319019"/>
                </a:lnTo>
                <a:lnTo>
                  <a:pt x="1233804" y="326629"/>
                </a:lnTo>
                <a:lnTo>
                  <a:pt x="1231898" y="333606"/>
                </a:lnTo>
                <a:lnTo>
                  <a:pt x="1229992" y="340900"/>
                </a:lnTo>
                <a:lnTo>
                  <a:pt x="1227768" y="347876"/>
                </a:lnTo>
                <a:lnTo>
                  <a:pt x="1224592" y="354853"/>
                </a:lnTo>
                <a:lnTo>
                  <a:pt x="1221733" y="361512"/>
                </a:lnTo>
                <a:lnTo>
                  <a:pt x="1218238" y="367854"/>
                </a:lnTo>
                <a:lnTo>
                  <a:pt x="1215062" y="374197"/>
                </a:lnTo>
                <a:lnTo>
                  <a:pt x="1210932" y="380222"/>
                </a:lnTo>
                <a:lnTo>
                  <a:pt x="1206802" y="386247"/>
                </a:lnTo>
                <a:lnTo>
                  <a:pt x="1202037" y="391955"/>
                </a:lnTo>
                <a:lnTo>
                  <a:pt x="1197590" y="397346"/>
                </a:lnTo>
                <a:lnTo>
                  <a:pt x="1192507" y="402420"/>
                </a:lnTo>
                <a:lnTo>
                  <a:pt x="1187424" y="407811"/>
                </a:lnTo>
                <a:lnTo>
                  <a:pt x="1181706" y="412251"/>
                </a:lnTo>
                <a:lnTo>
                  <a:pt x="1176306" y="416690"/>
                </a:lnTo>
                <a:lnTo>
                  <a:pt x="1170270" y="420813"/>
                </a:lnTo>
                <a:lnTo>
                  <a:pt x="1164235" y="424935"/>
                </a:lnTo>
                <a:lnTo>
                  <a:pt x="1157881" y="428423"/>
                </a:lnTo>
                <a:lnTo>
                  <a:pt x="1151210" y="431912"/>
                </a:lnTo>
                <a:lnTo>
                  <a:pt x="1144539" y="434766"/>
                </a:lnTo>
                <a:lnTo>
                  <a:pt x="1137868" y="437303"/>
                </a:lnTo>
                <a:lnTo>
                  <a:pt x="1130562" y="440157"/>
                </a:lnTo>
                <a:lnTo>
                  <a:pt x="1123573" y="442059"/>
                </a:lnTo>
                <a:lnTo>
                  <a:pt x="1116267" y="443645"/>
                </a:lnTo>
                <a:lnTo>
                  <a:pt x="1108960" y="444914"/>
                </a:lnTo>
                <a:lnTo>
                  <a:pt x="1101336" y="446182"/>
                </a:lnTo>
                <a:lnTo>
                  <a:pt x="1093712" y="446499"/>
                </a:lnTo>
                <a:lnTo>
                  <a:pt x="1085770" y="446816"/>
                </a:lnTo>
                <a:lnTo>
                  <a:pt x="1060675" y="446816"/>
                </a:lnTo>
                <a:lnTo>
                  <a:pt x="1084500" y="523875"/>
                </a:lnTo>
                <a:lnTo>
                  <a:pt x="945996" y="446816"/>
                </a:lnTo>
                <a:lnTo>
                  <a:pt x="789068" y="446816"/>
                </a:lnTo>
                <a:lnTo>
                  <a:pt x="781444" y="446499"/>
                </a:lnTo>
                <a:lnTo>
                  <a:pt x="773502" y="446182"/>
                </a:lnTo>
                <a:lnTo>
                  <a:pt x="766196" y="444914"/>
                </a:lnTo>
                <a:lnTo>
                  <a:pt x="758889" y="443645"/>
                </a:lnTo>
                <a:lnTo>
                  <a:pt x="751583" y="442059"/>
                </a:lnTo>
                <a:lnTo>
                  <a:pt x="744277" y="440157"/>
                </a:lnTo>
                <a:lnTo>
                  <a:pt x="737288" y="437303"/>
                </a:lnTo>
                <a:lnTo>
                  <a:pt x="730299" y="434766"/>
                </a:lnTo>
                <a:lnTo>
                  <a:pt x="723946" y="431912"/>
                </a:lnTo>
                <a:lnTo>
                  <a:pt x="717275" y="428423"/>
                </a:lnTo>
                <a:lnTo>
                  <a:pt x="710921" y="424935"/>
                </a:lnTo>
                <a:lnTo>
                  <a:pt x="704886" y="420813"/>
                </a:lnTo>
                <a:lnTo>
                  <a:pt x="698850" y="416690"/>
                </a:lnTo>
                <a:lnTo>
                  <a:pt x="693132" y="412251"/>
                </a:lnTo>
                <a:lnTo>
                  <a:pt x="687731" y="407811"/>
                </a:lnTo>
                <a:lnTo>
                  <a:pt x="682649" y="402420"/>
                </a:lnTo>
                <a:lnTo>
                  <a:pt x="677566" y="397346"/>
                </a:lnTo>
                <a:lnTo>
                  <a:pt x="672801" y="391955"/>
                </a:lnTo>
                <a:lnTo>
                  <a:pt x="668354" y="386247"/>
                </a:lnTo>
                <a:lnTo>
                  <a:pt x="664224" y="380222"/>
                </a:lnTo>
                <a:lnTo>
                  <a:pt x="660094" y="374197"/>
                </a:lnTo>
                <a:lnTo>
                  <a:pt x="656600" y="367854"/>
                </a:lnTo>
                <a:lnTo>
                  <a:pt x="653106" y="361512"/>
                </a:lnTo>
                <a:lnTo>
                  <a:pt x="650247" y="354853"/>
                </a:lnTo>
                <a:lnTo>
                  <a:pt x="647705" y="347876"/>
                </a:lnTo>
                <a:lnTo>
                  <a:pt x="644846" y="340900"/>
                </a:lnTo>
                <a:lnTo>
                  <a:pt x="642940" y="333606"/>
                </a:lnTo>
                <a:lnTo>
                  <a:pt x="641669" y="326629"/>
                </a:lnTo>
                <a:lnTo>
                  <a:pt x="640081" y="319019"/>
                </a:lnTo>
                <a:lnTo>
                  <a:pt x="638810" y="311725"/>
                </a:lnTo>
                <a:lnTo>
                  <a:pt x="638493" y="303797"/>
                </a:lnTo>
                <a:lnTo>
                  <a:pt x="638175" y="296186"/>
                </a:lnTo>
                <a:lnTo>
                  <a:pt x="638175" y="150630"/>
                </a:lnTo>
                <a:lnTo>
                  <a:pt x="638493" y="143019"/>
                </a:lnTo>
                <a:lnTo>
                  <a:pt x="638810" y="135092"/>
                </a:lnTo>
                <a:lnTo>
                  <a:pt x="640081" y="127481"/>
                </a:lnTo>
                <a:lnTo>
                  <a:pt x="641669" y="120187"/>
                </a:lnTo>
                <a:lnTo>
                  <a:pt x="642940" y="112893"/>
                </a:lnTo>
                <a:lnTo>
                  <a:pt x="644846" y="105917"/>
                </a:lnTo>
                <a:lnTo>
                  <a:pt x="647705" y="98623"/>
                </a:lnTo>
                <a:lnTo>
                  <a:pt x="650247" y="91964"/>
                </a:lnTo>
                <a:lnTo>
                  <a:pt x="653106" y="84987"/>
                </a:lnTo>
                <a:lnTo>
                  <a:pt x="656600" y="78645"/>
                </a:lnTo>
                <a:lnTo>
                  <a:pt x="660094" y="72303"/>
                </a:lnTo>
                <a:lnTo>
                  <a:pt x="664224" y="66277"/>
                </a:lnTo>
                <a:lnTo>
                  <a:pt x="668354" y="60252"/>
                </a:lnTo>
                <a:lnTo>
                  <a:pt x="672801" y="54861"/>
                </a:lnTo>
                <a:lnTo>
                  <a:pt x="677566" y="49153"/>
                </a:lnTo>
                <a:lnTo>
                  <a:pt x="682649" y="44079"/>
                </a:lnTo>
                <a:lnTo>
                  <a:pt x="687731" y="39006"/>
                </a:lnTo>
                <a:lnTo>
                  <a:pt x="693132" y="34566"/>
                </a:lnTo>
                <a:lnTo>
                  <a:pt x="698850" y="29809"/>
                </a:lnTo>
                <a:lnTo>
                  <a:pt x="704886" y="25687"/>
                </a:lnTo>
                <a:lnTo>
                  <a:pt x="710921" y="21564"/>
                </a:lnTo>
                <a:lnTo>
                  <a:pt x="717275" y="18393"/>
                </a:lnTo>
                <a:lnTo>
                  <a:pt x="723946" y="14905"/>
                </a:lnTo>
                <a:lnTo>
                  <a:pt x="730299" y="12051"/>
                </a:lnTo>
                <a:lnTo>
                  <a:pt x="737288" y="8879"/>
                </a:lnTo>
                <a:lnTo>
                  <a:pt x="744277" y="6660"/>
                </a:lnTo>
                <a:lnTo>
                  <a:pt x="751583" y="4757"/>
                </a:lnTo>
                <a:lnTo>
                  <a:pt x="758889" y="2854"/>
                </a:lnTo>
                <a:lnTo>
                  <a:pt x="766196" y="1903"/>
                </a:lnTo>
                <a:lnTo>
                  <a:pt x="773502" y="635"/>
                </a:lnTo>
                <a:lnTo>
                  <a:pt x="781444" y="317"/>
                </a:lnTo>
                <a:lnTo>
                  <a:pt x="789068" y="0"/>
                </a:lnTo>
                <a:close/>
              </a:path>
            </a:pathLst>
          </a:custGeom>
          <a:solidFill>
            <a:schemeClr val="tx1">
              <a:lumMod val="75000"/>
              <a:lumOff val="2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charset="0"/>
                <a:ea typeface="宋体" panose="02010600030101010101" pitchFamily="2" charset="-122"/>
                <a:cs typeface="+mn-cs"/>
              </a:defRPr>
            </a:lvl9pPr>
          </a:lstStyle>
          <a:p>
            <a:pPr algn="ctr">
              <a:defRPr/>
            </a:pPr>
            <a:endParaRPr lang="zh-CN" altLang="en-US">
              <a:solidFill>
                <a:srgbClr val="FFFFFF"/>
              </a:solidFill>
            </a:endParaRPr>
          </a:p>
        </p:txBody>
      </p:sp>
      <p:sp>
        <p:nvSpPr>
          <p:cNvPr id="4" name="文本框 3"/>
          <p:cNvSpPr txBox="1"/>
          <p:nvPr/>
        </p:nvSpPr>
        <p:spPr>
          <a:xfrm>
            <a:off x="684530" y="1712595"/>
            <a:ext cx="7940040" cy="452310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cs typeface="+mn-ea"/>
              </a:rPr>
              <a:t>工作内容：</a:t>
            </a:r>
            <a:endParaRPr lang="en-US" altLang="zh-CN" sz="1600" b="1" dirty="0" smtClean="0">
              <a:solidFill>
                <a:srgbClr val="000000"/>
              </a:solidFill>
              <a:cs typeface="+mn-ea"/>
            </a:endParaRPr>
          </a:p>
          <a:p>
            <a:pPr>
              <a:lnSpc>
                <a:spcPct val="150000"/>
              </a:lnSpc>
            </a:pPr>
            <a:r>
              <a:rPr lang="zh-CN" altLang="en-US" sz="1600" dirty="0" smtClean="0">
                <a:solidFill>
                  <a:srgbClr val="000000"/>
                </a:solidFill>
                <a:cs typeface="+mn-ea"/>
              </a:rPr>
              <a:t>隔墙定位</a:t>
            </a:r>
            <a:r>
              <a:rPr lang="zh-CN" altLang="en-US" sz="1600" dirty="0">
                <a:solidFill>
                  <a:srgbClr val="000000"/>
                </a:solidFill>
                <a:cs typeface="+mn-ea"/>
              </a:rPr>
              <a:t>线：精装进场后必须依据精装图纸进行户内隔墙定位</a:t>
            </a:r>
            <a:r>
              <a:rPr lang="zh-CN" altLang="en-US" sz="1600" dirty="0" smtClean="0">
                <a:solidFill>
                  <a:srgbClr val="000000"/>
                </a:solidFill>
                <a:cs typeface="+mn-ea"/>
              </a:rPr>
              <a:t>放线。</a:t>
            </a:r>
            <a:endParaRPr lang="en-US" altLang="zh-CN" sz="1600" dirty="0" smtClean="0">
              <a:solidFill>
                <a:srgbClr val="000000"/>
              </a:solidFill>
              <a:cs typeface="+mn-ea"/>
            </a:endParaRPr>
          </a:p>
          <a:p>
            <a:pPr>
              <a:lnSpc>
                <a:spcPct val="150000"/>
              </a:lnSpc>
            </a:pPr>
            <a:r>
              <a:rPr lang="zh-CN" altLang="en-US" sz="1600" dirty="0" smtClean="0">
                <a:solidFill>
                  <a:srgbClr val="000000"/>
                </a:solidFill>
                <a:cs typeface="+mn-ea"/>
              </a:rPr>
              <a:t>轴线套方线：</a:t>
            </a:r>
            <a:r>
              <a:rPr lang="zh-CN" altLang="en-US" sz="1600" dirty="0">
                <a:solidFill>
                  <a:srgbClr val="000000"/>
                </a:solidFill>
                <a:cs typeface="+mn-ea"/>
              </a:rPr>
              <a:t>房间套方放线，核实房间方正</a:t>
            </a:r>
            <a:r>
              <a:rPr lang="zh-CN" altLang="en-US" sz="1600" dirty="0" smtClean="0">
                <a:solidFill>
                  <a:srgbClr val="000000"/>
                </a:solidFill>
                <a:cs typeface="+mn-ea"/>
              </a:rPr>
              <a:t>度，核实</a:t>
            </a:r>
            <a:r>
              <a:rPr lang="zh-CN" altLang="en-US" sz="1600" dirty="0">
                <a:solidFill>
                  <a:srgbClr val="000000"/>
                </a:solidFill>
                <a:cs typeface="+mn-ea"/>
              </a:rPr>
              <a:t>房间方正度以及开间进深与图纸差异情况</a:t>
            </a:r>
            <a:r>
              <a:rPr lang="zh-CN" altLang="en-US" sz="1600" dirty="0" smtClean="0">
                <a:solidFill>
                  <a:srgbClr val="000000"/>
                </a:solidFill>
                <a:cs typeface="+mn-ea"/>
              </a:rPr>
              <a:t>。</a:t>
            </a:r>
            <a:endParaRPr lang="en-US" altLang="zh-CN" sz="1600" dirty="0">
              <a:solidFill>
                <a:srgbClr val="000000"/>
              </a:solidFill>
              <a:cs typeface="+mn-ea"/>
            </a:endParaRPr>
          </a:p>
          <a:p>
            <a:pPr>
              <a:lnSpc>
                <a:spcPct val="150000"/>
              </a:lnSpc>
            </a:pPr>
            <a:r>
              <a:rPr lang="zh-CN" altLang="en-US" sz="1600" dirty="0" smtClean="0">
                <a:solidFill>
                  <a:srgbClr val="000000"/>
                </a:solidFill>
                <a:cs typeface="+mn-ea"/>
              </a:rPr>
              <a:t>一米线及标高定位</a:t>
            </a:r>
            <a:r>
              <a:rPr lang="zh-CN" altLang="en-US" sz="1600" dirty="0">
                <a:solidFill>
                  <a:srgbClr val="000000"/>
                </a:solidFill>
                <a:cs typeface="+mn-ea"/>
              </a:rPr>
              <a:t>线：复核土建</a:t>
            </a:r>
            <a:r>
              <a:rPr lang="zh-CN" altLang="en-US" sz="1600" dirty="0" smtClean="0">
                <a:solidFill>
                  <a:srgbClr val="000000"/>
                </a:solidFill>
                <a:cs typeface="+mn-ea"/>
              </a:rPr>
              <a:t>结构一米线引致房间内进行一米线投影放线，依据</a:t>
            </a:r>
            <a:r>
              <a:rPr lang="zh-CN" altLang="en-US" sz="1600" dirty="0">
                <a:solidFill>
                  <a:srgbClr val="000000"/>
                </a:solidFill>
                <a:cs typeface="+mn-ea"/>
              </a:rPr>
              <a:t>精装设计标高要求进行户内顶部标高以及地面完成高度放出控制线</a:t>
            </a:r>
            <a:r>
              <a:rPr lang="zh-CN" altLang="en-US" sz="1600" dirty="0" smtClean="0">
                <a:solidFill>
                  <a:srgbClr val="000000"/>
                </a:solidFill>
                <a:cs typeface="+mn-ea"/>
              </a:rPr>
              <a:t>。</a:t>
            </a:r>
            <a:endParaRPr lang="en-US" altLang="zh-CN" sz="1600" dirty="0">
              <a:solidFill>
                <a:srgbClr val="000000"/>
              </a:solidFill>
              <a:cs typeface="+mn-ea"/>
            </a:endParaRPr>
          </a:p>
          <a:p>
            <a:pPr>
              <a:lnSpc>
                <a:spcPct val="150000"/>
              </a:lnSpc>
            </a:pPr>
            <a:r>
              <a:rPr lang="zh-CN" altLang="en-US" sz="1600" dirty="0" smtClean="0">
                <a:solidFill>
                  <a:srgbClr val="000000"/>
                </a:solidFill>
                <a:cs typeface="+mn-ea"/>
              </a:rPr>
              <a:t>阴阳角垂直线：</a:t>
            </a:r>
            <a:r>
              <a:rPr lang="zh-CN" altLang="en-US" sz="1600" dirty="0">
                <a:solidFill>
                  <a:srgbClr val="000000"/>
                </a:solidFill>
                <a:cs typeface="+mn-ea"/>
              </a:rPr>
              <a:t>精装单位以独立空间为单位，进行阴阳角垂直</a:t>
            </a:r>
            <a:r>
              <a:rPr lang="zh-CN" altLang="en-US" sz="1600" dirty="0" smtClean="0">
                <a:solidFill>
                  <a:srgbClr val="000000"/>
                </a:solidFill>
                <a:cs typeface="+mn-ea"/>
              </a:rPr>
              <a:t>放线；放线参照套方线进行投射至每</a:t>
            </a:r>
            <a:r>
              <a:rPr lang="zh-CN" altLang="en-US" sz="1600" dirty="0">
                <a:solidFill>
                  <a:srgbClr val="000000"/>
                </a:solidFill>
                <a:cs typeface="+mn-ea"/>
              </a:rPr>
              <a:t>面墙的阴角及阳角处向外约</a:t>
            </a:r>
            <a:r>
              <a:rPr lang="en-US" altLang="zh-CN" sz="1600" dirty="0">
                <a:solidFill>
                  <a:srgbClr val="000000"/>
                </a:solidFill>
                <a:cs typeface="+mn-ea"/>
              </a:rPr>
              <a:t>30mm</a:t>
            </a:r>
            <a:r>
              <a:rPr lang="zh-CN" altLang="en-US" sz="1600" dirty="0">
                <a:solidFill>
                  <a:srgbClr val="000000"/>
                </a:solidFill>
                <a:cs typeface="+mn-ea"/>
              </a:rPr>
              <a:t>处进行垂直放线。</a:t>
            </a:r>
            <a:endParaRPr lang="en-US" altLang="zh-CN" sz="1600"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r>
              <a:rPr lang="zh-CN" altLang="en-US" sz="1600" b="1" dirty="0" smtClean="0">
                <a:solidFill>
                  <a:srgbClr val="000000"/>
                </a:solidFill>
                <a:cs typeface="+mn-ea"/>
              </a:rPr>
              <a:t>工作目的：</a:t>
            </a:r>
            <a:endParaRPr lang="en-US" altLang="zh-CN" sz="1600" b="1" dirty="0">
              <a:solidFill>
                <a:srgbClr val="000000"/>
              </a:solidFill>
              <a:cs typeface="+mn-ea"/>
            </a:endParaRPr>
          </a:p>
          <a:p>
            <a:pPr>
              <a:lnSpc>
                <a:spcPct val="150000"/>
              </a:lnSpc>
            </a:pPr>
            <a:r>
              <a:rPr lang="zh-CN" altLang="en-US" sz="1600" dirty="0" smtClean="0">
                <a:solidFill>
                  <a:srgbClr val="000000"/>
                </a:solidFill>
                <a:cs typeface="+mn-ea"/>
              </a:rPr>
              <a:t>        套方放线工作，将会对原结构进行方正度、平整度、垂直度以及空间高度进行严格控制，并且可提前明确结构偏差以便</a:t>
            </a:r>
            <a:r>
              <a:rPr lang="zh-CN" altLang="en-US" sz="1600" dirty="0">
                <a:solidFill>
                  <a:srgbClr val="000000"/>
                </a:solidFill>
                <a:cs typeface="+mn-ea"/>
              </a:rPr>
              <a:t>进行及时调整补救。</a:t>
            </a:r>
            <a:endParaRPr lang="en-US" altLang="zh-CN" sz="1600" dirty="0">
              <a:solidFill>
                <a:srgbClr val="000000"/>
              </a:solidFill>
              <a:cs typeface="+mn-ea"/>
            </a:endParaRPr>
          </a:p>
        </p:txBody>
      </p:sp>
    </p:spTree>
  </p:cSld>
  <p:clrMapOvr>
    <a:masterClrMapping/>
  </p:clrMapOvr>
  <p:transition>
    <p:zoom dir="in"/>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smtClean="0">
                <a:solidFill>
                  <a:srgbClr val="000000"/>
                </a:solidFill>
                <a:cs typeface="+mn-ea"/>
              </a:rPr>
              <a:t>4</a:t>
            </a:r>
            <a:r>
              <a:rPr lang="zh-CN" altLang="en-US" sz="1800" b="1" dirty="0" smtClean="0">
                <a:solidFill>
                  <a:srgbClr val="000000"/>
                </a:solidFill>
                <a:cs typeface="+mn-ea"/>
              </a:rPr>
              <a:t>、套方放线</a:t>
            </a:r>
            <a:r>
              <a:rPr lang="zh-CN" altLang="en-US" sz="1800" b="1" dirty="0" smtClean="0">
                <a:solidFill>
                  <a:srgbClr val="000000"/>
                </a:solidFill>
                <a:cs typeface="+mn-ea"/>
                <a:sym typeface="+mn-ea"/>
              </a:rPr>
              <a:t>（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3" name="Picture 19" descr="IMG547"/>
          <p:cNvPicPr>
            <a:picLocks noChangeAspect="1"/>
          </p:cNvPicPr>
          <p:nvPr/>
        </p:nvPicPr>
        <p:blipFill>
          <a:blip r:embed="rId2"/>
          <a:stretch>
            <a:fillRect/>
          </a:stretch>
        </p:blipFill>
        <p:spPr>
          <a:xfrm>
            <a:off x="684530" y="1861820"/>
            <a:ext cx="2800350" cy="335597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1442" name="Rectangle 2"/>
          <p:cNvSpPr>
            <a:spLocks noGrp="1"/>
          </p:cNvSpPr>
          <p:nvPr>
            <p:ph type="title"/>
          </p:nvPr>
        </p:nvSpPr>
        <p:spPr>
          <a:xfrm>
            <a:off x="1588770" y="1405255"/>
            <a:ext cx="934720" cy="431165"/>
          </a:xfrm>
          <a:noFill/>
          <a:ln>
            <a:noFill/>
          </a:ln>
        </p:spPr>
        <p:txBody>
          <a:bodyPr wrap="square" anchor="t"/>
          <a:lstStyle/>
          <a:p>
            <a:pPr algn="ctr" eaLnBrk="1" hangingPunct="1"/>
            <a:r>
              <a:rPr lang="zh-CN" altLang="en-US" sz="2000" dirty="0">
                <a:ea typeface="黑体" panose="02010609060101010101" pitchFamily="49" charset="-122"/>
              </a:rPr>
              <a:t>控制线</a:t>
            </a:r>
          </a:p>
        </p:txBody>
      </p:sp>
      <p:sp>
        <p:nvSpPr>
          <p:cNvPr id="61443" name="Rectangle 3"/>
          <p:cNvSpPr txBox="1"/>
          <p:nvPr/>
        </p:nvSpPr>
        <p:spPr>
          <a:xfrm>
            <a:off x="684530" y="5391785"/>
            <a:ext cx="2905760" cy="799465"/>
          </a:xfrm>
          <a:prstGeom prst="rect">
            <a:avLst/>
          </a:prstGeom>
          <a:noFill/>
          <a:ln w="9525">
            <a:noFill/>
          </a:ln>
        </p:spPr>
        <p:txBody>
          <a:bodyPr anchor="t"/>
          <a:lstStyle/>
          <a:p>
            <a:pPr marL="342900" indent="-342900" defTabSz="914400">
              <a:spcBef>
                <a:spcPct val="20000"/>
              </a:spcBef>
              <a:buFont typeface="Arial" panose="020B0604020202020204" pitchFamily="34" charset="0"/>
              <a:buNone/>
            </a:pPr>
            <a:r>
              <a:rPr lang="zh-CN" altLang="en-US" sz="1400" dirty="0">
                <a:latin typeface="+mn-ea"/>
                <a:cs typeface="+mn-ea"/>
              </a:rPr>
              <a:t>作用：控制整个装饰区域的方正度</a:t>
            </a:r>
          </a:p>
          <a:p>
            <a:pPr marL="342900" indent="-342900" defTabSz="914400">
              <a:spcBef>
                <a:spcPct val="20000"/>
              </a:spcBef>
              <a:buFont typeface="Arial" panose="020B0604020202020204" pitchFamily="34" charset="0"/>
              <a:buNone/>
            </a:pPr>
            <a:r>
              <a:rPr lang="zh-CN" altLang="en-US" sz="1400" dirty="0">
                <a:latin typeface="+mn-ea"/>
                <a:cs typeface="+mn-ea"/>
              </a:rPr>
              <a:t>方法：通过引入的主控线，放垂直</a:t>
            </a:r>
          </a:p>
          <a:p>
            <a:pPr marL="342900" indent="-342900" defTabSz="914400">
              <a:spcBef>
                <a:spcPct val="20000"/>
              </a:spcBef>
              <a:buFont typeface="Arial" panose="020B0604020202020204" pitchFamily="34" charset="0"/>
              <a:buNone/>
            </a:pPr>
            <a:r>
              <a:rPr lang="zh-CN" altLang="en-US" sz="1400" dirty="0">
                <a:latin typeface="+mn-ea"/>
                <a:cs typeface="+mn-ea"/>
              </a:rPr>
              <a:t>于主控线的轴线   </a:t>
            </a:r>
          </a:p>
        </p:txBody>
      </p:sp>
      <p:sp>
        <p:nvSpPr>
          <p:cNvPr id="12" name="Line 9"/>
          <p:cNvSpPr/>
          <p:nvPr/>
        </p:nvSpPr>
        <p:spPr>
          <a:xfrm>
            <a:off x="2056130" y="1951355"/>
            <a:ext cx="635" cy="3192780"/>
          </a:xfrm>
          <a:prstGeom prst="line">
            <a:avLst/>
          </a:prstGeom>
          <a:ln w="19050" cap="flat" cmpd="sng">
            <a:solidFill>
              <a:srgbClr val="FF0000"/>
            </a:solidFill>
            <a:prstDash val="solid"/>
            <a:round/>
            <a:headEnd type="none" w="med" len="med"/>
            <a:tailEnd type="none" w="med" len="med"/>
          </a:ln>
        </p:spPr>
      </p:sp>
      <p:sp>
        <p:nvSpPr>
          <p:cNvPr id="13" name="Line 11"/>
          <p:cNvSpPr/>
          <p:nvPr/>
        </p:nvSpPr>
        <p:spPr>
          <a:xfrm>
            <a:off x="684530" y="4757103"/>
            <a:ext cx="2819400" cy="0"/>
          </a:xfrm>
          <a:prstGeom prst="line">
            <a:avLst/>
          </a:prstGeom>
          <a:ln w="19050" cap="flat" cmpd="sng">
            <a:solidFill>
              <a:srgbClr val="FF0000"/>
            </a:solidFill>
            <a:prstDash val="solid"/>
            <a:round/>
            <a:headEnd type="none" w="med" len="med"/>
            <a:tailEnd type="none" w="med" len="med"/>
          </a:ln>
        </p:spPr>
      </p:sp>
      <p:sp>
        <p:nvSpPr>
          <p:cNvPr id="14" name="Line 12"/>
          <p:cNvSpPr/>
          <p:nvPr/>
        </p:nvSpPr>
        <p:spPr>
          <a:xfrm flipH="1">
            <a:off x="2056130" y="3233103"/>
            <a:ext cx="685800" cy="152400"/>
          </a:xfrm>
          <a:prstGeom prst="line">
            <a:avLst/>
          </a:prstGeom>
          <a:ln w="19050" cap="flat" cmpd="sng">
            <a:solidFill>
              <a:srgbClr val="FF0000"/>
            </a:solidFill>
            <a:prstDash val="solid"/>
            <a:round/>
            <a:headEnd type="none" w="med" len="med"/>
            <a:tailEnd type="triangle" w="med" len="med"/>
          </a:ln>
        </p:spPr>
      </p:sp>
      <p:sp>
        <p:nvSpPr>
          <p:cNvPr id="15" name="Text Box 13"/>
          <p:cNvSpPr txBox="1"/>
          <p:nvPr/>
        </p:nvSpPr>
        <p:spPr>
          <a:xfrm>
            <a:off x="2665730" y="3004503"/>
            <a:ext cx="1066800" cy="369887"/>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轴线</a:t>
            </a:r>
          </a:p>
        </p:txBody>
      </p:sp>
      <p:sp>
        <p:nvSpPr>
          <p:cNvPr id="16" name="Line 14"/>
          <p:cNvSpPr/>
          <p:nvPr/>
        </p:nvSpPr>
        <p:spPr>
          <a:xfrm flipH="1">
            <a:off x="2409825" y="4452303"/>
            <a:ext cx="685800" cy="304800"/>
          </a:xfrm>
          <a:prstGeom prst="line">
            <a:avLst/>
          </a:prstGeom>
          <a:ln w="19050" cap="flat" cmpd="sng">
            <a:solidFill>
              <a:srgbClr val="FF0000"/>
            </a:solidFill>
            <a:prstDash val="solid"/>
            <a:round/>
            <a:headEnd type="none" w="med" len="med"/>
            <a:tailEnd type="triangle" w="med" len="med"/>
          </a:ln>
        </p:spPr>
      </p:sp>
      <p:sp>
        <p:nvSpPr>
          <p:cNvPr id="17" name="Text Box 15"/>
          <p:cNvSpPr txBox="1"/>
          <p:nvPr/>
        </p:nvSpPr>
        <p:spPr>
          <a:xfrm>
            <a:off x="2808605" y="3864928"/>
            <a:ext cx="838200" cy="646112"/>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主控制线</a:t>
            </a:r>
          </a:p>
        </p:txBody>
      </p:sp>
      <p:sp>
        <p:nvSpPr>
          <p:cNvPr id="19" name="Line 20"/>
          <p:cNvSpPr/>
          <p:nvPr/>
        </p:nvSpPr>
        <p:spPr>
          <a:xfrm>
            <a:off x="2056130" y="4528503"/>
            <a:ext cx="228600" cy="0"/>
          </a:xfrm>
          <a:prstGeom prst="line">
            <a:avLst/>
          </a:prstGeom>
          <a:ln w="19050" cap="flat" cmpd="sng">
            <a:solidFill>
              <a:srgbClr val="FF0000"/>
            </a:solidFill>
            <a:prstDash val="solid"/>
            <a:round/>
            <a:headEnd type="none" w="med" len="med"/>
            <a:tailEnd type="none" w="med" len="med"/>
          </a:ln>
        </p:spPr>
      </p:sp>
      <p:sp>
        <p:nvSpPr>
          <p:cNvPr id="20" name="Line 21"/>
          <p:cNvSpPr/>
          <p:nvPr/>
        </p:nvSpPr>
        <p:spPr>
          <a:xfrm>
            <a:off x="2284730" y="4528503"/>
            <a:ext cx="0" cy="228600"/>
          </a:xfrm>
          <a:prstGeom prst="line">
            <a:avLst/>
          </a:prstGeom>
          <a:ln w="19050" cap="flat" cmpd="sng">
            <a:solidFill>
              <a:srgbClr val="FF0000"/>
            </a:solidFill>
            <a:prstDash val="solid"/>
            <a:round/>
            <a:headEnd type="none" w="med" len="med"/>
            <a:tailEnd type="none" w="med" len="med"/>
          </a:ln>
        </p:spPr>
      </p:sp>
      <p:sp>
        <p:nvSpPr>
          <p:cNvPr id="21" name="Text Box 22"/>
          <p:cNvSpPr txBox="1"/>
          <p:nvPr/>
        </p:nvSpPr>
        <p:spPr>
          <a:xfrm>
            <a:off x="2208530" y="4237990"/>
            <a:ext cx="838200" cy="369888"/>
          </a:xfrm>
          <a:prstGeom prst="rect">
            <a:avLst/>
          </a:prstGeom>
          <a:noFill/>
          <a:ln w="9525">
            <a:noFill/>
          </a:ln>
        </p:spPr>
        <p:txBody>
          <a:bodyPr anchor="t">
            <a:spAutoFit/>
          </a:bodyPr>
          <a:lstStyle/>
          <a:p>
            <a:pPr>
              <a:spcBef>
                <a:spcPct val="50000"/>
              </a:spcBef>
              <a:buFont typeface="Arial" panose="020B0604020202020204" pitchFamily="34" charset="0"/>
              <a:buNone/>
            </a:pPr>
            <a:r>
              <a:rPr lang="en-US" altLang="zh-CN" b="1" dirty="0">
                <a:solidFill>
                  <a:srgbClr val="FF0000"/>
                </a:solidFill>
                <a:latin typeface="Calibri" panose="020F0502020204030204" charset="0"/>
                <a:ea typeface="宋体" panose="02010600030101010101" pitchFamily="2" charset="-122"/>
              </a:rPr>
              <a:t>90°</a:t>
            </a:r>
          </a:p>
        </p:txBody>
      </p:sp>
      <p:pic>
        <p:nvPicPr>
          <p:cNvPr id="4" name="Picture 8" descr="IMG471"/>
          <p:cNvPicPr>
            <a:picLocks noChangeAspect="1"/>
          </p:cNvPicPr>
          <p:nvPr/>
        </p:nvPicPr>
        <p:blipFill>
          <a:blip r:embed="rId3"/>
          <a:stretch>
            <a:fillRect/>
          </a:stretch>
        </p:blipFill>
        <p:spPr>
          <a:xfrm>
            <a:off x="4234815" y="1861820"/>
            <a:ext cx="2753360" cy="335661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9" name="Oval 10"/>
          <p:cNvSpPr/>
          <p:nvPr/>
        </p:nvSpPr>
        <p:spPr>
          <a:xfrm>
            <a:off x="4709478" y="3458210"/>
            <a:ext cx="381000" cy="381000"/>
          </a:xfrm>
          <a:prstGeom prst="ellipse">
            <a:avLst/>
          </a:prstGeom>
          <a:noFill/>
          <a:ln w="19050" cap="flat" cmpd="sng">
            <a:solidFill>
              <a:srgbClr val="FF0000"/>
            </a:solidFill>
            <a:prstDash val="solid"/>
            <a:round/>
            <a:headEnd type="none" w="med" len="med"/>
            <a:tailEnd type="none" w="med" len="med"/>
          </a:ln>
        </p:spPr>
        <p:txBody>
          <a:bodyPr wrap="none" anchor="ctr"/>
          <a:lstStyle/>
          <a:p>
            <a:pPr>
              <a:buFont typeface="Arial" panose="020B0604020202020204" pitchFamily="34" charset="0"/>
              <a:buNone/>
            </a:pPr>
            <a:endParaRPr lang="zh-CN" altLang="en-US" dirty="0">
              <a:latin typeface="Calibri" panose="020F0502020204030204" charset="0"/>
              <a:ea typeface="宋体" panose="02010600030101010101" pitchFamily="2" charset="-122"/>
            </a:endParaRPr>
          </a:p>
        </p:txBody>
      </p:sp>
      <p:sp>
        <p:nvSpPr>
          <p:cNvPr id="10" name="Text Box 11"/>
          <p:cNvSpPr txBox="1"/>
          <p:nvPr/>
        </p:nvSpPr>
        <p:spPr>
          <a:xfrm>
            <a:off x="4902518" y="3144520"/>
            <a:ext cx="1447800" cy="368300"/>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打倒三角</a:t>
            </a:r>
          </a:p>
        </p:txBody>
      </p:sp>
      <p:sp>
        <p:nvSpPr>
          <p:cNvPr id="11" name="文本框 10"/>
          <p:cNvSpPr txBox="1"/>
          <p:nvPr/>
        </p:nvSpPr>
        <p:spPr>
          <a:xfrm>
            <a:off x="4234815" y="5391785"/>
            <a:ext cx="2752725" cy="1426845"/>
          </a:xfrm>
          <a:prstGeom prst="rect">
            <a:avLst/>
          </a:prstGeom>
          <a:noFill/>
          <a:ln w="9525">
            <a:noFill/>
          </a:ln>
        </p:spPr>
        <p:txBody>
          <a:bodyPr wrap="square" rtlCol="0" anchor="t">
            <a:noAutofit/>
          </a:bodyPr>
          <a:lstStyle/>
          <a:p>
            <a:pPr marL="342900" lvl="0" indent="-342900" algn="l" defTabSz="914400">
              <a:spcBef>
                <a:spcPct val="20000"/>
              </a:spcBef>
              <a:buFont typeface="Arial" panose="020B0604020202020204" pitchFamily="34" charset="0"/>
            </a:pPr>
            <a:r>
              <a:rPr lang="zh-CN" altLang="en-US" sz="1400" dirty="0">
                <a:latin typeface="+mn-ea"/>
                <a:cs typeface="+mn-ea"/>
                <a:sym typeface="+mn-ea"/>
              </a:rPr>
              <a:t>作用：控制整个装饰区域的水平标高</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方法：根据业主或总包提供的高</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层点，由外界引入，放1m标高</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线，打“倒三角”表示</a:t>
            </a:r>
          </a:p>
        </p:txBody>
      </p:sp>
      <p:sp>
        <p:nvSpPr>
          <p:cNvPr id="22" name="Rectangle 2"/>
          <p:cNvSpPr>
            <a:spLocks noGrp="1"/>
          </p:cNvSpPr>
          <p:nvPr/>
        </p:nvSpPr>
        <p:spPr>
          <a:xfrm>
            <a:off x="4984115" y="1405255"/>
            <a:ext cx="1285240" cy="431165"/>
          </a:xfrm>
          <a:prstGeom prst="rect">
            <a:avLst/>
          </a:prstGeom>
          <a:noFill/>
          <a:ln>
            <a:noFill/>
          </a:ln>
        </p:spPr>
        <p:txBody>
          <a:bodyPr vert="horz" wrap="square" lIns="46494" tIns="46494" rIns="46494" bIns="46494" numCol="1" anchor="t" anchorCtr="0" compatLnSpc="1">
            <a:spAutoFit/>
          </a:bodyPr>
          <a:lst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a:lstStyle>
          <a:p>
            <a:pPr algn="ctr" eaLnBrk="1" hangingPunct="1"/>
            <a:r>
              <a:rPr lang="en-US" altLang="zh-CN" sz="2000" dirty="0">
                <a:ea typeface="黑体" panose="02010609060101010101" pitchFamily="49" charset="-122"/>
              </a:rPr>
              <a:t>1M</a:t>
            </a:r>
            <a:r>
              <a:rPr sz="2000" dirty="0">
                <a:ea typeface="黑体" panose="02010609060101010101" pitchFamily="49" charset="-122"/>
              </a:rPr>
              <a:t>标高</a:t>
            </a:r>
            <a:r>
              <a:rPr lang="zh-CN" altLang="en-US" sz="2000" dirty="0">
                <a:ea typeface="黑体" panose="02010609060101010101" pitchFamily="49" charset="-122"/>
              </a:rPr>
              <a:t>线</a:t>
            </a:r>
          </a:p>
        </p:txBody>
      </p:sp>
      <p:pic>
        <p:nvPicPr>
          <p:cNvPr id="24" name="Picture 17" descr="IMG558"/>
          <p:cNvPicPr>
            <a:picLocks noChangeAspect="1"/>
          </p:cNvPicPr>
          <p:nvPr/>
        </p:nvPicPr>
        <p:blipFill>
          <a:blip r:embed="rId4"/>
          <a:stretch>
            <a:fillRect/>
          </a:stretch>
        </p:blipFill>
        <p:spPr>
          <a:xfrm>
            <a:off x="7694930" y="1861820"/>
            <a:ext cx="3505200" cy="335661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25" name="文本框 24"/>
          <p:cNvSpPr txBox="1"/>
          <p:nvPr/>
        </p:nvSpPr>
        <p:spPr>
          <a:xfrm>
            <a:off x="7694930" y="5391785"/>
            <a:ext cx="3562985" cy="1211580"/>
          </a:xfrm>
          <a:prstGeom prst="rect">
            <a:avLst/>
          </a:prstGeom>
          <a:noFill/>
          <a:ln w="9525">
            <a:noFill/>
          </a:ln>
        </p:spPr>
        <p:txBody>
          <a:bodyPr wrap="square" rtlCol="0" anchor="t">
            <a:noAutofit/>
          </a:bodyPr>
          <a:lstStyle/>
          <a:p>
            <a:pPr marL="342900" lvl="0" indent="-342900" algn="l" defTabSz="914400">
              <a:spcBef>
                <a:spcPct val="20000"/>
              </a:spcBef>
              <a:buFont typeface="Arial" panose="020B0604020202020204" pitchFamily="34" charset="0"/>
            </a:pPr>
            <a:r>
              <a:rPr lang="zh-CN" altLang="en-US" sz="1400" dirty="0">
                <a:latin typeface="+mn-ea"/>
                <a:cs typeface="+mn-ea"/>
                <a:sym typeface="+mn-ea"/>
              </a:rPr>
              <a:t>作用：确定隔墙位置</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方法：根据施工图纸，结合现场，以轴线</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为基准。放出隔墙线，墙、顶、地要同时</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反映</a:t>
            </a:r>
          </a:p>
        </p:txBody>
      </p:sp>
      <p:sp>
        <p:nvSpPr>
          <p:cNvPr id="26" name="Rectangle 2"/>
          <p:cNvSpPr>
            <a:spLocks noGrp="1"/>
          </p:cNvSpPr>
          <p:nvPr/>
        </p:nvSpPr>
        <p:spPr>
          <a:xfrm>
            <a:off x="8804910" y="1405255"/>
            <a:ext cx="1285240" cy="431165"/>
          </a:xfrm>
          <a:prstGeom prst="rect">
            <a:avLst/>
          </a:prstGeom>
          <a:noFill/>
          <a:ln>
            <a:noFill/>
          </a:ln>
        </p:spPr>
        <p:txBody>
          <a:bodyPr vert="horz" wrap="square" lIns="46494" tIns="46494" rIns="46494" bIns="46494" numCol="1" anchor="t" anchorCtr="0" compatLnSpc="1">
            <a:spAutoFit/>
          </a:bodyPr>
          <a:lst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a:lstStyle>
          <a:p>
            <a:pPr algn="ctr" eaLnBrk="1" hangingPunct="1"/>
            <a:r>
              <a:rPr lang="en-US" altLang="zh-CN" sz="2000" dirty="0">
                <a:ea typeface="黑体" panose="02010609060101010101" pitchFamily="49" charset="-122"/>
              </a:rPr>
              <a:t>隔</a:t>
            </a:r>
            <a:r>
              <a:rPr sz="2000" dirty="0">
                <a:ea typeface="黑体" panose="02010609060101010101" pitchFamily="49" charset="-122"/>
              </a:rPr>
              <a:t>墙</a:t>
            </a:r>
            <a:r>
              <a:rPr lang="zh-CN" altLang="en-US" sz="2000" dirty="0">
                <a:ea typeface="黑体" panose="02010609060101010101" pitchFamily="49" charset="-122"/>
              </a:rPr>
              <a:t>线</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ppt_x"/>
                                          </p:val>
                                        </p:tav>
                                        <p:tav tm="100000">
                                          <p:val>
                                            <p:strVal val="#ppt_x"/>
                                          </p:val>
                                        </p:tav>
                                      </p:tavLst>
                                    </p:anim>
                                    <p:anim calcmode="lin" valueType="num">
                                      <p:cBhvr additive="base">
                                        <p:cTn id="16" dur="5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0-#ppt_h/2"/>
                                          </p:val>
                                        </p:tav>
                                        <p:tav tm="100000">
                                          <p:val>
                                            <p:strVal val="#ppt_y"/>
                                          </p:val>
                                        </p:tav>
                                      </p:tavLst>
                                    </p:anim>
                                  </p:childTnLst>
                                </p:cTn>
                              </p:par>
                              <p:par>
                                <p:cTn id="27" presetID="2" presetClass="entr" presetSubtype="1"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fill="hold"/>
                                        <p:tgtEl>
                                          <p:spTgt spid="15"/>
                                        </p:tgtEl>
                                        <p:attrNameLst>
                                          <p:attrName>ppt_x</p:attrName>
                                        </p:attrNameLst>
                                      </p:cBhvr>
                                      <p:tavLst>
                                        <p:tav tm="0">
                                          <p:val>
                                            <p:strVal val="#ppt_x"/>
                                          </p:val>
                                        </p:tav>
                                        <p:tav tm="100000">
                                          <p:val>
                                            <p:strVal val="#ppt_x"/>
                                          </p:val>
                                        </p:tav>
                                      </p:tavLst>
                                    </p:anim>
                                    <p:anim calcmode="lin" valueType="num">
                                      <p:cBhvr additive="base">
                                        <p:cTn id="34"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1000"/>
                                        <p:tgtEl>
                                          <p:spTgt spid="19"/>
                                        </p:tgtEl>
                                      </p:cBhvr>
                                    </p:animEffect>
                                  </p:childTnLst>
                                </p:cTn>
                              </p:par>
                              <p:par>
                                <p:cTn id="40" presetID="10"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1000"/>
                                        <p:tgtEl>
                                          <p:spTgt spid="2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10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1000"/>
                                        <p:tgtEl>
                                          <p:spTgt spid="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1000"/>
                                        <p:tgtEl>
                                          <p:spTgt spid="10"/>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1" fill="hold" nodeType="click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additive="base">
                                        <p:cTn id="63" dur="500" fill="hold"/>
                                        <p:tgtEl>
                                          <p:spTgt spid="24"/>
                                        </p:tgtEl>
                                        <p:attrNameLst>
                                          <p:attrName>ppt_x</p:attrName>
                                        </p:attrNameLst>
                                      </p:cBhvr>
                                      <p:tavLst>
                                        <p:tav tm="0">
                                          <p:val>
                                            <p:strVal val="#ppt_x"/>
                                          </p:val>
                                        </p:tav>
                                        <p:tav tm="100000">
                                          <p:val>
                                            <p:strVal val="#ppt_x"/>
                                          </p:val>
                                        </p:tav>
                                      </p:tavLst>
                                    </p:anim>
                                    <p:anim calcmode="lin" valueType="num">
                                      <p:cBhvr additive="base">
                                        <p:cTn id="64" dur="500" fill="hold"/>
                                        <p:tgtEl>
                                          <p:spTgt spid="2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3" grpId="0" build="p"/>
      <p:bldP spid="15" grpId="0"/>
      <p:bldP spid="17" grpId="0"/>
      <p:bldP spid="21" grpId="0"/>
      <p:bldP spid="9" grpId="0" bldLvl="0" animBg="1"/>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a:t>
            </a:r>
            <a:r>
              <a:rPr lang="zh-CN" altLang="en-US" sz="1800" b="1" dirty="0" smtClean="0">
                <a:solidFill>
                  <a:srgbClr val="000000"/>
                </a:solidFill>
                <a:cs typeface="+mn-ea"/>
                <a:sym typeface="+mn-ea"/>
              </a:rPr>
              <a:t>、套方放线（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2" name="Rectangle 2"/>
          <p:cNvSpPr>
            <a:spLocks noGrp="1"/>
          </p:cNvSpPr>
          <p:nvPr/>
        </p:nvSpPr>
        <p:spPr>
          <a:xfrm>
            <a:off x="2117090" y="2193925"/>
            <a:ext cx="1957070" cy="431165"/>
          </a:xfrm>
          <a:prstGeom prst="rect">
            <a:avLst/>
          </a:prstGeom>
          <a:noFill/>
          <a:ln>
            <a:noFill/>
          </a:ln>
        </p:spPr>
        <p:txBody>
          <a:bodyPr vert="horz" wrap="square" lIns="46494" tIns="46494" rIns="46494" bIns="46494" numCol="1" anchor="t" anchorCtr="0" compatLnSpc="1">
            <a:spAutoFit/>
          </a:bodyPr>
          <a:lst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a:lstStyle>
          <a:p>
            <a:pPr algn="ctr" eaLnBrk="1" hangingPunct="1"/>
            <a:r>
              <a:rPr lang="en-US" altLang="zh-CN" sz="2000" dirty="0">
                <a:ea typeface="黑体" panose="02010609060101010101" pitchFamily="49" charset="-122"/>
              </a:rPr>
              <a:t>各</a:t>
            </a:r>
            <a:r>
              <a:rPr sz="2000" dirty="0">
                <a:ea typeface="黑体" panose="02010609060101010101" pitchFamily="49" charset="-122"/>
              </a:rPr>
              <a:t>种中心控制</a:t>
            </a:r>
            <a:r>
              <a:rPr lang="zh-CN" altLang="en-US" sz="2000" dirty="0">
                <a:ea typeface="黑体" panose="02010609060101010101" pitchFamily="49" charset="-122"/>
              </a:rPr>
              <a:t>线</a:t>
            </a:r>
          </a:p>
        </p:txBody>
      </p:sp>
      <p:sp>
        <p:nvSpPr>
          <p:cNvPr id="25" name="文本框 24"/>
          <p:cNvSpPr txBox="1"/>
          <p:nvPr/>
        </p:nvSpPr>
        <p:spPr>
          <a:xfrm>
            <a:off x="5695315" y="5280660"/>
            <a:ext cx="5434330" cy="585470"/>
          </a:xfrm>
          <a:prstGeom prst="rect">
            <a:avLst/>
          </a:prstGeom>
          <a:noFill/>
          <a:ln w="9525">
            <a:noFill/>
          </a:ln>
        </p:spPr>
        <p:txBody>
          <a:bodyPr wrap="square" rtlCol="0" anchor="t">
            <a:noAutofit/>
          </a:bodyPr>
          <a:lstStyle/>
          <a:p>
            <a:pPr marL="342900" lvl="0" indent="-342900" algn="l" defTabSz="914400">
              <a:spcBef>
                <a:spcPct val="20000"/>
              </a:spcBef>
              <a:buFont typeface="Arial" panose="020B0604020202020204" pitchFamily="34" charset="0"/>
            </a:pPr>
            <a:r>
              <a:rPr lang="zh-CN" altLang="en-US" sz="1400" dirty="0">
                <a:latin typeface="+mn-ea"/>
                <a:cs typeface="+mn-ea"/>
                <a:sym typeface="+mn-ea"/>
              </a:rPr>
              <a:t>作用：定位，控制对称居中</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方法：根据图纸，以轴线结合完成面线推床、龙头、马桶等中心线</a:t>
            </a:r>
          </a:p>
        </p:txBody>
      </p:sp>
      <p:pic>
        <p:nvPicPr>
          <p:cNvPr id="18" name="Picture 22" descr="IMG550"/>
          <p:cNvPicPr>
            <a:picLocks noChangeAspect="1"/>
          </p:cNvPicPr>
          <p:nvPr/>
        </p:nvPicPr>
        <p:blipFill>
          <a:blip r:embed="rId2"/>
          <a:stretch>
            <a:fillRect/>
          </a:stretch>
        </p:blipFill>
        <p:spPr>
          <a:xfrm>
            <a:off x="684530" y="2757805"/>
            <a:ext cx="2331085" cy="310832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30" name="Line 23"/>
          <p:cNvSpPr/>
          <p:nvPr/>
        </p:nvSpPr>
        <p:spPr>
          <a:xfrm>
            <a:off x="1768475" y="2842895"/>
            <a:ext cx="635" cy="2947035"/>
          </a:xfrm>
          <a:prstGeom prst="line">
            <a:avLst/>
          </a:prstGeom>
          <a:ln w="19050" cap="flat" cmpd="sng">
            <a:solidFill>
              <a:srgbClr val="FF0000"/>
            </a:solidFill>
            <a:prstDash val="solid"/>
            <a:round/>
            <a:headEnd type="none" w="med" len="med"/>
            <a:tailEnd type="none" w="med" len="med"/>
          </a:ln>
        </p:spPr>
      </p:sp>
      <p:sp>
        <p:nvSpPr>
          <p:cNvPr id="31" name="Line 24"/>
          <p:cNvSpPr/>
          <p:nvPr/>
        </p:nvSpPr>
        <p:spPr>
          <a:xfrm flipH="1">
            <a:off x="1768475" y="3580130"/>
            <a:ext cx="457200" cy="152400"/>
          </a:xfrm>
          <a:prstGeom prst="line">
            <a:avLst/>
          </a:prstGeom>
          <a:ln w="19050" cap="flat" cmpd="sng">
            <a:solidFill>
              <a:srgbClr val="FF0000"/>
            </a:solidFill>
            <a:prstDash val="solid"/>
            <a:round/>
            <a:headEnd type="none" w="med" len="med"/>
            <a:tailEnd type="triangle" w="med" len="med"/>
          </a:ln>
        </p:spPr>
      </p:sp>
      <p:sp>
        <p:nvSpPr>
          <p:cNvPr id="32" name="Text Box 25"/>
          <p:cNvSpPr txBox="1"/>
          <p:nvPr/>
        </p:nvSpPr>
        <p:spPr>
          <a:xfrm>
            <a:off x="1984375" y="3279775"/>
            <a:ext cx="1011555" cy="337185"/>
          </a:xfrm>
          <a:prstGeom prst="rect">
            <a:avLst/>
          </a:prstGeom>
          <a:noFill/>
          <a:ln w="9525">
            <a:noFill/>
          </a:ln>
        </p:spPr>
        <p:txBody>
          <a:bodyPr wrap="square" anchor="t">
            <a:spAutoFit/>
          </a:bodyPr>
          <a:lstStyle/>
          <a:p>
            <a:pPr>
              <a:spcBef>
                <a:spcPct val="50000"/>
              </a:spcBef>
              <a:buFont typeface="Arial" panose="020B0604020202020204" pitchFamily="34" charset="0"/>
              <a:buNone/>
            </a:pPr>
            <a:r>
              <a:rPr lang="zh-CN" altLang="en-US" sz="1600" b="1" dirty="0">
                <a:solidFill>
                  <a:srgbClr val="FF0000"/>
                </a:solidFill>
                <a:latin typeface="Calibri" panose="020F0502020204030204" charset="0"/>
                <a:ea typeface="宋体" panose="02010600030101010101" pitchFamily="2" charset="-122"/>
              </a:rPr>
              <a:t>床中心线</a:t>
            </a:r>
          </a:p>
        </p:txBody>
      </p:sp>
      <p:pic>
        <p:nvPicPr>
          <p:cNvPr id="33" name="Picture 26" descr="IMG505"/>
          <p:cNvPicPr>
            <a:picLocks noChangeAspect="1"/>
          </p:cNvPicPr>
          <p:nvPr/>
        </p:nvPicPr>
        <p:blipFill>
          <a:blip r:embed="rId3"/>
          <a:stretch>
            <a:fillRect/>
          </a:stretch>
        </p:blipFill>
        <p:spPr>
          <a:xfrm>
            <a:off x="3129280" y="2757805"/>
            <a:ext cx="2331085" cy="310832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34" name="Line 27"/>
          <p:cNvSpPr/>
          <p:nvPr/>
        </p:nvSpPr>
        <p:spPr>
          <a:xfrm>
            <a:off x="4243070" y="2852420"/>
            <a:ext cx="635" cy="3013710"/>
          </a:xfrm>
          <a:prstGeom prst="line">
            <a:avLst/>
          </a:prstGeom>
          <a:ln w="19050" cap="flat" cmpd="sng">
            <a:solidFill>
              <a:srgbClr val="FF0000"/>
            </a:solidFill>
            <a:prstDash val="solid"/>
            <a:round/>
            <a:headEnd type="none" w="med" len="med"/>
            <a:tailEnd type="none" w="med" len="med"/>
          </a:ln>
        </p:spPr>
      </p:sp>
      <p:sp>
        <p:nvSpPr>
          <p:cNvPr id="35" name="Line 28"/>
          <p:cNvSpPr/>
          <p:nvPr/>
        </p:nvSpPr>
        <p:spPr>
          <a:xfrm flipH="1">
            <a:off x="4243070" y="3656330"/>
            <a:ext cx="457200" cy="152400"/>
          </a:xfrm>
          <a:prstGeom prst="line">
            <a:avLst/>
          </a:prstGeom>
          <a:ln w="19050" cap="flat" cmpd="sng">
            <a:solidFill>
              <a:srgbClr val="FF0000"/>
            </a:solidFill>
            <a:prstDash val="solid"/>
            <a:round/>
            <a:headEnd type="none" w="med" len="med"/>
            <a:tailEnd type="triangle" w="med" len="med"/>
          </a:ln>
        </p:spPr>
      </p:sp>
      <p:sp>
        <p:nvSpPr>
          <p:cNvPr id="36" name="Text Box 29"/>
          <p:cNvSpPr txBox="1"/>
          <p:nvPr/>
        </p:nvSpPr>
        <p:spPr>
          <a:xfrm>
            <a:off x="4552315" y="2858135"/>
            <a:ext cx="1143000" cy="829945"/>
          </a:xfrm>
          <a:prstGeom prst="rect">
            <a:avLst/>
          </a:prstGeom>
          <a:noFill/>
          <a:ln w="9525">
            <a:noFill/>
          </a:ln>
        </p:spPr>
        <p:txBody>
          <a:bodyPr anchor="t">
            <a:spAutoFit/>
          </a:bodyPr>
          <a:lstStyle/>
          <a:p>
            <a:pPr lvl="0" algn="l">
              <a:spcBef>
                <a:spcPct val="50000"/>
              </a:spcBef>
              <a:buFont typeface="Arial" panose="020B0604020202020204" pitchFamily="34" charset="0"/>
            </a:pPr>
            <a:r>
              <a:rPr lang="zh-CN" altLang="en-US" sz="1600" b="1" dirty="0">
                <a:solidFill>
                  <a:srgbClr val="FF0000"/>
                </a:solidFill>
                <a:latin typeface="Calibri" panose="020F0502020204030204" charset="0"/>
                <a:ea typeface="宋体" panose="02010600030101010101" pitchFamily="2" charset="-122"/>
                <a:sym typeface="+mn-ea"/>
              </a:rPr>
              <a:t>混合龙头中心线，高度1000</a:t>
            </a: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7" presetClass="entr" presetSubtype="0" fill="hold" grpId="0" nodeType="click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1000"/>
                                        <p:tgtEl>
                                          <p:spTgt spid="32"/>
                                        </p:tgtEl>
                                      </p:cBhvr>
                                    </p:animEffect>
                                    <p:anim calcmode="lin" valueType="num">
                                      <p:cBhvr>
                                        <p:cTn id="14" dur="1000" fill="hold"/>
                                        <p:tgtEl>
                                          <p:spTgt spid="32"/>
                                        </p:tgtEl>
                                        <p:attrNameLst>
                                          <p:attrName>ppt_x</p:attrName>
                                        </p:attrNameLst>
                                      </p:cBhvr>
                                      <p:tavLst>
                                        <p:tav tm="0">
                                          <p:val>
                                            <p:strVal val="#ppt_x"/>
                                          </p:val>
                                        </p:tav>
                                        <p:tav tm="100000">
                                          <p:val>
                                            <p:strVal val="#ppt_x"/>
                                          </p:val>
                                        </p:tav>
                                      </p:tavLst>
                                    </p:anim>
                                    <p:anim calcmode="lin" valueType="num">
                                      <p:cBhvr>
                                        <p:cTn id="15" dur="900" decel="100000" fill="hold"/>
                                        <p:tgtEl>
                                          <p:spTgt spid="32"/>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32"/>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1000"/>
                                        <p:tgtEl>
                                          <p:spTgt spid="31"/>
                                        </p:tgtEl>
                                      </p:cBhvr>
                                    </p:animEffect>
                                    <p:anim calcmode="lin" valueType="num">
                                      <p:cBhvr>
                                        <p:cTn id="20" dur="1000" fill="hold"/>
                                        <p:tgtEl>
                                          <p:spTgt spid="31"/>
                                        </p:tgtEl>
                                        <p:attrNameLst>
                                          <p:attrName>ppt_x</p:attrName>
                                        </p:attrNameLst>
                                      </p:cBhvr>
                                      <p:tavLst>
                                        <p:tav tm="0">
                                          <p:val>
                                            <p:strVal val="#ppt_x"/>
                                          </p:val>
                                        </p:tav>
                                        <p:tav tm="100000">
                                          <p:val>
                                            <p:strVal val="#ppt_x"/>
                                          </p:val>
                                        </p:tav>
                                      </p:tavLst>
                                    </p:anim>
                                    <p:anim calcmode="lin" valueType="num">
                                      <p:cBhvr>
                                        <p:cTn id="21" dur="900" decel="100000" fill="hold"/>
                                        <p:tgtEl>
                                          <p:spTgt spid="31"/>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31"/>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900" decel="100000" fill="hold"/>
                                        <p:tgtEl>
                                          <p:spTgt spid="30"/>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30"/>
                                        </p:tgtEl>
                                        <p:attrNameLst>
                                          <p:attrName>ppt_y</p:attrName>
                                        </p:attrNameLst>
                                      </p:cBhvr>
                                      <p:tavLst>
                                        <p:tav tm="0">
                                          <p:val>
                                            <p:strVal val="#ppt_y-.03"/>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33"/>
                                        </p:tgtEl>
                                        <p:attrNameLst>
                                          <p:attrName>style.visibility</p:attrName>
                                        </p:attrNameLst>
                                      </p:cBhvr>
                                      <p:to>
                                        <p:strVal val="visible"/>
                                      </p:to>
                                    </p:set>
                                    <p:anim calcmode="lin" valueType="num">
                                      <p:cBhvr additive="base">
                                        <p:cTn id="33" dur="500" fill="hold"/>
                                        <p:tgtEl>
                                          <p:spTgt spid="33"/>
                                        </p:tgtEl>
                                        <p:attrNameLst>
                                          <p:attrName>ppt_x</p:attrName>
                                        </p:attrNameLst>
                                      </p:cBhvr>
                                      <p:tavLst>
                                        <p:tav tm="0">
                                          <p:val>
                                            <p:strVal val="#ppt_x"/>
                                          </p:val>
                                        </p:tav>
                                        <p:tav tm="100000">
                                          <p:val>
                                            <p:strVal val="#ppt_x"/>
                                          </p:val>
                                        </p:tav>
                                      </p:tavLst>
                                    </p:anim>
                                    <p:anim calcmode="lin" valueType="num">
                                      <p:cBhvr additive="base">
                                        <p:cTn id="3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37" presetClass="entr" presetSubtype="0" fill="hold" nodeType="click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1000"/>
                                        <p:tgtEl>
                                          <p:spTgt spid="34"/>
                                        </p:tgtEl>
                                      </p:cBhvr>
                                    </p:animEffect>
                                    <p:anim calcmode="lin" valueType="num">
                                      <p:cBhvr>
                                        <p:cTn id="40" dur="1000" fill="hold"/>
                                        <p:tgtEl>
                                          <p:spTgt spid="34"/>
                                        </p:tgtEl>
                                        <p:attrNameLst>
                                          <p:attrName>ppt_x</p:attrName>
                                        </p:attrNameLst>
                                      </p:cBhvr>
                                      <p:tavLst>
                                        <p:tav tm="0">
                                          <p:val>
                                            <p:strVal val="#ppt_x"/>
                                          </p:val>
                                        </p:tav>
                                        <p:tav tm="100000">
                                          <p:val>
                                            <p:strVal val="#ppt_x"/>
                                          </p:val>
                                        </p:tav>
                                      </p:tavLst>
                                    </p:anim>
                                    <p:anim calcmode="lin" valueType="num">
                                      <p:cBhvr>
                                        <p:cTn id="41" dur="900" decel="100000" fill="hold"/>
                                        <p:tgtEl>
                                          <p:spTgt spid="34"/>
                                        </p:tgtEl>
                                        <p:attrNameLst>
                                          <p:attrName>ppt_y</p:attrName>
                                        </p:attrNameLst>
                                      </p:cBhvr>
                                      <p:tavLst>
                                        <p:tav tm="0">
                                          <p:val>
                                            <p:strVal val="#ppt_y+1"/>
                                          </p:val>
                                        </p:tav>
                                        <p:tav tm="100000">
                                          <p:val>
                                            <p:strVal val="#ppt_y-.03"/>
                                          </p:val>
                                        </p:tav>
                                      </p:tavLst>
                                    </p:anim>
                                    <p:anim calcmode="lin" valueType="num">
                                      <p:cBhvr>
                                        <p:cTn id="42" dur="100" accel="100000" fill="hold">
                                          <p:stCondLst>
                                            <p:cond delay="900"/>
                                          </p:stCondLst>
                                        </p:cTn>
                                        <p:tgtEl>
                                          <p:spTgt spid="34"/>
                                        </p:tgtEl>
                                        <p:attrNameLst>
                                          <p:attrName>ppt_y</p:attrName>
                                        </p:attrNameLst>
                                      </p:cBhvr>
                                      <p:tavLst>
                                        <p:tav tm="0">
                                          <p:val>
                                            <p:strVal val="#ppt_y-.03"/>
                                          </p:val>
                                        </p:tav>
                                        <p:tav tm="100000">
                                          <p:val>
                                            <p:strVal val="#ppt_y"/>
                                          </p:val>
                                        </p:tav>
                                      </p:tavLst>
                                    </p:anim>
                                  </p:childTnLst>
                                </p:cTn>
                              </p:par>
                              <p:par>
                                <p:cTn id="43" presetID="37" presetClass="entr" presetSubtype="0" fill="hold"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1000"/>
                                        <p:tgtEl>
                                          <p:spTgt spid="35"/>
                                        </p:tgtEl>
                                      </p:cBhvr>
                                    </p:animEffect>
                                    <p:anim calcmode="lin" valueType="num">
                                      <p:cBhvr>
                                        <p:cTn id="46" dur="1000" fill="hold"/>
                                        <p:tgtEl>
                                          <p:spTgt spid="35"/>
                                        </p:tgtEl>
                                        <p:attrNameLst>
                                          <p:attrName>ppt_x</p:attrName>
                                        </p:attrNameLst>
                                      </p:cBhvr>
                                      <p:tavLst>
                                        <p:tav tm="0">
                                          <p:val>
                                            <p:strVal val="#ppt_x"/>
                                          </p:val>
                                        </p:tav>
                                        <p:tav tm="100000">
                                          <p:val>
                                            <p:strVal val="#ppt_x"/>
                                          </p:val>
                                        </p:tav>
                                      </p:tavLst>
                                    </p:anim>
                                    <p:anim calcmode="lin" valueType="num">
                                      <p:cBhvr>
                                        <p:cTn id="47" dur="900" decel="100000" fill="hold"/>
                                        <p:tgtEl>
                                          <p:spTgt spid="35"/>
                                        </p:tgtEl>
                                        <p:attrNameLst>
                                          <p:attrName>ppt_y</p:attrName>
                                        </p:attrNameLst>
                                      </p:cBhvr>
                                      <p:tavLst>
                                        <p:tav tm="0">
                                          <p:val>
                                            <p:strVal val="#ppt_y+1"/>
                                          </p:val>
                                        </p:tav>
                                        <p:tav tm="100000">
                                          <p:val>
                                            <p:strVal val="#ppt_y-.03"/>
                                          </p:val>
                                        </p:tav>
                                      </p:tavLst>
                                    </p:anim>
                                    <p:anim calcmode="lin" valueType="num">
                                      <p:cBhvr>
                                        <p:cTn id="48" dur="100" accel="100000" fill="hold">
                                          <p:stCondLst>
                                            <p:cond delay="900"/>
                                          </p:stCondLst>
                                        </p:cTn>
                                        <p:tgtEl>
                                          <p:spTgt spid="35"/>
                                        </p:tgtEl>
                                        <p:attrNameLst>
                                          <p:attrName>ppt_y</p:attrName>
                                        </p:attrNameLst>
                                      </p:cBhvr>
                                      <p:tavLst>
                                        <p:tav tm="0">
                                          <p:val>
                                            <p:strVal val="#ppt_y-.03"/>
                                          </p:val>
                                        </p:tav>
                                        <p:tav tm="100000">
                                          <p:val>
                                            <p:strVal val="#ppt_y"/>
                                          </p:val>
                                        </p:tav>
                                      </p:tavLst>
                                    </p:anim>
                                  </p:childTnLst>
                                </p:cTn>
                              </p:par>
                              <p:par>
                                <p:cTn id="49" presetID="37"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1000"/>
                                        <p:tgtEl>
                                          <p:spTgt spid="36"/>
                                        </p:tgtEl>
                                      </p:cBhvr>
                                    </p:animEffect>
                                    <p:anim calcmode="lin" valueType="num">
                                      <p:cBhvr>
                                        <p:cTn id="52" dur="1000" fill="hold"/>
                                        <p:tgtEl>
                                          <p:spTgt spid="36"/>
                                        </p:tgtEl>
                                        <p:attrNameLst>
                                          <p:attrName>ppt_x</p:attrName>
                                        </p:attrNameLst>
                                      </p:cBhvr>
                                      <p:tavLst>
                                        <p:tav tm="0">
                                          <p:val>
                                            <p:strVal val="#ppt_x"/>
                                          </p:val>
                                        </p:tav>
                                        <p:tav tm="100000">
                                          <p:val>
                                            <p:strVal val="#ppt_x"/>
                                          </p:val>
                                        </p:tav>
                                      </p:tavLst>
                                    </p:anim>
                                    <p:anim calcmode="lin" valueType="num">
                                      <p:cBhvr>
                                        <p:cTn id="53" dur="900" decel="100000" fill="hold"/>
                                        <p:tgtEl>
                                          <p:spTgt spid="36"/>
                                        </p:tgtEl>
                                        <p:attrNameLst>
                                          <p:attrName>ppt_y</p:attrName>
                                        </p:attrNameLst>
                                      </p:cBhvr>
                                      <p:tavLst>
                                        <p:tav tm="0">
                                          <p:val>
                                            <p:strVal val="#ppt_y+1"/>
                                          </p:val>
                                        </p:tav>
                                        <p:tav tm="100000">
                                          <p:val>
                                            <p:strVal val="#ppt_y-.03"/>
                                          </p:val>
                                        </p:tav>
                                      </p:tavLst>
                                    </p:anim>
                                    <p:anim calcmode="lin" valueType="num">
                                      <p:cBhvr>
                                        <p:cTn id="54" dur="100" accel="100000" fill="hold">
                                          <p:stCondLst>
                                            <p:cond delay="900"/>
                                          </p:stCondLst>
                                        </p:cTn>
                                        <p:tgtEl>
                                          <p:spTgt spid="3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6"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a:t>
            </a:r>
            <a:r>
              <a:rPr lang="zh-CN" altLang="en-US" sz="1800" b="1" dirty="0" smtClean="0">
                <a:solidFill>
                  <a:srgbClr val="000000"/>
                </a:solidFill>
                <a:cs typeface="+mn-ea"/>
                <a:sym typeface="+mn-ea"/>
              </a:rPr>
              <a:t>、套方放线（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61442" name="Rectangle 2"/>
          <p:cNvSpPr>
            <a:spLocks noGrp="1"/>
          </p:cNvSpPr>
          <p:nvPr>
            <p:ph type="title"/>
          </p:nvPr>
        </p:nvSpPr>
        <p:spPr>
          <a:xfrm>
            <a:off x="2160588" y="1658620"/>
            <a:ext cx="934720" cy="431165"/>
          </a:xfrm>
          <a:noFill/>
          <a:ln>
            <a:noFill/>
          </a:ln>
        </p:spPr>
        <p:txBody>
          <a:bodyPr wrap="square" anchor="t"/>
          <a:lstStyle/>
          <a:p>
            <a:pPr algn="ctr" eaLnBrk="1" hangingPunct="1"/>
            <a:r>
              <a:rPr lang="zh-CN" altLang="en-US" sz="2000" dirty="0">
                <a:ea typeface="黑体" panose="02010609060101010101" pitchFamily="49" charset="-122"/>
              </a:rPr>
              <a:t>排版线</a:t>
            </a:r>
          </a:p>
        </p:txBody>
      </p:sp>
      <p:sp>
        <p:nvSpPr>
          <p:cNvPr id="61443" name="Rectangle 3"/>
          <p:cNvSpPr txBox="1"/>
          <p:nvPr/>
        </p:nvSpPr>
        <p:spPr>
          <a:xfrm>
            <a:off x="689610" y="5685155"/>
            <a:ext cx="8618855" cy="572770"/>
          </a:xfrm>
          <a:prstGeom prst="rect">
            <a:avLst/>
          </a:prstGeom>
          <a:noFill/>
          <a:ln w="9525">
            <a:noFill/>
          </a:ln>
        </p:spPr>
        <p:txBody>
          <a:bodyPr wrap="square" rtlCol="0" anchor="t">
            <a:noAutofit/>
          </a:bodyPr>
          <a:lstStyle/>
          <a:p>
            <a:pPr marL="342900" lvl="0" indent="-342900" algn="l" defTabSz="914400">
              <a:spcBef>
                <a:spcPct val="20000"/>
              </a:spcBef>
              <a:buFont typeface="Arial" panose="020B0604020202020204" pitchFamily="34" charset="0"/>
            </a:pPr>
            <a:r>
              <a:rPr lang="zh-CN" altLang="en-US" sz="1400" dirty="0">
                <a:latin typeface="+mn-ea"/>
                <a:cs typeface="+mn-ea"/>
                <a:sym typeface="+mn-ea"/>
              </a:rPr>
              <a:t>作用：排版现场可见，一目了然，便于安装施工</a:t>
            </a:r>
          </a:p>
          <a:p>
            <a:pPr marL="342900" lvl="0" indent="-342900" algn="l" defTabSz="914400">
              <a:spcBef>
                <a:spcPct val="20000"/>
              </a:spcBef>
              <a:buFont typeface="Arial" panose="020B0604020202020204" pitchFamily="34" charset="0"/>
            </a:pPr>
            <a:r>
              <a:rPr lang="zh-CN" altLang="en-US" sz="1400" dirty="0">
                <a:latin typeface="+mn-ea"/>
                <a:cs typeface="+mn-ea"/>
                <a:sym typeface="+mn-ea"/>
              </a:rPr>
              <a:t>方法：针对石材、砖、软包、硬包等进行模数排版，在现场实地放线</a:t>
            </a:r>
          </a:p>
        </p:txBody>
      </p:sp>
      <p:pic>
        <p:nvPicPr>
          <p:cNvPr id="6" name="Picture 2" descr="IMG555"/>
          <p:cNvPicPr>
            <a:picLocks noChangeAspect="1"/>
          </p:cNvPicPr>
          <p:nvPr/>
        </p:nvPicPr>
        <p:blipFill>
          <a:blip r:embed="rId2"/>
          <a:stretch>
            <a:fillRect/>
          </a:stretch>
        </p:blipFill>
        <p:spPr>
          <a:xfrm>
            <a:off x="924560" y="2411095"/>
            <a:ext cx="3408045" cy="255651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pic>
        <p:nvPicPr>
          <p:cNvPr id="80898" name="图片 2"/>
          <p:cNvPicPr>
            <a:picLocks noChangeAspect="1"/>
          </p:cNvPicPr>
          <p:nvPr/>
        </p:nvPicPr>
        <p:blipFill>
          <a:blip r:embed="rId3"/>
          <a:srcRect/>
          <a:stretch>
            <a:fillRect/>
          </a:stretch>
        </p:blipFill>
        <p:spPr>
          <a:xfrm>
            <a:off x="4638040" y="2424430"/>
            <a:ext cx="2984500" cy="254317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80899" name="图片 4"/>
          <p:cNvPicPr>
            <a:picLocks noChangeAspect="1"/>
          </p:cNvPicPr>
          <p:nvPr/>
        </p:nvPicPr>
        <p:blipFill>
          <a:blip r:embed="rId4"/>
          <a:stretch>
            <a:fillRect/>
          </a:stretch>
        </p:blipFill>
        <p:spPr>
          <a:xfrm>
            <a:off x="7733665" y="2424430"/>
            <a:ext cx="3850005" cy="2543810"/>
          </a:xfrm>
          <a:prstGeom prst="rect">
            <a:avLst/>
          </a:prstGeom>
          <a:noFill/>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249657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1、</a:t>
            </a:r>
            <a:r>
              <a:rPr lang="zh-CN" altLang="en-US" sz="1800" b="1" dirty="0">
                <a:solidFill>
                  <a:srgbClr val="000000"/>
                </a:solidFill>
                <a:cs typeface="+mn-ea"/>
                <a:sym typeface="+mn-ea"/>
              </a:rPr>
              <a:t>结构</a:t>
            </a:r>
            <a:r>
              <a:rPr lang="en-US" altLang="zh-CN" sz="1800" b="1" dirty="0">
                <a:solidFill>
                  <a:srgbClr val="000000"/>
                </a:solidFill>
                <a:cs typeface="+mn-ea"/>
                <a:sym typeface="+mn-ea"/>
              </a:rPr>
              <a:t>规划</a:t>
            </a:r>
          </a:p>
        </p:txBody>
      </p:sp>
      <p:sp>
        <p:nvSpPr>
          <p:cNvPr id="6" name="文本框 5"/>
          <p:cNvSpPr txBox="1"/>
          <p:nvPr/>
        </p:nvSpPr>
        <p:spPr>
          <a:xfrm>
            <a:off x="684287" y="3004403"/>
            <a:ext cx="10945216" cy="304609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latin typeface="+mn-ea"/>
                <a:cs typeface="+mn-ea"/>
              </a:rPr>
              <a:t>工作内容：</a:t>
            </a:r>
            <a:endParaRPr lang="en-US" altLang="zh-CN" sz="1600" b="1" dirty="0" smtClean="0">
              <a:solidFill>
                <a:srgbClr val="000000"/>
              </a:solidFill>
              <a:latin typeface="+mn-ea"/>
              <a:cs typeface="+mn-ea"/>
            </a:endParaRPr>
          </a:p>
          <a:p>
            <a:pPr>
              <a:lnSpc>
                <a:spcPct val="150000"/>
              </a:lnSpc>
            </a:pPr>
            <a:r>
              <a:rPr lang="zh-CN" altLang="en-US" sz="1600" dirty="0" smtClean="0">
                <a:solidFill>
                  <a:srgbClr val="000000"/>
                </a:solidFill>
                <a:latin typeface="+mn-ea"/>
                <a:cs typeface="+mn-ea"/>
              </a:rPr>
              <a:t>审核户型规划扩初图纸：</a:t>
            </a:r>
            <a:endParaRPr lang="en-US" altLang="zh-CN" sz="1600" dirty="0" smtClean="0">
              <a:solidFill>
                <a:srgbClr val="000000"/>
              </a:solidFill>
              <a:latin typeface="+mn-ea"/>
              <a:cs typeface="+mn-ea"/>
            </a:endParaRPr>
          </a:p>
          <a:p>
            <a:pPr>
              <a:lnSpc>
                <a:spcPct val="150000"/>
              </a:lnSpc>
            </a:pPr>
            <a:r>
              <a:rPr lang="en-US" altLang="zh-CN" sz="1600" dirty="0" smtClean="0">
                <a:solidFill>
                  <a:srgbClr val="000000"/>
                </a:solidFill>
                <a:latin typeface="+mn-ea"/>
                <a:cs typeface="+mn-ea"/>
              </a:rPr>
              <a:t>1</a:t>
            </a:r>
            <a:r>
              <a:rPr lang="zh-CN" altLang="en-US" sz="1600" dirty="0" smtClean="0">
                <a:solidFill>
                  <a:srgbClr val="000000"/>
                </a:solidFill>
                <a:latin typeface="+mn-ea"/>
                <a:cs typeface="+mn-ea"/>
              </a:rPr>
              <a:t>、审核户型功能规划布局在实际使用上是否合理。</a:t>
            </a:r>
            <a:endParaRPr lang="en-US" altLang="zh-CN" sz="1600" dirty="0" smtClean="0">
              <a:solidFill>
                <a:srgbClr val="000000"/>
              </a:solidFill>
              <a:latin typeface="+mn-ea"/>
              <a:cs typeface="+mn-ea"/>
            </a:endParaRPr>
          </a:p>
          <a:p>
            <a:pPr>
              <a:lnSpc>
                <a:spcPct val="150000"/>
              </a:lnSpc>
            </a:pPr>
            <a:r>
              <a:rPr lang="en-US" altLang="zh-CN" sz="1600" dirty="0" smtClean="0">
                <a:solidFill>
                  <a:srgbClr val="000000"/>
                </a:solidFill>
                <a:latin typeface="+mn-ea"/>
                <a:cs typeface="+mn-ea"/>
              </a:rPr>
              <a:t>2</a:t>
            </a:r>
            <a:r>
              <a:rPr lang="zh-CN" altLang="en-US" sz="1600" dirty="0" smtClean="0">
                <a:solidFill>
                  <a:srgbClr val="000000"/>
                </a:solidFill>
                <a:latin typeface="+mn-ea"/>
                <a:cs typeface="+mn-ea"/>
              </a:rPr>
              <a:t>、审核建筑门窗是否存在功能缺陷，如有做出标记，以备后期与营销部做交底，销售过程出现信息不交圈，</a:t>
            </a:r>
            <a:r>
              <a:rPr lang="zh-CN" altLang="en-US" sz="1600" dirty="0" smtClean="0">
                <a:solidFill>
                  <a:srgbClr val="000000"/>
                </a:solidFill>
                <a:latin typeface="+mn-ea"/>
                <a:cs typeface="+mn-ea"/>
                <a:sym typeface="+mn-ea"/>
              </a:rPr>
              <a:t>规避销售后客户投诉风险。</a:t>
            </a:r>
            <a:endParaRPr lang="en-US" altLang="zh-CN" sz="1600" dirty="0" smtClean="0">
              <a:solidFill>
                <a:srgbClr val="000000"/>
              </a:solidFill>
              <a:latin typeface="+mn-ea"/>
              <a:cs typeface="+mn-ea"/>
            </a:endParaRPr>
          </a:p>
          <a:p>
            <a:pPr>
              <a:lnSpc>
                <a:spcPct val="150000"/>
              </a:lnSpc>
            </a:pPr>
            <a:r>
              <a:rPr lang="zh-CN" altLang="en-US" sz="1600" b="1" dirty="0" smtClean="0">
                <a:solidFill>
                  <a:srgbClr val="000000"/>
                </a:solidFill>
                <a:latin typeface="+mn-ea"/>
                <a:cs typeface="+mn-ea"/>
              </a:rPr>
              <a:t>工作目的：</a:t>
            </a:r>
            <a:endParaRPr lang="en-US" altLang="zh-CN" sz="1600" b="1" dirty="0">
              <a:solidFill>
                <a:srgbClr val="000000"/>
              </a:solidFill>
              <a:latin typeface="+mn-ea"/>
              <a:cs typeface="+mn-ea"/>
            </a:endParaRPr>
          </a:p>
          <a:p>
            <a:pPr>
              <a:lnSpc>
                <a:spcPct val="150000"/>
              </a:lnSpc>
            </a:pPr>
            <a:r>
              <a:rPr lang="zh-CN" altLang="en-US" sz="1600" dirty="0" smtClean="0">
                <a:solidFill>
                  <a:srgbClr val="000000"/>
                </a:solidFill>
                <a:latin typeface="+mn-ea"/>
                <a:cs typeface="+mn-ea"/>
              </a:rPr>
              <a:t>避免精装过程中的结构拆改，降低不必要的成本浪费，规避交付风险。</a:t>
            </a:r>
            <a:endParaRPr lang="en-US" altLang="zh-CN" sz="1600" dirty="0" smtClean="0">
              <a:solidFill>
                <a:srgbClr val="000000"/>
              </a:solidFill>
              <a:latin typeface="+mn-ea"/>
              <a:cs typeface="+mn-ea"/>
            </a:endParaRPr>
          </a:p>
          <a:p>
            <a:pPr>
              <a:lnSpc>
                <a:spcPct val="150000"/>
              </a:lnSpc>
            </a:pPr>
            <a:endParaRPr lang="en-US" altLang="zh-CN" sz="16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a:t>
            </a:r>
            <a:r>
              <a:rPr lang="zh-CN" altLang="en-US" sz="1800" b="1" dirty="0" smtClean="0">
                <a:solidFill>
                  <a:srgbClr val="000000"/>
                </a:solidFill>
                <a:cs typeface="+mn-ea"/>
                <a:sym typeface="+mn-ea"/>
              </a:rPr>
              <a:t>、套方放线（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61443" name="Rectangle 3"/>
          <p:cNvSpPr txBox="1"/>
          <p:nvPr/>
        </p:nvSpPr>
        <p:spPr>
          <a:xfrm>
            <a:off x="689610" y="5828665"/>
            <a:ext cx="9827895" cy="799465"/>
          </a:xfrm>
          <a:prstGeom prst="rect">
            <a:avLst/>
          </a:prstGeom>
          <a:noFill/>
          <a:ln w="9525">
            <a:noFill/>
          </a:ln>
        </p:spPr>
        <p:txBody>
          <a:bodyPr wrap="square" rtlCol="0" anchor="t">
            <a:noAutofit/>
          </a:bodyPr>
          <a:lstStyle/>
          <a:p>
            <a:pPr marL="342900" indent="-342900" defTabSz="914400">
              <a:spcBef>
                <a:spcPct val="20000"/>
              </a:spcBef>
              <a:buFont typeface="Arial" panose="020B0604020202020204" pitchFamily="34" charset="0"/>
              <a:buNone/>
            </a:pPr>
            <a:r>
              <a:rPr lang="zh-CN" altLang="en-US" sz="1400" dirty="0">
                <a:latin typeface="+mn-ea"/>
                <a:cs typeface="+mn-ea"/>
                <a:sym typeface="+mn-ea"/>
              </a:rPr>
              <a:t>作用：控制各面层材料的完成面进出、尺寸大小</a:t>
            </a:r>
            <a:endParaRPr lang="zh-CN" altLang="en-US" sz="1400" dirty="0">
              <a:latin typeface="+mn-ea"/>
              <a:cs typeface="+mn-ea"/>
            </a:endParaRPr>
          </a:p>
          <a:p>
            <a:pPr marL="342900" indent="-342900" defTabSz="914400">
              <a:spcBef>
                <a:spcPct val="20000"/>
              </a:spcBef>
              <a:buFont typeface="Arial" panose="020B0604020202020204" pitchFamily="34" charset="0"/>
              <a:buNone/>
            </a:pPr>
            <a:r>
              <a:rPr lang="zh-CN" altLang="en-US" sz="1400" dirty="0">
                <a:latin typeface="+mn-ea"/>
                <a:cs typeface="+mn-ea"/>
                <a:sym typeface="+mn-ea"/>
              </a:rPr>
              <a:t>方法：根据施工图纸，结合现场，以房间内轴线为基准，控制造型统一尺寸，形成模数化，方便批量加工        </a:t>
            </a:r>
          </a:p>
        </p:txBody>
      </p:sp>
      <p:sp>
        <p:nvSpPr>
          <p:cNvPr id="22" name="Rectangle 2"/>
          <p:cNvSpPr>
            <a:spLocks noGrp="1"/>
          </p:cNvSpPr>
          <p:nvPr/>
        </p:nvSpPr>
        <p:spPr>
          <a:xfrm>
            <a:off x="7061835" y="1371600"/>
            <a:ext cx="1957070" cy="431165"/>
          </a:xfrm>
          <a:prstGeom prst="rect">
            <a:avLst/>
          </a:prstGeom>
          <a:noFill/>
          <a:ln>
            <a:noFill/>
          </a:ln>
        </p:spPr>
        <p:txBody>
          <a:bodyPr vert="horz" wrap="square" lIns="46494" tIns="46494" rIns="46494" bIns="46494" numCol="1" anchor="t" anchorCtr="0" compatLnSpc="1">
            <a:spAutoFit/>
          </a:bodyPr>
          <a:lst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a:lstStyle>
          <a:p>
            <a:pPr algn="ctr" eaLnBrk="1" hangingPunct="1"/>
            <a:r>
              <a:rPr lang="en-US" altLang="zh-CN" sz="2000" dirty="0">
                <a:ea typeface="黑体" panose="02010609060101010101" pitchFamily="49" charset="-122"/>
              </a:rPr>
              <a:t>装</a:t>
            </a:r>
            <a:r>
              <a:rPr sz="2000" dirty="0">
                <a:ea typeface="黑体" panose="02010609060101010101" pitchFamily="49" charset="-122"/>
              </a:rPr>
              <a:t>饰面完成线</a:t>
            </a: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pic>
        <p:nvPicPr>
          <p:cNvPr id="5" name="Picture 21" descr="IMG566"/>
          <p:cNvPicPr>
            <a:picLocks noChangeAspect="1"/>
          </p:cNvPicPr>
          <p:nvPr/>
        </p:nvPicPr>
        <p:blipFill>
          <a:blip r:embed="rId2"/>
          <a:stretch>
            <a:fillRect/>
          </a:stretch>
        </p:blipFill>
        <p:spPr>
          <a:xfrm>
            <a:off x="5563553" y="1935163"/>
            <a:ext cx="4953000" cy="371475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2" name="Line 9"/>
          <p:cNvSpPr/>
          <p:nvPr/>
        </p:nvSpPr>
        <p:spPr>
          <a:xfrm>
            <a:off x="9144953" y="3897313"/>
            <a:ext cx="76200" cy="533400"/>
          </a:xfrm>
          <a:prstGeom prst="line">
            <a:avLst/>
          </a:prstGeom>
          <a:ln w="19050" cap="flat" cmpd="sng">
            <a:solidFill>
              <a:srgbClr val="FF0000"/>
            </a:solidFill>
            <a:prstDash val="solid"/>
            <a:round/>
            <a:headEnd type="none" w="med" len="med"/>
            <a:tailEnd type="none" w="med" len="med"/>
          </a:ln>
        </p:spPr>
      </p:sp>
      <p:sp>
        <p:nvSpPr>
          <p:cNvPr id="13" name="Line 10"/>
          <p:cNvSpPr/>
          <p:nvPr/>
        </p:nvSpPr>
        <p:spPr>
          <a:xfrm>
            <a:off x="6477953" y="4430713"/>
            <a:ext cx="2743200" cy="0"/>
          </a:xfrm>
          <a:prstGeom prst="line">
            <a:avLst/>
          </a:prstGeom>
          <a:ln w="19050" cap="flat" cmpd="sng">
            <a:solidFill>
              <a:srgbClr val="FF0000"/>
            </a:solidFill>
            <a:prstDash val="solid"/>
            <a:round/>
            <a:headEnd type="none" w="med" len="med"/>
            <a:tailEnd type="none" w="med" len="med"/>
          </a:ln>
        </p:spPr>
      </p:sp>
      <p:sp>
        <p:nvSpPr>
          <p:cNvPr id="14" name="Line 13"/>
          <p:cNvSpPr/>
          <p:nvPr/>
        </p:nvSpPr>
        <p:spPr>
          <a:xfrm flipH="1" flipV="1">
            <a:off x="8001953" y="4430713"/>
            <a:ext cx="685800" cy="381000"/>
          </a:xfrm>
          <a:prstGeom prst="line">
            <a:avLst/>
          </a:prstGeom>
          <a:ln w="19050" cap="flat" cmpd="sng">
            <a:solidFill>
              <a:srgbClr val="FF0000"/>
            </a:solidFill>
            <a:prstDash val="solid"/>
            <a:round/>
            <a:headEnd type="none" w="med" len="med"/>
            <a:tailEnd type="triangle" w="med" len="med"/>
          </a:ln>
        </p:spPr>
      </p:sp>
      <p:sp>
        <p:nvSpPr>
          <p:cNvPr id="15" name="Text Box 14"/>
          <p:cNvSpPr txBox="1"/>
          <p:nvPr/>
        </p:nvSpPr>
        <p:spPr>
          <a:xfrm>
            <a:off x="8611553" y="4597400"/>
            <a:ext cx="1219200" cy="369888"/>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完成面线</a:t>
            </a:r>
          </a:p>
        </p:txBody>
      </p:sp>
      <p:sp>
        <p:nvSpPr>
          <p:cNvPr id="16" name="Line 22"/>
          <p:cNvSpPr/>
          <p:nvPr/>
        </p:nvSpPr>
        <p:spPr>
          <a:xfrm>
            <a:off x="9144953" y="3897313"/>
            <a:ext cx="1371600" cy="0"/>
          </a:xfrm>
          <a:prstGeom prst="line">
            <a:avLst/>
          </a:prstGeom>
          <a:ln w="19050" cap="flat" cmpd="sng">
            <a:solidFill>
              <a:srgbClr val="FF0000"/>
            </a:solidFill>
            <a:prstDash val="solid"/>
            <a:round/>
            <a:headEnd type="none" w="med" len="med"/>
            <a:tailEnd type="none" w="med" len="med"/>
          </a:ln>
        </p:spPr>
      </p:sp>
      <p:sp>
        <p:nvSpPr>
          <p:cNvPr id="17" name="Line 23"/>
          <p:cNvSpPr/>
          <p:nvPr/>
        </p:nvSpPr>
        <p:spPr>
          <a:xfrm flipH="1">
            <a:off x="6477953" y="3592513"/>
            <a:ext cx="152400" cy="838200"/>
          </a:xfrm>
          <a:prstGeom prst="line">
            <a:avLst/>
          </a:prstGeom>
          <a:ln w="19050" cap="flat" cmpd="sng">
            <a:solidFill>
              <a:srgbClr val="FF0000"/>
            </a:solidFill>
            <a:prstDash val="solid"/>
            <a:round/>
            <a:headEnd type="none" w="med" len="med"/>
            <a:tailEnd type="none" w="med" len="med"/>
          </a:ln>
        </p:spPr>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10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1000"/>
                                        <p:tgtEl>
                                          <p:spTgt spid="12"/>
                                        </p:tgtEl>
                                      </p:cBhvr>
                                    </p:animEffect>
                                  </p:childTnLst>
                                </p:cTn>
                              </p:par>
                              <p:par>
                                <p:cTn id="19" presetID="10"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1000"/>
                                        <p:tgtEl>
                                          <p:spTgt spid="15"/>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3" grpId="0" build="p"/>
      <p:bldP spid="15"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a:t>
            </a:r>
            <a:r>
              <a:rPr lang="zh-CN" altLang="en-US" sz="1800" b="1" dirty="0" smtClean="0">
                <a:solidFill>
                  <a:srgbClr val="000000"/>
                </a:solidFill>
                <a:cs typeface="+mn-ea"/>
                <a:sym typeface="+mn-ea"/>
              </a:rPr>
              <a:t>、套方放线（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61443" name="Rectangle 3"/>
          <p:cNvSpPr txBox="1"/>
          <p:nvPr/>
        </p:nvSpPr>
        <p:spPr>
          <a:xfrm>
            <a:off x="689610" y="5828665"/>
            <a:ext cx="9827895" cy="563880"/>
          </a:xfrm>
          <a:prstGeom prst="rect">
            <a:avLst/>
          </a:prstGeom>
          <a:noFill/>
          <a:ln w="9525">
            <a:noFill/>
          </a:ln>
        </p:spPr>
        <p:txBody>
          <a:bodyPr wrap="square" rtlCol="0" anchor="t">
            <a:noAutofit/>
          </a:bodyPr>
          <a:lstStyle/>
          <a:p>
            <a:pPr marL="342900" indent="-342900" defTabSz="914400">
              <a:spcBef>
                <a:spcPct val="20000"/>
              </a:spcBef>
              <a:buFont typeface="Arial" panose="020B0604020202020204" pitchFamily="34" charset="0"/>
              <a:buNone/>
            </a:pPr>
            <a:r>
              <a:rPr lang="zh-CN" altLang="en-US" sz="1400">
                <a:latin typeface="+mn-ea"/>
                <a:cs typeface="+mn-ea"/>
                <a:sym typeface="+mn-ea"/>
              </a:rPr>
              <a:t>作用：提供材料下单尺寸数据</a:t>
            </a:r>
            <a:endParaRPr lang="zh-CN" altLang="en-US" sz="1400">
              <a:latin typeface="+mn-ea"/>
              <a:cs typeface="+mn-ea"/>
            </a:endParaRPr>
          </a:p>
          <a:p>
            <a:pPr marL="342900" indent="-342900" defTabSz="914400">
              <a:spcBef>
                <a:spcPct val="20000"/>
              </a:spcBef>
              <a:buFont typeface="Arial" panose="020B0604020202020204" pitchFamily="34" charset="0"/>
              <a:buNone/>
            </a:pPr>
            <a:r>
              <a:rPr lang="zh-CN" altLang="en-US" sz="1400">
                <a:latin typeface="+mn-ea"/>
                <a:cs typeface="+mn-ea"/>
                <a:sym typeface="+mn-ea"/>
              </a:rPr>
              <a:t>方法：根据放好的完成面线，按照图纸，对各面层材料进行分隔，放线         </a:t>
            </a:r>
            <a:endParaRPr lang="zh-CN" altLang="en-US" sz="1400" dirty="0">
              <a:latin typeface="+mn-ea"/>
              <a:cs typeface="+mn-ea"/>
              <a:sym typeface="+mn-ea"/>
            </a:endParaRPr>
          </a:p>
        </p:txBody>
      </p:sp>
      <p:sp>
        <p:nvSpPr>
          <p:cNvPr id="22" name="Rectangle 2"/>
          <p:cNvSpPr>
            <a:spLocks noGrp="1"/>
          </p:cNvSpPr>
          <p:nvPr/>
        </p:nvSpPr>
        <p:spPr>
          <a:xfrm>
            <a:off x="6093460" y="1308100"/>
            <a:ext cx="1957070" cy="431165"/>
          </a:xfrm>
          <a:prstGeom prst="rect">
            <a:avLst/>
          </a:prstGeom>
          <a:noFill/>
          <a:ln>
            <a:noFill/>
          </a:ln>
        </p:spPr>
        <p:txBody>
          <a:bodyPr vert="horz" wrap="square" lIns="46494" tIns="46494" rIns="46494" bIns="46494" numCol="1" anchor="t" anchorCtr="0" compatLnSpc="1">
            <a:spAutoFit/>
          </a:bodyPr>
          <a:lstStyle>
            <a:lvl1pPr algn="l" rtl="0" eaLnBrk="0" fontAlgn="base" hangingPunct="0">
              <a:lnSpc>
                <a:spcPct val="110000"/>
              </a:lnSpc>
              <a:spcBef>
                <a:spcPct val="0"/>
              </a:spcBef>
              <a:spcAft>
                <a:spcPct val="0"/>
              </a:spcAft>
              <a:defRPr lang="zh-CN" altLang="en-US" sz="2600" b="1">
                <a:solidFill>
                  <a:schemeClr val="tx2"/>
                </a:solidFill>
                <a:latin typeface="+mj-lt"/>
                <a:ea typeface="+mj-ea"/>
                <a:cs typeface="+mj-cs"/>
              </a:defRPr>
            </a:lvl1pPr>
            <a:lvl2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2pPr>
            <a:lvl3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3pPr>
            <a:lvl4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4pPr>
            <a:lvl5pPr algn="l" rtl="0" eaLnBrk="0" fontAlgn="base" hangingPunct="0">
              <a:lnSpc>
                <a:spcPct val="110000"/>
              </a:lnSpc>
              <a:spcBef>
                <a:spcPct val="0"/>
              </a:spcBef>
              <a:spcAft>
                <a:spcPct val="0"/>
              </a:spcAft>
              <a:defRPr sz="2600" b="1">
                <a:solidFill>
                  <a:schemeClr val="tx2"/>
                </a:solidFill>
                <a:latin typeface="Arial" panose="020B0604020202020204" pitchFamily="34" charset="0"/>
                <a:ea typeface="微软雅黑" panose="020B0503020204020204" pitchFamily="34" charset="-122"/>
              </a:defRPr>
            </a:lvl5pPr>
            <a:lvl6pPr marL="5905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6pPr>
            <a:lvl7pPr marL="11811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7pPr>
            <a:lvl8pPr marL="177165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8pPr>
            <a:lvl9pPr marL="2362200" algn="l" rtl="0" eaLnBrk="1" fontAlgn="base" hangingPunct="1">
              <a:lnSpc>
                <a:spcPct val="110000"/>
              </a:lnSpc>
              <a:spcBef>
                <a:spcPct val="0"/>
              </a:spcBef>
              <a:spcAft>
                <a:spcPct val="0"/>
              </a:spcAft>
              <a:defRPr sz="2600" b="1">
                <a:solidFill>
                  <a:schemeClr val="tx2"/>
                </a:solidFill>
                <a:latin typeface="Arial" panose="020B0604020202020204" pitchFamily="34" charset="0"/>
                <a:ea typeface="宋体" panose="02010600030101010101" pitchFamily="2" charset="-122"/>
              </a:defRPr>
            </a:lvl9pPr>
          </a:lstStyle>
          <a:p>
            <a:pPr algn="ctr" eaLnBrk="1" hangingPunct="1"/>
            <a:r>
              <a:rPr lang="en-US" altLang="zh-CN" sz="2000" dirty="0">
                <a:ea typeface="黑体" panose="02010609060101010101" pitchFamily="49" charset="-122"/>
              </a:rPr>
              <a:t>材</a:t>
            </a:r>
            <a:r>
              <a:rPr sz="2000" dirty="0">
                <a:ea typeface="黑体" panose="02010609060101010101" pitchFamily="49" charset="-122"/>
              </a:rPr>
              <a:t>料分隔线</a:t>
            </a: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pic>
        <p:nvPicPr>
          <p:cNvPr id="66561" name="Picture 15" descr="IMG419"/>
          <p:cNvPicPr>
            <a:picLocks noChangeAspect="1"/>
          </p:cNvPicPr>
          <p:nvPr/>
        </p:nvPicPr>
        <p:blipFill>
          <a:blip r:embed="rId2"/>
          <a:srcRect/>
          <a:stretch>
            <a:fillRect/>
          </a:stretch>
        </p:blipFill>
        <p:spPr>
          <a:xfrm>
            <a:off x="4016375" y="1943735"/>
            <a:ext cx="6111240" cy="360045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8" name="Line 10"/>
          <p:cNvSpPr/>
          <p:nvPr/>
        </p:nvSpPr>
        <p:spPr>
          <a:xfrm flipH="1">
            <a:off x="7851458" y="3009583"/>
            <a:ext cx="2667000" cy="0"/>
          </a:xfrm>
          <a:prstGeom prst="line">
            <a:avLst/>
          </a:prstGeom>
          <a:ln w="19050" cap="flat" cmpd="sng">
            <a:solidFill>
              <a:srgbClr val="FF0000"/>
            </a:solidFill>
            <a:prstDash val="solid"/>
            <a:round/>
            <a:headEnd type="none" w="med" len="med"/>
            <a:tailEnd type="triangle" w="med" len="med"/>
          </a:ln>
        </p:spPr>
      </p:sp>
      <p:sp>
        <p:nvSpPr>
          <p:cNvPr id="9" name="Text Box 11"/>
          <p:cNvSpPr txBox="1"/>
          <p:nvPr/>
        </p:nvSpPr>
        <p:spPr>
          <a:xfrm>
            <a:off x="10442258" y="2780983"/>
            <a:ext cx="1219200" cy="368300"/>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墙纸</a:t>
            </a:r>
          </a:p>
        </p:txBody>
      </p:sp>
      <p:sp>
        <p:nvSpPr>
          <p:cNvPr id="10" name="Line 16"/>
          <p:cNvSpPr/>
          <p:nvPr/>
        </p:nvSpPr>
        <p:spPr>
          <a:xfrm flipH="1">
            <a:off x="6479858" y="3390583"/>
            <a:ext cx="4038600" cy="0"/>
          </a:xfrm>
          <a:prstGeom prst="line">
            <a:avLst/>
          </a:prstGeom>
          <a:ln w="19050" cap="flat" cmpd="sng">
            <a:solidFill>
              <a:srgbClr val="FF0000"/>
            </a:solidFill>
            <a:prstDash val="solid"/>
            <a:round/>
            <a:headEnd type="none" w="med" len="med"/>
            <a:tailEnd type="triangle" w="med" len="med"/>
          </a:ln>
        </p:spPr>
      </p:sp>
      <p:sp>
        <p:nvSpPr>
          <p:cNvPr id="11" name="Text Box 17"/>
          <p:cNvSpPr txBox="1"/>
          <p:nvPr/>
        </p:nvSpPr>
        <p:spPr>
          <a:xfrm>
            <a:off x="10442258" y="3161983"/>
            <a:ext cx="1219200" cy="368300"/>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木饰面</a:t>
            </a:r>
          </a:p>
        </p:txBody>
      </p:sp>
      <p:sp>
        <p:nvSpPr>
          <p:cNvPr id="4" name="Line 18"/>
          <p:cNvSpPr/>
          <p:nvPr/>
        </p:nvSpPr>
        <p:spPr>
          <a:xfrm flipH="1">
            <a:off x="5946458" y="3771583"/>
            <a:ext cx="4572000" cy="0"/>
          </a:xfrm>
          <a:prstGeom prst="line">
            <a:avLst/>
          </a:prstGeom>
          <a:ln w="19050" cap="flat" cmpd="sng">
            <a:solidFill>
              <a:srgbClr val="FF0000"/>
            </a:solidFill>
            <a:prstDash val="solid"/>
            <a:round/>
            <a:headEnd type="none" w="med" len="med"/>
            <a:tailEnd type="triangle" w="med" len="med"/>
          </a:ln>
        </p:spPr>
      </p:sp>
      <p:sp>
        <p:nvSpPr>
          <p:cNvPr id="6" name="Text Box 19"/>
          <p:cNvSpPr txBox="1"/>
          <p:nvPr/>
        </p:nvSpPr>
        <p:spPr>
          <a:xfrm>
            <a:off x="10442258" y="3542983"/>
            <a:ext cx="1219200" cy="368300"/>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硬包</a:t>
            </a:r>
          </a:p>
        </p:txBody>
      </p:sp>
      <p:sp>
        <p:nvSpPr>
          <p:cNvPr id="18" name="Line 20"/>
          <p:cNvSpPr/>
          <p:nvPr/>
        </p:nvSpPr>
        <p:spPr>
          <a:xfrm flipH="1">
            <a:off x="4193858" y="4228783"/>
            <a:ext cx="6324600" cy="0"/>
          </a:xfrm>
          <a:prstGeom prst="line">
            <a:avLst/>
          </a:prstGeom>
          <a:ln w="19050" cap="flat" cmpd="sng">
            <a:solidFill>
              <a:srgbClr val="FF0000"/>
            </a:solidFill>
            <a:prstDash val="solid"/>
            <a:round/>
            <a:headEnd type="none" w="med" len="med"/>
            <a:tailEnd type="triangle" w="med" len="med"/>
          </a:ln>
        </p:spPr>
      </p:sp>
      <p:sp>
        <p:nvSpPr>
          <p:cNvPr id="19" name="Text Box 21"/>
          <p:cNvSpPr txBox="1"/>
          <p:nvPr/>
        </p:nvSpPr>
        <p:spPr>
          <a:xfrm>
            <a:off x="10442258" y="4000183"/>
            <a:ext cx="1219200" cy="368300"/>
          </a:xfrm>
          <a:prstGeom prst="rect">
            <a:avLst/>
          </a:prstGeom>
          <a:noFill/>
          <a:ln w="9525">
            <a:noFill/>
          </a:ln>
        </p:spPr>
        <p:txBody>
          <a:bodyPr anchor="t">
            <a:spAutoFit/>
          </a:bodyPr>
          <a:lstStyle/>
          <a:p>
            <a:pPr>
              <a:spcBef>
                <a:spcPct val="50000"/>
              </a:spcBef>
              <a:buFont typeface="Arial" panose="020B0604020202020204" pitchFamily="34" charset="0"/>
              <a:buNone/>
            </a:pPr>
            <a:r>
              <a:rPr lang="zh-CN" altLang="en-US" b="1" dirty="0">
                <a:solidFill>
                  <a:srgbClr val="FF0000"/>
                </a:solidFill>
                <a:latin typeface="Calibri" panose="020F0502020204030204" charset="0"/>
                <a:ea typeface="宋体" panose="02010600030101010101" pitchFamily="2" charset="-122"/>
              </a:rPr>
              <a:t>木饰面</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1+#ppt_w/2"/>
                                          </p:val>
                                        </p:tav>
                                        <p:tav tm="100000">
                                          <p:val>
                                            <p:strVal val="#ppt_x"/>
                                          </p:val>
                                        </p:tav>
                                      </p:tavLst>
                                    </p:anim>
                                    <p:anim calcmode="lin" valueType="num">
                                      <p:cBhvr additive="base">
                                        <p:cTn id="28" dur="500" fill="hold"/>
                                        <p:tgtEl>
                                          <p:spTgt spid="6"/>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500" fill="hold"/>
                                        <p:tgtEl>
                                          <p:spTgt spid="4"/>
                                        </p:tgtEl>
                                        <p:attrNameLst>
                                          <p:attrName>ppt_x</p:attrName>
                                        </p:attrNameLst>
                                      </p:cBhvr>
                                      <p:tavLst>
                                        <p:tav tm="0">
                                          <p:val>
                                            <p:strVal val="1+#ppt_w/2"/>
                                          </p:val>
                                        </p:tav>
                                        <p:tav tm="100000">
                                          <p:val>
                                            <p:strVal val="#ppt_x"/>
                                          </p:val>
                                        </p:tav>
                                      </p:tavLst>
                                    </p:anim>
                                    <p:anim calcmode="lin" valueType="num">
                                      <p:cBhvr additive="base">
                                        <p:cTn id="32"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1+#ppt_w/2"/>
                                          </p:val>
                                        </p:tav>
                                        <p:tav tm="100000">
                                          <p:val>
                                            <p:strVal val="#ppt_x"/>
                                          </p:val>
                                        </p:tav>
                                      </p:tavLst>
                                    </p:anim>
                                    <p:anim calcmode="lin" valueType="num">
                                      <p:cBhvr additive="base">
                                        <p:cTn id="38" dur="500" fill="hold"/>
                                        <p:tgtEl>
                                          <p:spTgt spid="19"/>
                                        </p:tgtEl>
                                        <p:attrNameLst>
                                          <p:attrName>ppt_y</p:attrName>
                                        </p:attrNameLst>
                                      </p:cBhvr>
                                      <p:tavLst>
                                        <p:tav tm="0">
                                          <p:val>
                                            <p:strVal val="#ppt_y"/>
                                          </p:val>
                                        </p:tav>
                                        <p:tav tm="100000">
                                          <p:val>
                                            <p:strVal val="#ppt_y"/>
                                          </p:val>
                                        </p:tav>
                                      </p:tavLst>
                                    </p:anim>
                                  </p:childTnLst>
                                </p:cTn>
                              </p:par>
                              <p:par>
                                <p:cTn id="39" presetID="2" presetClass="entr" presetSubtype="2"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additive="base">
                                        <p:cTn id="41" dur="500" fill="hold"/>
                                        <p:tgtEl>
                                          <p:spTgt spid="18"/>
                                        </p:tgtEl>
                                        <p:attrNameLst>
                                          <p:attrName>ppt_x</p:attrName>
                                        </p:attrNameLst>
                                      </p:cBhvr>
                                      <p:tavLst>
                                        <p:tav tm="0">
                                          <p:val>
                                            <p:strVal val="1+#ppt_w/2"/>
                                          </p:val>
                                        </p:tav>
                                        <p:tav tm="100000">
                                          <p:val>
                                            <p:strVal val="#ppt_x"/>
                                          </p:val>
                                        </p:tav>
                                      </p:tavLst>
                                    </p:anim>
                                    <p:anim calcmode="lin" valueType="num">
                                      <p:cBhvr additive="base">
                                        <p:cTn id="42"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3" grpId="0" build="p"/>
      <p:bldP spid="9" grpId="0"/>
      <p:bldP spid="11" grpId="0"/>
      <p:bldP spid="6" grpId="0"/>
      <p:bldP spid="19"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4.4.1  套方放线查验单</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四</a:t>
            </a:r>
            <a:r>
              <a:rPr lang="zh-CN" altLang="en-US" sz="2000" b="1" dirty="0" smtClean="0">
                <a:solidFill>
                  <a:srgbClr val="F64C31"/>
                </a:solidFill>
                <a:cs typeface="+mn-ea"/>
              </a:rPr>
              <a:t>、精装进场</a:t>
            </a:r>
          </a:p>
        </p:txBody>
      </p:sp>
      <p:graphicFrame>
        <p:nvGraphicFramePr>
          <p:cNvPr id="8" name="表格 7"/>
          <p:cNvGraphicFramePr/>
          <p:nvPr/>
        </p:nvGraphicFramePr>
        <p:xfrm>
          <a:off x="684530" y="1370330"/>
          <a:ext cx="10761980" cy="5169535"/>
        </p:xfrm>
        <a:graphic>
          <a:graphicData uri="http://schemas.openxmlformats.org/drawingml/2006/table">
            <a:tbl>
              <a:tblPr firstRow="1" bandRow="1">
                <a:tableStyleId>{5C22544A-7EE6-4342-B048-85BDC9FD1C3A}</a:tableStyleId>
              </a:tblPr>
              <a:tblGrid>
                <a:gridCol w="652780">
                  <a:extLst>
                    <a:ext uri="{9D8B030D-6E8A-4147-A177-3AD203B41FA5}">
                      <a16:colId xmlns:a16="http://schemas.microsoft.com/office/drawing/2014/main" val="20000"/>
                    </a:ext>
                  </a:extLst>
                </a:gridCol>
                <a:gridCol w="1456690">
                  <a:extLst>
                    <a:ext uri="{9D8B030D-6E8A-4147-A177-3AD203B41FA5}">
                      <a16:colId xmlns:a16="http://schemas.microsoft.com/office/drawing/2014/main" val="20001"/>
                    </a:ext>
                  </a:extLst>
                </a:gridCol>
                <a:gridCol w="1456690">
                  <a:extLst>
                    <a:ext uri="{9D8B030D-6E8A-4147-A177-3AD203B41FA5}">
                      <a16:colId xmlns:a16="http://schemas.microsoft.com/office/drawing/2014/main" val="20002"/>
                    </a:ext>
                  </a:extLst>
                </a:gridCol>
                <a:gridCol w="1858645">
                  <a:extLst>
                    <a:ext uri="{9D8B030D-6E8A-4147-A177-3AD203B41FA5}">
                      <a16:colId xmlns:a16="http://schemas.microsoft.com/office/drawing/2014/main" val="20003"/>
                    </a:ext>
                  </a:extLst>
                </a:gridCol>
                <a:gridCol w="1607820">
                  <a:extLst>
                    <a:ext uri="{9D8B030D-6E8A-4147-A177-3AD203B41FA5}">
                      <a16:colId xmlns:a16="http://schemas.microsoft.com/office/drawing/2014/main" val="20004"/>
                    </a:ext>
                  </a:extLst>
                </a:gridCol>
                <a:gridCol w="3729355">
                  <a:extLst>
                    <a:ext uri="{9D8B030D-6E8A-4147-A177-3AD203B41FA5}">
                      <a16:colId xmlns:a16="http://schemas.microsoft.com/office/drawing/2014/main" val="20005"/>
                    </a:ext>
                  </a:extLst>
                </a:gridCol>
              </a:tblGrid>
              <a:tr h="304800">
                <a:tc gridSpan="2">
                  <a:txBody>
                    <a:bodyPr/>
                    <a:lstStyle/>
                    <a:p>
                      <a:pPr indent="0">
                        <a:buNone/>
                      </a:pPr>
                      <a:r>
                        <a:rPr lang="zh-CN" sz="1400" b="1">
                          <a:solidFill>
                            <a:srgbClr val="000000"/>
                          </a:solidFill>
                          <a:latin typeface="+mn-ea"/>
                          <a:cs typeface="+mn-ea"/>
                        </a:rPr>
                        <a:t>工程名称:</a:t>
                      </a:r>
                      <a:endParaRPr lang="zh-CN" altLang="en-US" sz="1400" b="1">
                        <a:solidFill>
                          <a:srgbClr val="000000"/>
                        </a:solidFill>
                        <a:latin typeface="+mn-ea"/>
                        <a:cs typeface="+mn-ea"/>
                      </a:endParaRPr>
                    </a:p>
                  </a:txBody>
                  <a:tcPr anchor="ctr">
                    <a:lnL w="15240"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endParaRPr lang="en-US"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楼栋名称：</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精装单位：</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17830">
                <a:tc>
                  <a:txBody>
                    <a:bodyPr/>
                    <a:lstStyle/>
                    <a:p>
                      <a:pPr indent="0" algn="ctr">
                        <a:buNone/>
                      </a:pPr>
                      <a:r>
                        <a:rPr lang="zh-CN" sz="1400" b="1">
                          <a:solidFill>
                            <a:srgbClr val="000000"/>
                          </a:solidFill>
                          <a:latin typeface="+mn-ea"/>
                        </a:rPr>
                        <a:t>序号</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内容</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部位</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结构偏差</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图纸与现场差异</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备注</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3375">
                <a:tc>
                  <a:txBody>
                    <a:bodyPr/>
                    <a:lstStyle/>
                    <a:p>
                      <a:pPr indent="0" algn="ctr">
                        <a:buNone/>
                      </a:pPr>
                      <a:r>
                        <a:rPr lang="en-US" sz="1400" b="0">
                          <a:solidFill>
                            <a:srgbClr val="000000"/>
                          </a:solidFill>
                          <a:latin typeface="+mn-ea"/>
                        </a:rPr>
                        <a:t>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一米线及标高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1">
                  <a:txBody>
                    <a:bodyPr/>
                    <a:lstStyle/>
                    <a:p>
                      <a:pPr indent="0">
                        <a:buNone/>
                      </a:pPr>
                      <a:r>
                        <a:rPr lang="zh-CN" sz="1400" b="0">
                          <a:solidFill>
                            <a:srgbClr val="000000"/>
                          </a:solidFill>
                          <a:latin typeface="+mn-ea"/>
                          <a:cs typeface="+mn-ea"/>
                        </a:rPr>
                        <a:t>精装隔墙定位线：精装进场后必须依据精装图纸进行户内隔墙定位放线。</a:t>
                      </a:r>
                    </a:p>
                    <a:p>
                      <a:pPr indent="0">
                        <a:buNone/>
                      </a:pPr>
                      <a:r>
                        <a:rPr lang="zh-CN" sz="1400" b="0">
                          <a:solidFill>
                            <a:srgbClr val="000000"/>
                          </a:solidFill>
                          <a:latin typeface="+mn-ea"/>
                          <a:cs typeface="+mn-ea"/>
                        </a:rPr>
                        <a:t>房间套方线：房间套方放线，核实房间方正度以及开间进深与图纸差异情况。</a:t>
                      </a:r>
                    </a:p>
                    <a:p>
                      <a:pPr indent="0">
                        <a:buNone/>
                      </a:pPr>
                      <a:r>
                        <a:rPr lang="zh-CN" sz="1400" b="0">
                          <a:solidFill>
                            <a:srgbClr val="000000"/>
                          </a:solidFill>
                          <a:latin typeface="+mn-ea"/>
                          <a:cs typeface="+mn-ea"/>
                        </a:rPr>
                        <a:t>一米线及标高定位线：复核土建结构一米线引致房间内进行一米线投影放线，依据精装设计标高要求进行户内顶部标高以及地面完成高度放出控制线。</a:t>
                      </a:r>
                    </a:p>
                    <a:p>
                      <a:pPr indent="0">
                        <a:buNone/>
                      </a:pPr>
                      <a:r>
                        <a:rPr lang="zh-CN" sz="1400" b="0">
                          <a:solidFill>
                            <a:srgbClr val="000000"/>
                          </a:solidFill>
                          <a:latin typeface="+mn-ea"/>
                          <a:cs typeface="+mn-ea"/>
                        </a:rPr>
                        <a:t>阴阳角垂直线：精装单位以独立空间为单位，进行阴阳角垂直放线；放线参照套方线进行投射至每面墙的阴角及阳角处向外约30mm处进行垂直放线。</a:t>
                      </a:r>
                    </a:p>
                    <a:p>
                      <a:pPr indent="0">
                        <a:buNone/>
                      </a:pPr>
                      <a:endParaRPr lang="zh-CN" altLang="en-US" sz="1400" b="0">
                        <a:solidFill>
                          <a:srgbClr val="000000"/>
                        </a:solidFill>
                        <a:latin typeface="+mn-ea"/>
                        <a:cs typeface="+mn-ea"/>
                      </a:endParaRPr>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4800">
                <a:tc>
                  <a:txBody>
                    <a:bodyPr/>
                    <a:lstStyle/>
                    <a:p>
                      <a:pPr indent="0" algn="ctr">
                        <a:buNone/>
                      </a:pPr>
                      <a:r>
                        <a:rPr lang="en-US" sz="1400" b="0">
                          <a:solidFill>
                            <a:srgbClr val="000000"/>
                          </a:solidFill>
                          <a:latin typeface="+mn-ea"/>
                        </a:rPr>
                        <a:t>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隔墙定位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304800">
                <a:tc>
                  <a:txBody>
                    <a:bodyPr/>
                    <a:lstStyle/>
                    <a:p>
                      <a:pPr indent="0" algn="ctr">
                        <a:buNone/>
                      </a:pPr>
                      <a:r>
                        <a:rPr lang="en-US" sz="1400" b="0">
                          <a:solidFill>
                            <a:srgbClr val="000000"/>
                          </a:solidFill>
                          <a:latin typeface="+mn-ea"/>
                        </a:rPr>
                        <a:t>3</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房间套方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304800">
                <a:tc>
                  <a:txBody>
                    <a:bodyPr/>
                    <a:lstStyle/>
                    <a:p>
                      <a:pPr indent="0" algn="ctr">
                        <a:buNone/>
                      </a:pPr>
                      <a:r>
                        <a:rPr lang="en-US" sz="1400" b="0">
                          <a:solidFill>
                            <a:srgbClr val="000000"/>
                          </a:solidFill>
                          <a:latin typeface="+mn-ea"/>
                        </a:rPr>
                        <a:t>4</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阴角垂直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04800">
                <a:tc>
                  <a:txBody>
                    <a:bodyPr/>
                    <a:lstStyle/>
                    <a:p>
                      <a:pPr indent="0" algn="ctr">
                        <a:buNone/>
                      </a:pPr>
                      <a:r>
                        <a:rPr lang="en-US" sz="1400" b="0">
                          <a:solidFill>
                            <a:srgbClr val="000000"/>
                          </a:solidFill>
                          <a:latin typeface="+mn-ea"/>
                        </a:rPr>
                        <a:t>5</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阳角垂直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04800">
                <a:tc>
                  <a:txBody>
                    <a:bodyPr/>
                    <a:lstStyle/>
                    <a:p>
                      <a:pPr indent="0" algn="ctr">
                        <a:buNone/>
                      </a:pPr>
                      <a:r>
                        <a:rPr lang="en-US" sz="1400" b="0">
                          <a:solidFill>
                            <a:srgbClr val="000000"/>
                          </a:solidFill>
                          <a:latin typeface="+mn-ea"/>
                        </a:rPr>
                        <a:t>6</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材料分隔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04800">
                <a:tc>
                  <a:txBody>
                    <a:bodyPr/>
                    <a:lstStyle/>
                    <a:p>
                      <a:pPr indent="0" algn="ctr">
                        <a:buNone/>
                      </a:pPr>
                      <a:r>
                        <a:rPr lang="en-US" sz="1400" b="0">
                          <a:solidFill>
                            <a:srgbClr val="000000"/>
                          </a:solidFill>
                          <a:latin typeface="+mn-ea"/>
                        </a:rPr>
                        <a:t>7</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墙面排版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04800">
                <a:tc>
                  <a:txBody>
                    <a:bodyPr/>
                    <a:lstStyle/>
                    <a:p>
                      <a:pPr indent="0" algn="ctr">
                        <a:buNone/>
                      </a:pPr>
                      <a:r>
                        <a:rPr lang="en-US" sz="1400" b="0">
                          <a:solidFill>
                            <a:srgbClr val="000000"/>
                          </a:solidFill>
                          <a:latin typeface="+mn-ea"/>
                        </a:rPr>
                        <a:t>8</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地面排版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304800">
                <a:tc>
                  <a:txBody>
                    <a:bodyPr/>
                    <a:lstStyle/>
                    <a:p>
                      <a:pPr indent="0" algn="ctr">
                        <a:buNone/>
                      </a:pPr>
                      <a:r>
                        <a:rPr lang="en-US" sz="1400" b="0">
                          <a:solidFill>
                            <a:srgbClr val="000000"/>
                          </a:solidFill>
                          <a:latin typeface="+mn-ea"/>
                        </a:rPr>
                        <a:t>9</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天花造型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304800">
                <a:tc>
                  <a:txBody>
                    <a:bodyPr/>
                    <a:lstStyle/>
                    <a:p>
                      <a:pPr indent="0" algn="ctr">
                        <a:buNone/>
                      </a:pPr>
                      <a:r>
                        <a:rPr lang="en-US" sz="1400" b="0">
                          <a:solidFill>
                            <a:srgbClr val="000000"/>
                          </a:solidFill>
                          <a:latin typeface="+mn-ea"/>
                        </a:rPr>
                        <a:t>10</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点位定位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304800">
                <a:tc>
                  <a:txBody>
                    <a:bodyPr/>
                    <a:lstStyle/>
                    <a:p>
                      <a:pPr indent="0" algn="ctr">
                        <a:buNone/>
                      </a:pP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12"/>
                  </a:ext>
                </a:extLst>
              </a:tr>
              <a:tr h="304800">
                <a:tc>
                  <a:txBody>
                    <a:bodyPr/>
                    <a:lstStyle/>
                    <a:p>
                      <a:pPr indent="0">
                        <a:buNone/>
                      </a:pP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04800">
                <a:tc rowSpan="2">
                  <a:txBody>
                    <a:bodyPr/>
                    <a:lstStyle/>
                    <a:p>
                      <a:pPr indent="0" algn="ctr">
                        <a:buNone/>
                      </a:pPr>
                      <a:r>
                        <a:rPr lang="zh-CN" sz="1400" b="1">
                          <a:solidFill>
                            <a:srgbClr val="000000"/>
                          </a:solidFill>
                          <a:latin typeface="+mn-ea"/>
                        </a:rPr>
                        <a:t>验收</a:t>
                      </a:r>
                    </a:p>
                    <a:p>
                      <a:pPr indent="0" algn="ctr">
                        <a:buNone/>
                      </a:pPr>
                      <a:r>
                        <a:rPr lang="zh-CN" sz="1400" b="1">
                          <a:solidFill>
                            <a:srgbClr val="000000"/>
                          </a:solidFill>
                          <a:latin typeface="+mn-ea"/>
                        </a:rPr>
                        <a:t>会签</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400" b="0">
                          <a:solidFill>
                            <a:srgbClr val="000000"/>
                          </a:solidFill>
                          <a:latin typeface="+mn-ea"/>
                        </a:rPr>
                        <a:t>精装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2">
                  <a:txBody>
                    <a:bodyPr/>
                    <a:lstStyle/>
                    <a:p>
                      <a:pPr indent="0" algn="ctr">
                        <a:buNone/>
                      </a:pPr>
                      <a:r>
                        <a:rPr lang="zh-CN" sz="1400" b="0">
                          <a:solidFill>
                            <a:srgbClr val="000000"/>
                          </a:solidFill>
                          <a:latin typeface="+mn-ea"/>
                        </a:rPr>
                        <a:t>甲方项目专业负责人</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45593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bl>
          </a:graphicData>
        </a:graphic>
      </p:graphicFrame>
    </p:spTree>
  </p:cSld>
  <p:clrMapOvr>
    <a:overrideClrMapping bg1="lt1" tx1="dk1" bg2="lt2" tx2="dk2" accent1="accent1" accent2="accent2" accent3="accent3" accent4="accent4" accent5="accent5" accent6="accent6" hlink="hlink" folHlink="folHlink"/>
  </p:clrMapOvr>
  <p:transition>
    <p:zoom dir="in"/>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2" name="标题 1"/>
          <p:cNvSpPr txBox="1">
            <a:spLocks noGrp="1"/>
          </p:cNvSpPr>
          <p:nvPr>
            <p:ph type="title"/>
          </p:nvPr>
        </p:nvSpPr>
        <p:spPr>
          <a:xfrm>
            <a:off x="1727200" y="1936115"/>
            <a:ext cx="2817495" cy="646430"/>
          </a:xfrm>
          <a:solidFill>
            <a:srgbClr val="F64C31"/>
          </a:solidFill>
          <a:ln>
            <a:noFill/>
          </a:ln>
          <a:effectLst>
            <a:outerShdw blurRad="50800" dist="38100" dir="2700000" algn="tl" rotWithShape="0">
              <a:prstClr val="black">
                <a:alpha val="40000"/>
              </a:prstClr>
            </a:outerShdw>
          </a:effectLst>
        </p:spPr>
        <p:txBody>
          <a:bodyPr vert="horz" wrap="square" lIns="46494" tIns="46494" rIns="46494" bIns="46494" numCol="1" rtlCol="0" anchor="b" anchorCtr="0" compatLnSpc="1">
            <a:spAutoFit/>
          </a:bodyPr>
          <a:lstStyle/>
          <a:p>
            <a:pPr lvl="0" algn="l" defTabSz="1180465" eaLnBrk="1" fontAlgn="auto" hangingPunct="1">
              <a:lnSpc>
                <a:spcPct val="150000"/>
              </a:lnSpc>
            </a:pPr>
            <a:r>
              <a:rPr lang="en-US" altLang="zh-CN" sz="2400" kern="1200" dirty="0">
                <a:solidFill>
                  <a:srgbClr val="000000"/>
                </a:solidFill>
                <a:latin typeface="+mn-ea"/>
                <a:ea typeface="+mn-ea"/>
                <a:cs typeface="+mn-ea"/>
                <a:sym typeface="+mn-ea"/>
              </a:rPr>
              <a:t>五、精装过程</a:t>
            </a:r>
          </a:p>
        </p:txBody>
      </p:sp>
      <p:sp>
        <p:nvSpPr>
          <p:cNvPr id="4" name="内容占位符 3"/>
          <p:cNvSpPr txBox="1">
            <a:spLocks noGrp="1"/>
          </p:cNvSpPr>
          <p:nvPr>
            <p:ph type="body" sz="half" idx="2"/>
          </p:nvPr>
        </p:nvSpPr>
        <p:spPr>
          <a:xfrm>
            <a:off x="1727200" y="2582545"/>
            <a:ext cx="2817495" cy="1932305"/>
          </a:xfrm>
          <a:prstGeom prst="rect">
            <a:avLst/>
          </a:prstGeom>
          <a:noFill/>
          <a:extLst>
            <a:ext uri="{909E8E84-426E-40DD-AFC4-6F175D3DCCD1}">
              <a14:hiddenFill xmlns:a14="http://schemas.microsoft.com/office/drawing/2010/main">
                <a:solidFill>
                  <a:schemeClr val="bg1"/>
                </a:solidFill>
              </a14:hiddenFill>
            </a:ext>
          </a:extLst>
        </p:spPr>
        <p:txBody>
          <a:bodyPr wrap="square" rtlCol="0">
            <a:noAutofit/>
          </a:bodyPr>
          <a:lstStyle/>
          <a:p>
            <a:pPr>
              <a:lnSpc>
                <a:spcPct val="150000"/>
              </a:lnSpc>
            </a:pPr>
            <a:r>
              <a:rPr lang="en-US" altLang="zh-CN" b="1" dirty="0" smtClean="0">
                <a:latin typeface="+mn-ea"/>
                <a:ea typeface="+mn-ea"/>
                <a:cs typeface="+mn-ea"/>
              </a:rPr>
              <a:t>1</a:t>
            </a:r>
            <a:r>
              <a:rPr lang="zh-CN" altLang="en-US" b="1" dirty="0" smtClean="0">
                <a:latin typeface="+mn-ea"/>
                <a:ea typeface="+mn-ea"/>
                <a:cs typeface="+mn-ea"/>
              </a:rPr>
              <a:t>、土建移交</a:t>
            </a:r>
          </a:p>
          <a:p>
            <a:pPr>
              <a:lnSpc>
                <a:spcPct val="150000"/>
              </a:lnSpc>
            </a:pPr>
            <a:r>
              <a:rPr lang="en-US" altLang="zh-CN" b="1" smtClean="0">
                <a:solidFill>
                  <a:srgbClr val="000000"/>
                </a:solidFill>
                <a:latin typeface="+mn-ea"/>
                <a:ea typeface="+mn-ea"/>
                <a:cs typeface="+mn-ea"/>
                <a:sym typeface="+mn-ea"/>
              </a:rPr>
              <a:t>2</a:t>
            </a:r>
            <a:r>
              <a:rPr b="1" smtClean="0">
                <a:solidFill>
                  <a:srgbClr val="000000"/>
                </a:solidFill>
                <a:latin typeface="+mn-ea"/>
                <a:ea typeface="+mn-ea"/>
                <a:cs typeface="+mn-ea"/>
                <a:sym typeface="+mn-ea"/>
              </a:rPr>
              <a:t>、样板引路</a:t>
            </a:r>
          </a:p>
          <a:p>
            <a:pPr>
              <a:lnSpc>
                <a:spcPct val="150000"/>
              </a:lnSpc>
            </a:pPr>
            <a:r>
              <a:rPr lang="en-US" altLang="zh-CN" b="1" smtClean="0">
                <a:solidFill>
                  <a:srgbClr val="000000"/>
                </a:solidFill>
                <a:latin typeface="+mn-ea"/>
                <a:ea typeface="+mn-ea"/>
                <a:cs typeface="+mn-ea"/>
                <a:sym typeface="+mn-ea"/>
              </a:rPr>
              <a:t>3</a:t>
            </a:r>
            <a:r>
              <a:rPr b="1" smtClean="0">
                <a:solidFill>
                  <a:srgbClr val="000000"/>
                </a:solidFill>
                <a:latin typeface="+mn-ea"/>
                <a:ea typeface="+mn-ea"/>
                <a:cs typeface="+mn-ea"/>
                <a:sym typeface="+mn-ea"/>
              </a:rPr>
              <a:t>、品质管控</a:t>
            </a:r>
            <a:endParaRPr b="1" dirty="0" smtClean="0">
              <a:solidFill>
                <a:srgbClr val="000000"/>
              </a:solidFill>
              <a:latin typeface="+mn-ea"/>
              <a:ea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268453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1</a:t>
            </a:r>
            <a:r>
              <a:rPr lang="zh-CN" altLang="en-US" sz="1800" b="1" dirty="0" smtClean="0">
                <a:solidFill>
                  <a:srgbClr val="000000"/>
                </a:solidFill>
                <a:cs typeface="+mn-ea"/>
              </a:rPr>
              <a:t>、土建移交</a:t>
            </a:r>
            <a:endParaRPr lang="en-US" altLang="zh-CN" sz="1800" b="1" dirty="0" smtClean="0">
              <a:solidFill>
                <a:srgbClr val="000000"/>
              </a:solidFill>
              <a:cs typeface="+mn-ea"/>
              <a:sym typeface="+mn-ea"/>
            </a:endParaRPr>
          </a:p>
        </p:txBody>
      </p:sp>
      <p:sp>
        <p:nvSpPr>
          <p:cNvPr id="6" name="文本框 5"/>
          <p:cNvSpPr txBox="1"/>
          <p:nvPr/>
        </p:nvSpPr>
        <p:spPr>
          <a:xfrm>
            <a:off x="684530" y="3219450"/>
            <a:ext cx="7528560" cy="299974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组织土建总包与精装单位进行场地核验移交，针对土建不合格部位明确整改完成时间：</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1</a:t>
            </a:r>
            <a:r>
              <a:rPr lang="zh-CN" altLang="en-US" sz="1400" dirty="0" smtClean="0">
                <a:solidFill>
                  <a:srgbClr val="000000"/>
                </a:solidFill>
                <a:latin typeface="+mn-ea"/>
                <a:cs typeface="+mn-ea"/>
                <a:sym typeface="+mn-ea"/>
              </a:rPr>
              <a:t>、基准线移交：</a:t>
            </a:r>
            <a:r>
              <a:rPr lang="zh-CN" sz="1400" dirty="0" smtClean="0">
                <a:solidFill>
                  <a:srgbClr val="000000"/>
                </a:solidFill>
                <a:latin typeface="+mn-ea"/>
                <a:cs typeface="+mn-ea"/>
                <a:sym typeface="+mn-ea"/>
              </a:rPr>
              <a:t>总包单位交接施工所用的楼层50厘米或1米基准标高线。</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工作面移交：土建墙顶地基层、强弱电工程、给排水工程、采暖工程、空调系统工程、厨卫阳台防水工程、防火门入户门工程、外窗幕墙工程、预留功能洞口位置（空调，排风等洞口）、燃气工程（室内燃气管线预留等）。      </a:t>
            </a:r>
          </a:p>
          <a:p>
            <a:pPr>
              <a:lnSpc>
                <a:spcPct val="150000"/>
              </a:lnSpc>
            </a:pPr>
            <a:r>
              <a:rPr lang="zh-CN" altLang="en-US" sz="1400" b="1" dirty="0" smtClean="0">
                <a:solidFill>
                  <a:srgbClr val="000000"/>
                </a:solidFill>
                <a:latin typeface="+mn-ea"/>
                <a:cs typeface="+mn-ea"/>
              </a:rPr>
              <a:t>工作目的：</a:t>
            </a:r>
            <a:r>
              <a:rPr lang="zh-CN" altLang="en-US" sz="1400" b="1" dirty="0" smtClean="0">
                <a:solidFill>
                  <a:srgbClr val="000000"/>
                </a:solidFill>
                <a:cs typeface="+mn-ea"/>
                <a:sym typeface="+mn-ea"/>
              </a:rPr>
              <a:t>严防基层质量问题，确保精装工程顺利推进</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验收土建完成面质量相关是否符合国家或者行业规范要求，规避精装开始后的工作面质量扯皮推诿情况发生</a:t>
            </a:r>
            <a:r>
              <a:rPr lang="zh-CN" altLang="en-US" sz="1400" dirty="0" smtClean="0">
                <a:solidFill>
                  <a:srgbClr val="000000"/>
                </a:solidFill>
                <a:cs typeface="+mn-ea"/>
                <a:sym typeface="+mn-ea"/>
              </a:rPr>
              <a:t>。</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sym typeface="+mn-ea"/>
              </a:rPr>
              <a:t>五</a:t>
            </a:r>
            <a:r>
              <a:rPr lang="zh-CN" altLang="en-US" sz="2000" b="1" dirty="0" smtClean="0">
                <a:solidFill>
                  <a:srgbClr val="F64C31"/>
                </a:solidFill>
                <a:cs typeface="+mn-ea"/>
                <a:sym typeface="+mn-ea"/>
              </a:rPr>
              <a:t>、精装过程</a:t>
            </a:r>
            <a:endParaRPr lang="en-US" altLang="zh-CN" sz="2000" b="1" dirty="0">
              <a:cs typeface="+mn-ea"/>
            </a:endParaRPr>
          </a:p>
        </p:txBody>
      </p:sp>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1.1  土建移交验收单</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aphicFrame>
        <p:nvGraphicFramePr>
          <p:cNvPr id="2" name="表格 1"/>
          <p:cNvGraphicFramePr/>
          <p:nvPr/>
        </p:nvGraphicFramePr>
        <p:xfrm>
          <a:off x="684530" y="1385570"/>
          <a:ext cx="10849610" cy="5073650"/>
        </p:xfrm>
        <a:graphic>
          <a:graphicData uri="http://schemas.openxmlformats.org/drawingml/2006/table">
            <a:tbl>
              <a:tblPr firstRow="1" bandRow="1">
                <a:tableStyleId>{5C22544A-7EE6-4342-B048-85BDC9FD1C3A}</a:tableStyleId>
              </a:tblPr>
              <a:tblGrid>
                <a:gridCol w="634365">
                  <a:extLst>
                    <a:ext uri="{9D8B030D-6E8A-4147-A177-3AD203B41FA5}">
                      <a16:colId xmlns:a16="http://schemas.microsoft.com/office/drawing/2014/main" val="20000"/>
                    </a:ext>
                  </a:extLst>
                </a:gridCol>
                <a:gridCol w="1491615">
                  <a:extLst>
                    <a:ext uri="{9D8B030D-6E8A-4147-A177-3AD203B41FA5}">
                      <a16:colId xmlns:a16="http://schemas.microsoft.com/office/drawing/2014/main" val="20001"/>
                    </a:ext>
                  </a:extLst>
                </a:gridCol>
                <a:gridCol w="1339850">
                  <a:extLst>
                    <a:ext uri="{9D8B030D-6E8A-4147-A177-3AD203B41FA5}">
                      <a16:colId xmlns:a16="http://schemas.microsoft.com/office/drawing/2014/main" val="20002"/>
                    </a:ext>
                  </a:extLst>
                </a:gridCol>
                <a:gridCol w="976630">
                  <a:extLst>
                    <a:ext uri="{9D8B030D-6E8A-4147-A177-3AD203B41FA5}">
                      <a16:colId xmlns:a16="http://schemas.microsoft.com/office/drawing/2014/main" val="20003"/>
                    </a:ext>
                  </a:extLst>
                </a:gridCol>
                <a:gridCol w="1391285">
                  <a:extLst>
                    <a:ext uri="{9D8B030D-6E8A-4147-A177-3AD203B41FA5}">
                      <a16:colId xmlns:a16="http://schemas.microsoft.com/office/drawing/2014/main" val="20004"/>
                    </a:ext>
                  </a:extLst>
                </a:gridCol>
                <a:gridCol w="1024890">
                  <a:extLst>
                    <a:ext uri="{9D8B030D-6E8A-4147-A177-3AD203B41FA5}">
                      <a16:colId xmlns:a16="http://schemas.microsoft.com/office/drawing/2014/main" val="20005"/>
                    </a:ext>
                  </a:extLst>
                </a:gridCol>
                <a:gridCol w="1391285">
                  <a:extLst>
                    <a:ext uri="{9D8B030D-6E8A-4147-A177-3AD203B41FA5}">
                      <a16:colId xmlns:a16="http://schemas.microsoft.com/office/drawing/2014/main" val="20006"/>
                    </a:ext>
                  </a:extLst>
                </a:gridCol>
                <a:gridCol w="2599690">
                  <a:extLst>
                    <a:ext uri="{9D8B030D-6E8A-4147-A177-3AD203B41FA5}">
                      <a16:colId xmlns:a16="http://schemas.microsoft.com/office/drawing/2014/main" val="20007"/>
                    </a:ext>
                  </a:extLst>
                </a:gridCol>
              </a:tblGrid>
              <a:tr h="370205">
                <a:tc gridSpan="3">
                  <a:txBody>
                    <a:bodyPr/>
                    <a:lstStyle/>
                    <a:p>
                      <a:pPr indent="0">
                        <a:buNone/>
                      </a:pPr>
                      <a:r>
                        <a:rPr lang="zh-CN" sz="1400" b="1">
                          <a:solidFill>
                            <a:srgbClr val="000000"/>
                          </a:solidFill>
                          <a:latin typeface="+mn-ea"/>
                        </a:rPr>
                        <a:t>工程名称：</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r>
                        <a:rPr lang="zh-CN" sz="1400" b="1">
                          <a:solidFill>
                            <a:srgbClr val="000000"/>
                          </a:solidFill>
                          <a:latin typeface="+mn-ea"/>
                        </a:rPr>
                        <a:t>楼栋标段：</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r>
                        <a:rPr lang="zh-CN" sz="1400" b="1">
                          <a:solidFill>
                            <a:srgbClr val="000000"/>
                          </a:solidFill>
                          <a:latin typeface="+mn-ea"/>
                        </a:rPr>
                        <a:t>精装单位：</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9525"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0840">
                <a:tc>
                  <a:txBody>
                    <a:bodyPr/>
                    <a:lstStyle/>
                    <a:p>
                      <a:pPr indent="0" algn="ctr">
                        <a:buNone/>
                      </a:pPr>
                      <a:r>
                        <a:rPr lang="zh-CN" sz="1400" b="1">
                          <a:solidFill>
                            <a:srgbClr val="000000"/>
                          </a:solidFill>
                          <a:latin typeface="+mn-ea"/>
                        </a:rPr>
                        <a:t>序号</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内容</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部位</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完成情况</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质量情况</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损坏情况</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限期整改时间</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备注</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13055">
                <a:tc>
                  <a:txBody>
                    <a:bodyPr/>
                    <a:lstStyle/>
                    <a:p>
                      <a:pPr indent="0" algn="ctr">
                        <a:buNone/>
                      </a:pPr>
                      <a:r>
                        <a:rPr lang="en-US" sz="1400" b="0">
                          <a:solidFill>
                            <a:srgbClr val="000000"/>
                          </a:solidFill>
                          <a:latin typeface="+mn-ea"/>
                        </a:rPr>
                        <a:t>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墙顶面空鼓开裂</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1">
                  <a:txBody>
                    <a:bodyPr/>
                    <a:lstStyle/>
                    <a:p>
                      <a:pPr indent="0">
                        <a:buNone/>
                      </a:pPr>
                      <a:r>
                        <a:rPr lang="zh-CN" sz="1400" b="0">
                          <a:solidFill>
                            <a:srgbClr val="000000"/>
                          </a:solidFill>
                          <a:latin typeface="+mn-ea"/>
                        </a:rPr>
                        <a:t>核实原土建墙顶面空鼓、开裂情况。</a:t>
                      </a:r>
                    </a:p>
                    <a:p>
                      <a:pPr indent="0">
                        <a:buNone/>
                      </a:pPr>
                      <a:r>
                        <a:rPr lang="zh-CN" sz="1400" b="0">
                          <a:solidFill>
                            <a:srgbClr val="000000"/>
                          </a:solidFill>
                          <a:latin typeface="+mn-ea"/>
                        </a:rPr>
                        <a:t>核实原土建水电管线及点位预留预埋是否敷设到位，是否符合精装质量标准。</a:t>
                      </a:r>
                    </a:p>
                    <a:p>
                      <a:pPr indent="0">
                        <a:buNone/>
                      </a:pPr>
                      <a:r>
                        <a:rPr lang="zh-CN" sz="1400" b="0">
                          <a:solidFill>
                            <a:srgbClr val="000000"/>
                          </a:solidFill>
                          <a:latin typeface="+mn-ea"/>
                        </a:rPr>
                        <a:t>核实原土建暖气管线是否保压。</a:t>
                      </a:r>
                    </a:p>
                    <a:p>
                      <a:pPr indent="0">
                        <a:buNone/>
                      </a:pPr>
                      <a:r>
                        <a:rPr lang="zh-CN" sz="1400" b="0">
                          <a:solidFill>
                            <a:srgbClr val="000000"/>
                          </a:solidFill>
                          <a:latin typeface="+mn-ea"/>
                        </a:rPr>
                        <a:t>核实烟风道止回阀安装质量，核实烟风道是否存在漏烟漏气及损坏。</a:t>
                      </a:r>
                    </a:p>
                    <a:p>
                      <a:pPr indent="0">
                        <a:buNone/>
                      </a:pPr>
                      <a:r>
                        <a:rPr lang="zh-CN" sz="1400" b="0">
                          <a:solidFill>
                            <a:srgbClr val="000000"/>
                          </a:solidFill>
                          <a:latin typeface="+mn-ea"/>
                        </a:rPr>
                        <a:t>核实结构门窗质量问题。</a:t>
                      </a:r>
                    </a:p>
                    <a:p>
                      <a:pPr indent="0">
                        <a:buNone/>
                      </a:pPr>
                      <a:r>
                        <a:rPr lang="zh-CN" sz="1400" b="0">
                          <a:solidFill>
                            <a:srgbClr val="000000"/>
                          </a:solidFill>
                          <a:latin typeface="+mn-ea"/>
                        </a:rPr>
                        <a:t>核实入户门质量问题。</a:t>
                      </a:r>
                      <a:endParaRPr lang="zh-CN" altLang="en-US" sz="1400" b="0">
                        <a:solidFill>
                          <a:srgbClr val="000000"/>
                        </a:solidFill>
                        <a:latin typeface="+mn-ea"/>
                      </a:endParaRPr>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35585">
                <a:tc>
                  <a:txBody>
                    <a:bodyPr/>
                    <a:lstStyle/>
                    <a:p>
                      <a:pPr indent="0" algn="ctr">
                        <a:buNone/>
                      </a:pPr>
                      <a:r>
                        <a:rPr lang="en-US" sz="1400" b="0">
                          <a:solidFill>
                            <a:srgbClr val="000000"/>
                          </a:solidFill>
                          <a:latin typeface="+mn-ea"/>
                        </a:rPr>
                        <a:t>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给水管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235585">
                <a:tc>
                  <a:txBody>
                    <a:bodyPr/>
                    <a:lstStyle/>
                    <a:p>
                      <a:pPr indent="0" algn="ctr">
                        <a:buNone/>
                      </a:pPr>
                      <a:r>
                        <a:rPr lang="en-US" sz="1400" b="0">
                          <a:solidFill>
                            <a:srgbClr val="000000"/>
                          </a:solidFill>
                          <a:latin typeface="+mn-ea"/>
                        </a:rPr>
                        <a:t>3</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排水管线</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235585">
                <a:tc>
                  <a:txBody>
                    <a:bodyPr/>
                    <a:lstStyle/>
                    <a:p>
                      <a:pPr indent="0" algn="ctr">
                        <a:buNone/>
                      </a:pPr>
                      <a:r>
                        <a:rPr lang="en-US" sz="1400" b="0">
                          <a:solidFill>
                            <a:srgbClr val="000000"/>
                          </a:solidFill>
                          <a:latin typeface="+mn-ea"/>
                        </a:rPr>
                        <a:t>4</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给排水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70840">
                <a:tc>
                  <a:txBody>
                    <a:bodyPr/>
                    <a:lstStyle/>
                    <a:p>
                      <a:pPr indent="0" algn="ctr">
                        <a:buNone/>
                      </a:pPr>
                      <a:r>
                        <a:rPr lang="en-US" sz="1400" b="0">
                          <a:solidFill>
                            <a:srgbClr val="000000"/>
                          </a:solidFill>
                          <a:latin typeface="+mn-ea"/>
                        </a:rPr>
                        <a:t>5</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暖气管线及压力</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70205">
                <a:tc>
                  <a:txBody>
                    <a:bodyPr/>
                    <a:lstStyle/>
                    <a:p>
                      <a:pPr indent="0" algn="ctr">
                        <a:buNone/>
                      </a:pPr>
                      <a:r>
                        <a:rPr lang="en-US" sz="1400" b="0">
                          <a:solidFill>
                            <a:srgbClr val="000000"/>
                          </a:solidFill>
                          <a:latin typeface="+mn-ea"/>
                        </a:rPr>
                        <a:t>6</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强电管线及电箱</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70205">
                <a:tc>
                  <a:txBody>
                    <a:bodyPr/>
                    <a:lstStyle/>
                    <a:p>
                      <a:pPr indent="0" algn="ctr">
                        <a:buNone/>
                      </a:pPr>
                      <a:r>
                        <a:rPr lang="en-US" sz="1400" b="0">
                          <a:solidFill>
                            <a:srgbClr val="000000"/>
                          </a:solidFill>
                          <a:latin typeface="+mn-ea"/>
                        </a:rPr>
                        <a:t>7</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弱电管线及电箱</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70840">
                <a:tc>
                  <a:txBody>
                    <a:bodyPr/>
                    <a:lstStyle/>
                    <a:p>
                      <a:pPr indent="0" algn="ctr">
                        <a:buNone/>
                      </a:pPr>
                      <a:r>
                        <a:rPr lang="en-US" sz="1400" b="0">
                          <a:solidFill>
                            <a:srgbClr val="000000"/>
                          </a:solidFill>
                          <a:latin typeface="+mn-ea"/>
                        </a:rPr>
                        <a:t>8</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强弱电点位预留</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235585">
                <a:tc>
                  <a:txBody>
                    <a:bodyPr/>
                    <a:lstStyle/>
                    <a:p>
                      <a:pPr indent="0" algn="ctr">
                        <a:buNone/>
                      </a:pPr>
                      <a:r>
                        <a:rPr lang="en-US" sz="1400" b="0">
                          <a:solidFill>
                            <a:srgbClr val="000000"/>
                          </a:solidFill>
                          <a:latin typeface="+mn-ea"/>
                        </a:rPr>
                        <a:t>9</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烟风道</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238760">
                <a:tc>
                  <a:txBody>
                    <a:bodyPr/>
                    <a:lstStyle/>
                    <a:p>
                      <a:pPr indent="0" algn="ctr">
                        <a:buNone/>
                      </a:pPr>
                      <a:r>
                        <a:rPr lang="en-US" sz="1400" b="0">
                          <a:solidFill>
                            <a:srgbClr val="000000"/>
                          </a:solidFill>
                          <a:latin typeface="+mn-ea"/>
                        </a:rPr>
                        <a:t>10</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幕墙门窗</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235585">
                <a:tc>
                  <a:txBody>
                    <a:bodyPr/>
                    <a:lstStyle/>
                    <a:p>
                      <a:pPr indent="0" algn="ctr">
                        <a:buNone/>
                      </a:pPr>
                      <a:r>
                        <a:rPr lang="en-US" sz="1400" b="0">
                          <a:solidFill>
                            <a:srgbClr val="000000"/>
                          </a:solidFill>
                          <a:latin typeface="+mn-ea"/>
                        </a:rPr>
                        <a:t>1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入户门</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12"/>
                  </a:ext>
                </a:extLst>
              </a:tr>
              <a:tr h="236220">
                <a:tc rowSpan="2">
                  <a:txBody>
                    <a:bodyPr/>
                    <a:lstStyle/>
                    <a:p>
                      <a:pPr indent="0" algn="ctr">
                        <a:buNone/>
                      </a:pPr>
                      <a:r>
                        <a:rPr lang="zh-CN" sz="1400" b="1">
                          <a:solidFill>
                            <a:srgbClr val="000000"/>
                          </a:solidFill>
                          <a:latin typeface="+mn-ea"/>
                        </a:rPr>
                        <a:t>验收</a:t>
                      </a:r>
                    </a:p>
                    <a:p>
                      <a:pPr indent="0" algn="ctr">
                        <a:buNone/>
                      </a:pPr>
                      <a:r>
                        <a:rPr lang="zh-CN" sz="1400" b="1">
                          <a:solidFill>
                            <a:srgbClr val="000000"/>
                          </a:solidFill>
                          <a:latin typeface="+mn-ea"/>
                        </a:rPr>
                        <a:t>会签</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400" b="0">
                          <a:solidFill>
                            <a:srgbClr val="000000"/>
                          </a:solidFill>
                          <a:latin typeface="+mn-ea"/>
                        </a:rPr>
                        <a:t>移交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2">
                  <a:txBody>
                    <a:bodyPr/>
                    <a:lstStyle/>
                    <a:p>
                      <a:pPr indent="0" algn="ctr">
                        <a:buNone/>
                      </a:pPr>
                      <a:r>
                        <a:rPr lang="zh-CN" sz="1400" b="0">
                          <a:solidFill>
                            <a:srgbClr val="000000"/>
                          </a:solidFill>
                          <a:latin typeface="+mn-ea"/>
                        </a:rPr>
                        <a:t>接收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2">
                  <a:txBody>
                    <a:bodyPr/>
                    <a:lstStyle/>
                    <a:p>
                      <a:pPr indent="0" algn="ctr">
                        <a:buNone/>
                      </a:pPr>
                      <a:r>
                        <a:rPr lang="zh-CN" sz="1400" b="0">
                          <a:solidFill>
                            <a:srgbClr val="000000"/>
                          </a:solidFill>
                          <a:latin typeface="+mn-ea"/>
                        </a:rPr>
                        <a:t>甲方项目部专业负责人</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40386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bl>
          </a:graphicData>
        </a:graphic>
      </p:graphicFrame>
    </p:spTree>
  </p:cSld>
  <p:clrMapOvr>
    <a:masterClrMapping/>
  </p:clrMapOvr>
  <p:transition>
    <p:zoom dir="in"/>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sym typeface="+mn-ea"/>
              </a:rPr>
              <a:t>五</a:t>
            </a:r>
            <a:r>
              <a:rPr lang="zh-CN" altLang="en-US" sz="2000" b="1" dirty="0" smtClean="0">
                <a:solidFill>
                  <a:srgbClr val="F64C31"/>
                </a:solidFill>
                <a:cs typeface="+mn-ea"/>
                <a:sym typeface="+mn-ea"/>
              </a:rPr>
              <a:t>、精装过程</a:t>
            </a:r>
            <a:endParaRPr lang="en-US" altLang="zh-CN" sz="2000" b="1" dirty="0">
              <a:cs typeface="+mn-ea"/>
            </a:endParaRPr>
          </a:p>
        </p:txBody>
      </p:sp>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1.2  精装点位核验单</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aphicFrame>
        <p:nvGraphicFramePr>
          <p:cNvPr id="2" name="表格 1"/>
          <p:cNvGraphicFramePr/>
          <p:nvPr/>
        </p:nvGraphicFramePr>
        <p:xfrm>
          <a:off x="684530" y="1323340"/>
          <a:ext cx="10963910" cy="5240020"/>
        </p:xfrm>
        <a:graphic>
          <a:graphicData uri="http://schemas.openxmlformats.org/drawingml/2006/table">
            <a:tbl>
              <a:tblPr firstRow="1" bandRow="1">
                <a:tableStyleId>{5C22544A-7EE6-4342-B048-85BDC9FD1C3A}</a:tableStyleId>
              </a:tblPr>
              <a:tblGrid>
                <a:gridCol w="934085">
                  <a:extLst>
                    <a:ext uri="{9D8B030D-6E8A-4147-A177-3AD203B41FA5}">
                      <a16:colId xmlns:a16="http://schemas.microsoft.com/office/drawing/2014/main" val="20000"/>
                    </a:ext>
                  </a:extLst>
                </a:gridCol>
                <a:gridCol w="1290320">
                  <a:extLst>
                    <a:ext uri="{9D8B030D-6E8A-4147-A177-3AD203B41FA5}">
                      <a16:colId xmlns:a16="http://schemas.microsoft.com/office/drawing/2014/main" val="20001"/>
                    </a:ext>
                  </a:extLst>
                </a:gridCol>
                <a:gridCol w="1536065">
                  <a:extLst>
                    <a:ext uri="{9D8B030D-6E8A-4147-A177-3AD203B41FA5}">
                      <a16:colId xmlns:a16="http://schemas.microsoft.com/office/drawing/2014/main" val="20002"/>
                    </a:ext>
                  </a:extLst>
                </a:gridCol>
                <a:gridCol w="1761490">
                  <a:extLst>
                    <a:ext uri="{9D8B030D-6E8A-4147-A177-3AD203B41FA5}">
                      <a16:colId xmlns:a16="http://schemas.microsoft.com/office/drawing/2014/main" val="20003"/>
                    </a:ext>
                  </a:extLst>
                </a:gridCol>
                <a:gridCol w="1085215">
                  <a:extLst>
                    <a:ext uri="{9D8B030D-6E8A-4147-A177-3AD203B41FA5}">
                      <a16:colId xmlns:a16="http://schemas.microsoft.com/office/drawing/2014/main" val="20004"/>
                    </a:ext>
                  </a:extLst>
                </a:gridCol>
                <a:gridCol w="1536065">
                  <a:extLst>
                    <a:ext uri="{9D8B030D-6E8A-4147-A177-3AD203B41FA5}">
                      <a16:colId xmlns:a16="http://schemas.microsoft.com/office/drawing/2014/main" val="20005"/>
                    </a:ext>
                  </a:extLst>
                </a:gridCol>
                <a:gridCol w="2820670">
                  <a:extLst>
                    <a:ext uri="{9D8B030D-6E8A-4147-A177-3AD203B41FA5}">
                      <a16:colId xmlns:a16="http://schemas.microsoft.com/office/drawing/2014/main" val="20006"/>
                    </a:ext>
                  </a:extLst>
                </a:gridCol>
              </a:tblGrid>
              <a:tr h="354965">
                <a:tc>
                  <a:txBody>
                    <a:bodyPr/>
                    <a:lstStyle/>
                    <a:p>
                      <a:pPr indent="0">
                        <a:buNone/>
                      </a:pPr>
                      <a:r>
                        <a:rPr lang="zh-CN" sz="1400" b="1">
                          <a:solidFill>
                            <a:srgbClr val="000000"/>
                          </a:solidFill>
                          <a:latin typeface="+mn-ea"/>
                        </a:rPr>
                        <a:t>工程名称：</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楼栋标段：</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精装单位：</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680">
                <a:tc>
                  <a:txBody>
                    <a:bodyPr/>
                    <a:lstStyle/>
                    <a:p>
                      <a:pPr indent="0" algn="ctr">
                        <a:buNone/>
                      </a:pPr>
                      <a:r>
                        <a:rPr lang="zh-CN" sz="1400" b="1">
                          <a:solidFill>
                            <a:srgbClr val="000000"/>
                          </a:solidFill>
                          <a:latin typeface="+mn-ea"/>
                        </a:rPr>
                        <a:t>序号</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内容</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部位</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土建预留情况</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与精装差异</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1">
                          <a:solidFill>
                            <a:srgbClr val="000000"/>
                          </a:solidFill>
                          <a:latin typeface="+mn-ea"/>
                        </a:rPr>
                        <a:t>点位影像</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备注</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4800">
                <a:tc>
                  <a:txBody>
                    <a:bodyPr/>
                    <a:lstStyle/>
                    <a:p>
                      <a:pPr indent="0" algn="ctr">
                        <a:buNone/>
                      </a:pPr>
                      <a:r>
                        <a:rPr lang="en-US" sz="1400" b="0">
                          <a:solidFill>
                            <a:srgbClr val="000000"/>
                          </a:solidFill>
                          <a:latin typeface="+mn-ea"/>
                        </a:rPr>
                        <a:t>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给水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1">
                  <a:txBody>
                    <a:bodyPr/>
                    <a:lstStyle/>
                    <a:p>
                      <a:pPr indent="0">
                        <a:buNone/>
                      </a:pPr>
                      <a:r>
                        <a:rPr lang="zh-CN" sz="1400" b="0">
                          <a:solidFill>
                            <a:srgbClr val="000000"/>
                          </a:solidFill>
                          <a:latin typeface="+mn-ea"/>
                        </a:rPr>
                        <a:t>核实原土建预留点位是否到位，核实已有点位与精装设计点位是否相符，是否有缺失，尺寸位置是否符合规范及使用需求。</a:t>
                      </a:r>
                    </a:p>
                    <a:p>
                      <a:pPr indent="0">
                        <a:buNone/>
                      </a:pPr>
                      <a:endParaRPr lang="zh-CN" altLang="en-US" sz="1400" b="0">
                        <a:solidFill>
                          <a:srgbClr val="000000"/>
                        </a:solidFill>
                        <a:latin typeface="+mn-ea"/>
                      </a:endParaRPr>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4800">
                <a:tc>
                  <a:txBody>
                    <a:bodyPr/>
                    <a:lstStyle/>
                    <a:p>
                      <a:pPr indent="0" algn="ctr">
                        <a:buNone/>
                      </a:pPr>
                      <a:r>
                        <a:rPr lang="en-US" sz="1400" b="0">
                          <a:solidFill>
                            <a:srgbClr val="000000"/>
                          </a:solidFill>
                          <a:latin typeface="+mn-ea"/>
                        </a:rPr>
                        <a:t>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排水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360680">
                <a:tc>
                  <a:txBody>
                    <a:bodyPr/>
                    <a:lstStyle/>
                    <a:p>
                      <a:pPr indent="0" algn="ctr">
                        <a:buNone/>
                      </a:pPr>
                      <a:r>
                        <a:rPr lang="en-US" sz="1400" b="0">
                          <a:solidFill>
                            <a:srgbClr val="000000"/>
                          </a:solidFill>
                          <a:latin typeface="+mn-ea"/>
                        </a:rPr>
                        <a:t>3</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强电插座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360680">
                <a:tc>
                  <a:txBody>
                    <a:bodyPr/>
                    <a:lstStyle/>
                    <a:p>
                      <a:pPr indent="0" algn="ctr">
                        <a:buNone/>
                      </a:pPr>
                      <a:r>
                        <a:rPr lang="en-US" sz="1400" b="0">
                          <a:solidFill>
                            <a:srgbClr val="000000"/>
                          </a:solidFill>
                          <a:latin typeface="+mn-ea"/>
                        </a:rPr>
                        <a:t>4</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弱电插座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04800">
                <a:tc>
                  <a:txBody>
                    <a:bodyPr/>
                    <a:lstStyle/>
                    <a:p>
                      <a:pPr indent="0" algn="ctr">
                        <a:buNone/>
                      </a:pPr>
                      <a:r>
                        <a:rPr lang="en-US" sz="1400" b="0">
                          <a:solidFill>
                            <a:srgbClr val="000000"/>
                          </a:solidFill>
                          <a:latin typeface="+mn-ea"/>
                        </a:rPr>
                        <a:t>5</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开关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04800">
                <a:tc>
                  <a:txBody>
                    <a:bodyPr/>
                    <a:lstStyle/>
                    <a:p>
                      <a:pPr indent="0" algn="ctr">
                        <a:buNone/>
                      </a:pPr>
                      <a:r>
                        <a:rPr lang="en-US" sz="1400" b="0">
                          <a:solidFill>
                            <a:srgbClr val="000000"/>
                          </a:solidFill>
                          <a:latin typeface="+mn-ea"/>
                        </a:rPr>
                        <a:t>6</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强电控制箱</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04800">
                <a:tc>
                  <a:txBody>
                    <a:bodyPr/>
                    <a:lstStyle/>
                    <a:p>
                      <a:pPr indent="0" algn="ctr">
                        <a:buNone/>
                      </a:pPr>
                      <a:r>
                        <a:rPr lang="en-US" sz="1400" b="0">
                          <a:solidFill>
                            <a:srgbClr val="000000"/>
                          </a:solidFill>
                          <a:latin typeface="+mn-ea"/>
                        </a:rPr>
                        <a:t>7</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弱电控制箱</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04800">
                <a:tc>
                  <a:txBody>
                    <a:bodyPr/>
                    <a:lstStyle/>
                    <a:p>
                      <a:pPr indent="0" algn="ctr">
                        <a:buNone/>
                      </a:pPr>
                      <a:r>
                        <a:rPr lang="en-US" sz="1400" b="0">
                          <a:solidFill>
                            <a:srgbClr val="000000"/>
                          </a:solidFill>
                          <a:latin typeface="+mn-ea"/>
                        </a:rPr>
                        <a:t>8</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卫生间地漏</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361315">
                <a:tc>
                  <a:txBody>
                    <a:bodyPr/>
                    <a:lstStyle/>
                    <a:p>
                      <a:pPr indent="0" algn="ctr">
                        <a:buNone/>
                      </a:pPr>
                      <a:r>
                        <a:rPr lang="en-US" sz="1400" b="0">
                          <a:solidFill>
                            <a:srgbClr val="000000"/>
                          </a:solidFill>
                          <a:latin typeface="+mn-ea"/>
                        </a:rPr>
                        <a:t>9</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暖气预留点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304800">
                <a:tc>
                  <a:txBody>
                    <a:bodyPr/>
                    <a:lstStyle/>
                    <a:p>
                      <a:pPr indent="0" algn="ctr">
                        <a:buNone/>
                      </a:pPr>
                      <a:r>
                        <a:rPr lang="en-US" sz="1400" b="0">
                          <a:solidFill>
                            <a:srgbClr val="000000"/>
                          </a:solidFill>
                          <a:latin typeface="+mn-ea"/>
                        </a:rPr>
                        <a:t>10</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门窗洞口</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304800">
                <a:tc>
                  <a:txBody>
                    <a:bodyPr/>
                    <a:lstStyle/>
                    <a:p>
                      <a:pPr indent="0" algn="ctr">
                        <a:buNone/>
                      </a:pPr>
                      <a:r>
                        <a:rPr lang="en-US" sz="1400" b="0">
                          <a:solidFill>
                            <a:srgbClr val="000000"/>
                          </a:solidFill>
                          <a:latin typeface="+mn-ea"/>
                        </a:rPr>
                        <a:t>1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空调洞口</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12"/>
                  </a:ext>
                </a:extLst>
              </a:tr>
              <a:tr h="304800">
                <a:tc>
                  <a:txBody>
                    <a:bodyPr/>
                    <a:lstStyle/>
                    <a:p>
                      <a:pPr indent="0" algn="ctr">
                        <a:buNone/>
                      </a:pPr>
                      <a:r>
                        <a:rPr lang="en-US" sz="1400" b="0">
                          <a:solidFill>
                            <a:srgbClr val="000000"/>
                          </a:solidFill>
                          <a:latin typeface="+mn-ea"/>
                        </a:rPr>
                        <a:t>1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空调插座</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04800">
                <a:tc rowSpan="2">
                  <a:txBody>
                    <a:bodyPr/>
                    <a:lstStyle/>
                    <a:p>
                      <a:pPr indent="0" algn="ctr">
                        <a:buNone/>
                      </a:pPr>
                      <a:r>
                        <a:rPr lang="zh-CN" sz="1400" b="1">
                          <a:solidFill>
                            <a:srgbClr val="000000"/>
                          </a:solidFill>
                          <a:latin typeface="+mn-ea"/>
                        </a:rPr>
                        <a:t>验收</a:t>
                      </a:r>
                    </a:p>
                    <a:p>
                      <a:pPr indent="0" algn="ctr">
                        <a:buNone/>
                      </a:pPr>
                      <a:r>
                        <a:rPr lang="zh-CN" sz="1400" b="1">
                          <a:solidFill>
                            <a:srgbClr val="000000"/>
                          </a:solidFill>
                          <a:latin typeface="+mn-ea"/>
                        </a:rPr>
                        <a:t>会签</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400" b="0">
                          <a:solidFill>
                            <a:srgbClr val="000000"/>
                          </a:solidFill>
                          <a:latin typeface="+mn-ea"/>
                        </a:rPr>
                        <a:t>精装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400" b="0">
                          <a:solidFill>
                            <a:srgbClr val="000000"/>
                          </a:solidFill>
                          <a:latin typeface="+mn-ea"/>
                        </a:rPr>
                        <a:t>甲方项目部专业负责人</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39370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bl>
          </a:graphicData>
        </a:graphic>
      </p:graphicFrame>
    </p:spTree>
  </p:cSld>
  <p:clrMapOvr>
    <a:masterClrMapping/>
  </p:clrMapOvr>
  <p:transition>
    <p:zoom dir="in"/>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8207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2</a:t>
            </a:r>
            <a:r>
              <a:rPr lang="zh-CN" altLang="en-US" sz="1800" b="1" dirty="0" smtClean="0">
                <a:solidFill>
                  <a:srgbClr val="000000"/>
                </a:solidFill>
                <a:cs typeface="+mn-ea"/>
              </a:rPr>
              <a:t>、样板引路</a:t>
            </a:r>
            <a:endParaRPr lang="en-US" altLang="zh-CN" sz="1800" b="1" dirty="0" smtClean="0">
              <a:solidFill>
                <a:srgbClr val="000000"/>
              </a:solidFill>
              <a:cs typeface="+mn-ea"/>
              <a:sym typeface="+mn-ea"/>
            </a:endParaRPr>
          </a:p>
        </p:txBody>
      </p:sp>
      <p:sp>
        <p:nvSpPr>
          <p:cNvPr id="6" name="文本框 5"/>
          <p:cNvSpPr txBox="1"/>
          <p:nvPr/>
        </p:nvSpPr>
        <p:spPr>
          <a:xfrm>
            <a:off x="684530" y="1666875"/>
            <a:ext cx="10690225" cy="461581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1</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工序工法展示：严格执行技术交底做法，实体展示各个工序实操做法，明确工序质量要求。</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a:t>
            </a:r>
            <a:r>
              <a:rPr lang="zh-CN" altLang="en-US" sz="1400" b="1" dirty="0" smtClean="0">
                <a:solidFill>
                  <a:srgbClr val="000000"/>
                </a:solidFill>
                <a:latin typeface="+mn-ea"/>
                <a:cs typeface="+mn-ea"/>
                <a:sym typeface="+mn-ea"/>
              </a:rPr>
              <a:t>交付样板：</a:t>
            </a:r>
            <a:r>
              <a:rPr lang="zh-CN" altLang="en-US" sz="1400" dirty="0" smtClean="0">
                <a:solidFill>
                  <a:srgbClr val="000000"/>
                </a:solidFill>
                <a:latin typeface="+mn-ea"/>
                <a:cs typeface="+mn-ea"/>
                <a:sym typeface="+mn-ea"/>
              </a:rPr>
              <a:t>依据精装设计要求，以实体户型进行精装施工，并达到交付标准。</a:t>
            </a:r>
          </a:p>
          <a:p>
            <a:pPr>
              <a:lnSpc>
                <a:spcPct val="150000"/>
              </a:lnSpc>
            </a:pPr>
            <a:r>
              <a:rPr lang="en-US" altLang="zh-CN" sz="1400" dirty="0" smtClean="0">
                <a:solidFill>
                  <a:srgbClr val="000000"/>
                </a:solidFill>
                <a:latin typeface="+mn-ea"/>
                <a:cs typeface="+mn-ea"/>
                <a:sym typeface="+mn-ea"/>
              </a:rPr>
              <a:t>       </a:t>
            </a:r>
            <a:r>
              <a:rPr lang="zh-CN" altLang="en-US" sz="1400" dirty="0" smtClean="0">
                <a:solidFill>
                  <a:srgbClr val="000000"/>
                </a:solidFill>
                <a:latin typeface="+mn-ea"/>
                <a:cs typeface="+mn-ea"/>
                <a:sym typeface="+mn-ea"/>
              </a:rPr>
              <a:t>如因生产加工时间过长，或者成本较高等等原因，现场可使用板材或者其他材料做等比例模型模拟安装，以便样板点评时的空间、功能性以及观感的验收点评。</a:t>
            </a:r>
            <a:r>
              <a:rPr lang="zh-CN" sz="1400" dirty="0" smtClean="0">
                <a:solidFill>
                  <a:srgbClr val="000000"/>
                </a:solidFill>
                <a:latin typeface="+mn-ea"/>
                <a:cs typeface="+mn-ea"/>
                <a:sym typeface="+mn-ea"/>
              </a:rPr>
              <a:t>实体展示精装设计效果，梳理施工过程技术难点，通过各部门点评确认功能质量及观感质量。      </a:t>
            </a:r>
          </a:p>
          <a:p>
            <a:pPr>
              <a:lnSpc>
                <a:spcPct val="150000"/>
              </a:lnSpc>
            </a:pPr>
            <a:endParaRPr lang="zh-CN" altLang="en-US" sz="1400" b="1" dirty="0" smtClean="0">
              <a:solidFill>
                <a:srgbClr val="000000"/>
              </a:solidFill>
              <a:latin typeface="+mn-ea"/>
              <a:cs typeface="+mn-ea"/>
            </a:endParaRPr>
          </a:p>
          <a:p>
            <a:pPr>
              <a:lnSpc>
                <a:spcPct val="150000"/>
              </a:lnSpc>
            </a:pPr>
            <a:endParaRPr lang="zh-CN" altLang="en-US" sz="1400" b="1" dirty="0" smtClean="0">
              <a:solidFill>
                <a:srgbClr val="000000"/>
              </a:solidFill>
              <a:latin typeface="+mn-ea"/>
              <a:cs typeface="+mn-ea"/>
            </a:endParaRP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提前解决施工技术难点降低大批量施工技术难度。</a:t>
            </a:r>
          </a:p>
          <a:p>
            <a:pPr>
              <a:lnSpc>
                <a:spcPct val="150000"/>
              </a:lnSpc>
            </a:pPr>
            <a:r>
              <a:rPr lang="zh-CN" altLang="en-US" sz="1400" dirty="0" smtClean="0">
                <a:solidFill>
                  <a:srgbClr val="000000"/>
                </a:solidFill>
                <a:latin typeface="+mn-ea"/>
                <a:cs typeface="+mn-ea"/>
              </a:rPr>
              <a:t>      规避设计功能缺陷，观感质量不足，</a:t>
            </a:r>
            <a:r>
              <a:rPr lang="en-US" altLang="zh-CN" sz="1400" dirty="0">
                <a:solidFill>
                  <a:srgbClr val="000000"/>
                </a:solidFill>
                <a:latin typeface="+mn-ea"/>
                <a:cs typeface="+mn-ea"/>
              </a:rPr>
              <a:t> </a:t>
            </a:r>
            <a:r>
              <a:rPr lang="zh-CN" altLang="en-US" sz="1400" dirty="0">
                <a:solidFill>
                  <a:srgbClr val="000000"/>
                </a:solidFill>
                <a:latin typeface="+mn-ea"/>
                <a:cs typeface="+mn-ea"/>
              </a:rPr>
              <a:t>提供精装品质，减少交付风险。</a:t>
            </a:r>
          </a:p>
          <a:p>
            <a:pPr>
              <a:lnSpc>
                <a:spcPct val="150000"/>
              </a:lnSpc>
            </a:pPr>
            <a:r>
              <a:rPr lang="en-US" altLang="zh-CN" sz="1400" dirty="0" smtClean="0">
                <a:latin typeface="+mn-ea"/>
                <a:cs typeface="+mn-ea"/>
                <a:sym typeface="+mn-ea"/>
              </a:rPr>
              <a:t>      1</a:t>
            </a:r>
            <a:r>
              <a:rPr lang="zh-CN" altLang="zh-CN" sz="1400" dirty="0">
                <a:latin typeface="+mn-ea"/>
                <a:cs typeface="+mn-ea"/>
                <a:sym typeface="+mn-ea"/>
              </a:rPr>
              <a:t>、样板完成后需相关认可签字，样板未完成验收确认之前，不允许展开大面积施工。</a:t>
            </a:r>
            <a:endParaRPr lang="zh-CN" altLang="zh-CN" sz="1400" dirty="0">
              <a:latin typeface="+mn-ea"/>
              <a:cs typeface="+mn-ea"/>
            </a:endParaRPr>
          </a:p>
          <a:p>
            <a:pPr>
              <a:lnSpc>
                <a:spcPct val="150000"/>
              </a:lnSpc>
            </a:pPr>
            <a:r>
              <a:rPr lang="en-US" altLang="zh-CN" sz="1400" dirty="0" smtClean="0">
                <a:latin typeface="+mn-ea"/>
                <a:cs typeface="+mn-ea"/>
                <a:sym typeface="+mn-ea"/>
              </a:rPr>
              <a:t>      2</a:t>
            </a:r>
            <a:r>
              <a:rPr lang="zh-CN" altLang="zh-CN" sz="1400" dirty="0">
                <a:latin typeface="+mn-ea"/>
                <a:cs typeface="+mn-ea"/>
                <a:sym typeface="+mn-ea"/>
              </a:rPr>
              <a:t>、样板房验收评定验收意见作为调整样板房施工图纸和批量施工图设计依据。</a:t>
            </a:r>
            <a:endParaRPr lang="en-US" altLang="zh-CN" sz="1400" dirty="0">
              <a:solidFill>
                <a:srgbClr val="000000"/>
              </a:solidFill>
              <a:latin typeface="+mn-ea"/>
              <a:cs typeface="+mn-ea"/>
            </a:endParaRPr>
          </a:p>
          <a:p>
            <a:pPr>
              <a:lnSpc>
                <a:spcPct val="150000"/>
              </a:lnSpc>
            </a:pPr>
            <a:endParaRPr lang="en-US" altLang="zh-CN" sz="1400" dirty="0" smtClean="0">
              <a:solidFill>
                <a:srgbClr val="000000"/>
              </a:solidFill>
              <a:latin typeface="+mn-ea"/>
              <a:cs typeface="+mn-ea"/>
            </a:endParaRPr>
          </a:p>
          <a:p>
            <a:pPr>
              <a:lnSpc>
                <a:spcPct val="150000"/>
              </a:lnSpc>
            </a:pPr>
            <a:r>
              <a:rPr lang="en-US" altLang="zh-CN" sz="1400" dirty="0">
                <a:solidFill>
                  <a:srgbClr val="000000"/>
                </a:solidFill>
                <a:latin typeface="+mn-ea"/>
                <a:cs typeface="+mn-ea"/>
                <a:sym typeface="+mn-ea"/>
              </a:rPr>
              <a:t> </a:t>
            </a:r>
            <a:r>
              <a:rPr lang="en-US" altLang="zh-CN" sz="1400" dirty="0" smtClean="0">
                <a:solidFill>
                  <a:srgbClr val="000000"/>
                </a:solidFill>
                <a:latin typeface="+mn-ea"/>
                <a:cs typeface="+mn-ea"/>
                <a:sym typeface="+mn-ea"/>
              </a:rPr>
              <a:t>     </a:t>
            </a:r>
            <a:r>
              <a:rPr lang="zh-CN" altLang="en-US" sz="1400" b="1" dirty="0" smtClean="0">
                <a:solidFill>
                  <a:srgbClr val="000000"/>
                </a:solidFill>
                <a:latin typeface="+mn-ea"/>
                <a:cs typeface="+mn-ea"/>
                <a:sym typeface="+mn-ea"/>
              </a:rPr>
              <a:t>优化设计，完善品质。</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2-1</a:t>
            </a:r>
            <a:r>
              <a:rPr lang="zh-CN" altLang="en-US" sz="1800" b="1" dirty="0">
                <a:solidFill>
                  <a:srgbClr val="000000"/>
                </a:solidFill>
                <a:cs typeface="+mn-ea"/>
              </a:rPr>
              <a:t>：</a:t>
            </a:r>
            <a:r>
              <a:rPr lang="zh-CN" altLang="en-US" sz="1800" b="1" dirty="0" smtClean="0">
                <a:solidFill>
                  <a:srgbClr val="000000"/>
                </a:solidFill>
                <a:cs typeface="+mn-ea"/>
              </a:rPr>
              <a:t>工序工法样板</a:t>
            </a:r>
            <a:endParaRPr lang="zh-CN" altLang="en-US"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28" name="图片 27" descr="微信图片_20180302115128"/>
          <p:cNvPicPr>
            <a:picLocks noChangeAspect="1"/>
          </p:cNvPicPr>
          <p:nvPr/>
        </p:nvPicPr>
        <p:blipFill>
          <a:blip r:embed="rId2"/>
          <a:stretch>
            <a:fillRect/>
          </a:stretch>
        </p:blipFill>
        <p:spPr>
          <a:xfrm>
            <a:off x="5697855" y="4063365"/>
            <a:ext cx="5609590" cy="243522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29" name="图片 28" descr="微信图片_20180302115139"/>
          <p:cNvPicPr>
            <a:picLocks noChangeAspect="1"/>
          </p:cNvPicPr>
          <p:nvPr/>
        </p:nvPicPr>
        <p:blipFill>
          <a:blip r:embed="rId3"/>
          <a:stretch>
            <a:fillRect/>
          </a:stretch>
        </p:blipFill>
        <p:spPr>
          <a:xfrm>
            <a:off x="5697220" y="1503680"/>
            <a:ext cx="5610225" cy="240284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文本框 5"/>
          <p:cNvSpPr txBox="1"/>
          <p:nvPr/>
        </p:nvSpPr>
        <p:spPr>
          <a:xfrm>
            <a:off x="684530" y="3585845"/>
            <a:ext cx="4500880" cy="267652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艺工法：</a:t>
            </a:r>
            <a:r>
              <a:rPr lang="zh-CN" altLang="en-US" sz="1400" dirty="0" smtClean="0">
                <a:solidFill>
                  <a:srgbClr val="000000"/>
                </a:solidFill>
                <a:latin typeface="+mn-ea"/>
                <a:cs typeface="+mn-ea"/>
              </a:rPr>
              <a:t>墙、顶面基层，涂饰面层。</a:t>
            </a:r>
          </a:p>
          <a:p>
            <a:pPr>
              <a:lnSpc>
                <a:spcPct val="150000"/>
              </a:lnSpc>
            </a:pPr>
            <a:r>
              <a:rPr lang="zh-CN" altLang="en-US" sz="1400" dirty="0" smtClean="0">
                <a:solidFill>
                  <a:srgbClr val="000000"/>
                </a:solidFill>
                <a:latin typeface="+mn-ea"/>
                <a:cs typeface="+mn-ea"/>
              </a:rPr>
              <a:t>                 卧室找平，木地板铺装</a:t>
            </a:r>
            <a:endParaRPr lang="en-US" altLang="zh-CN" sz="1400" dirty="0" smtClean="0">
              <a:solidFill>
                <a:srgbClr val="000000"/>
              </a:solidFill>
              <a:latin typeface="+mn-ea"/>
              <a:cs typeface="+mn-ea"/>
            </a:endParaRPr>
          </a:p>
          <a:p>
            <a:pPr>
              <a:lnSpc>
                <a:spcPct val="150000"/>
              </a:lnSpc>
            </a:pPr>
            <a:endParaRPr lang="en-US" altLang="zh-CN" sz="1400" b="1" dirty="0">
              <a:solidFill>
                <a:srgbClr val="000000"/>
              </a:solidFill>
              <a:latin typeface="+mn-ea"/>
              <a:cs typeface="+mn-ea"/>
            </a:endParaRPr>
          </a:p>
          <a:p>
            <a:pPr>
              <a:lnSpc>
                <a:spcPct val="150000"/>
              </a:lnSpc>
            </a:pPr>
            <a:r>
              <a:rPr lang="zh-CN" altLang="en-US" sz="1400" b="1" dirty="0" smtClean="0">
                <a:solidFill>
                  <a:srgbClr val="000000"/>
                </a:solidFill>
                <a:latin typeface="+mn-ea"/>
                <a:cs typeface="+mn-ea"/>
              </a:rPr>
              <a:t>做法说明：</a:t>
            </a:r>
            <a:endParaRPr lang="en-US" altLang="zh-CN" sz="1400" b="1" dirty="0" smtClean="0">
              <a:solidFill>
                <a:srgbClr val="000000"/>
              </a:solidFill>
              <a:latin typeface="+mn-ea"/>
              <a:cs typeface="+mn-ea"/>
            </a:endParaRPr>
          </a:p>
          <a:p>
            <a:pPr>
              <a:lnSpc>
                <a:spcPct val="150000"/>
              </a:lnSpc>
            </a:pPr>
            <a:r>
              <a:rPr lang="zh-CN" altLang="en-US" sz="1400" dirty="0" smtClean="0">
                <a:solidFill>
                  <a:srgbClr val="000000"/>
                </a:solidFill>
                <a:latin typeface="+mn-ea"/>
                <a:cs typeface="+mn-ea"/>
              </a:rPr>
              <a:t>墙顶面基层抹灰强度，网格布防裂处理，批刮腻子厚度、平整度控制，面饰涂料或壁纸观感；</a:t>
            </a:r>
            <a:endParaRPr lang="en-US" altLang="zh-CN" sz="1400" dirty="0" smtClean="0">
              <a:solidFill>
                <a:srgbClr val="000000"/>
              </a:solidFill>
              <a:latin typeface="+mn-ea"/>
              <a:cs typeface="+mn-ea"/>
            </a:endParaRPr>
          </a:p>
          <a:p>
            <a:pPr>
              <a:lnSpc>
                <a:spcPct val="150000"/>
              </a:lnSpc>
            </a:pPr>
            <a:r>
              <a:rPr lang="zh-CN" altLang="en-US" sz="1400" dirty="0" smtClean="0">
                <a:solidFill>
                  <a:srgbClr val="000000"/>
                </a:solidFill>
                <a:latin typeface="+mn-ea"/>
                <a:cs typeface="+mn-ea"/>
              </a:rPr>
              <a:t>木地板基层找平质量（平整度、起沙），木地板铺装观感质量。     </a:t>
            </a:r>
            <a:endParaRPr lang="en-US" altLang="zh-CN" sz="1400" b="1" dirty="0">
              <a:solidFill>
                <a:srgbClr val="000000"/>
              </a:solidFill>
              <a:latin typeface="+mn-ea"/>
              <a:cs typeface="+mn-ea"/>
            </a:endParaRPr>
          </a:p>
        </p:txBody>
      </p:sp>
    </p:spTree>
  </p:cSld>
  <p:clrMapOvr>
    <a:masterClrMapping/>
  </p:clrMapOvr>
  <p:transition>
    <p:zoom dir="in"/>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2-1</a:t>
            </a:r>
            <a:r>
              <a:rPr lang="zh-CN" altLang="en-US" sz="1800" b="1" dirty="0">
                <a:solidFill>
                  <a:srgbClr val="000000"/>
                </a:solidFill>
                <a:cs typeface="+mn-ea"/>
                <a:sym typeface="+mn-ea"/>
              </a:rPr>
              <a:t>：</a:t>
            </a:r>
            <a:r>
              <a:rPr lang="zh-CN" altLang="en-US" sz="1800" b="1" dirty="0" smtClean="0">
                <a:solidFill>
                  <a:srgbClr val="000000"/>
                </a:solidFill>
                <a:cs typeface="+mn-ea"/>
                <a:sym typeface="+mn-ea"/>
              </a:rPr>
              <a:t>工序工法样板</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33" name="图片 32" descr="微信图片_20180302120437"/>
          <p:cNvPicPr>
            <a:picLocks noChangeAspect="1"/>
          </p:cNvPicPr>
          <p:nvPr/>
        </p:nvPicPr>
        <p:blipFill>
          <a:blip r:embed="rId2"/>
          <a:stretch>
            <a:fillRect/>
          </a:stretch>
        </p:blipFill>
        <p:spPr>
          <a:xfrm>
            <a:off x="827405" y="1537970"/>
            <a:ext cx="3171190" cy="237744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22532" name="图片 4"/>
          <p:cNvPicPr>
            <a:picLocks noChangeAspect="1"/>
          </p:cNvPicPr>
          <p:nvPr/>
        </p:nvPicPr>
        <p:blipFill>
          <a:blip r:embed="rId3"/>
          <a:srcRect/>
          <a:stretch>
            <a:fillRect/>
          </a:stretch>
        </p:blipFill>
        <p:spPr>
          <a:xfrm>
            <a:off x="827405" y="4082415"/>
            <a:ext cx="3171190" cy="231076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4" name="Picture 4" descr="20150815_161432"/>
          <p:cNvPicPr>
            <a:picLocks noChangeAspect="1"/>
          </p:cNvPicPr>
          <p:nvPr/>
        </p:nvPicPr>
        <p:blipFill>
          <a:blip r:embed="rId4"/>
          <a:stretch>
            <a:fillRect/>
          </a:stretch>
        </p:blipFill>
        <p:spPr>
          <a:xfrm>
            <a:off x="7030720" y="1537970"/>
            <a:ext cx="4375785" cy="237744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20485" name="Picture 4"/>
          <p:cNvPicPr>
            <a:picLocks noChangeAspect="1"/>
          </p:cNvPicPr>
          <p:nvPr/>
        </p:nvPicPr>
        <p:blipFill>
          <a:blip r:embed="rId5"/>
          <a:stretch>
            <a:fillRect/>
          </a:stretch>
        </p:blipFill>
        <p:spPr>
          <a:xfrm>
            <a:off x="7031355" y="4082415"/>
            <a:ext cx="4375150" cy="231203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文本框 5"/>
          <p:cNvSpPr txBox="1"/>
          <p:nvPr/>
        </p:nvSpPr>
        <p:spPr>
          <a:xfrm>
            <a:off x="4168775" y="3394710"/>
            <a:ext cx="2691130" cy="299974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艺工法：</a:t>
            </a:r>
            <a:r>
              <a:rPr lang="zh-CN" altLang="en-US" sz="1400" dirty="0" smtClean="0">
                <a:solidFill>
                  <a:srgbClr val="000000"/>
                </a:solidFill>
                <a:latin typeface="+mn-ea"/>
                <a:cs typeface="+mn-ea"/>
              </a:rPr>
              <a:t>电管及底盒</a:t>
            </a:r>
          </a:p>
          <a:p>
            <a:pPr>
              <a:lnSpc>
                <a:spcPct val="150000"/>
              </a:lnSpc>
            </a:pPr>
            <a:r>
              <a:rPr lang="zh-CN" altLang="en-US" sz="1400" dirty="0" smtClean="0">
                <a:solidFill>
                  <a:srgbClr val="000000"/>
                </a:solidFill>
                <a:latin typeface="+mn-ea"/>
                <a:cs typeface="+mn-ea"/>
              </a:rPr>
              <a:t>                 水管及点位</a:t>
            </a:r>
          </a:p>
          <a:p>
            <a:pPr>
              <a:lnSpc>
                <a:spcPct val="150000"/>
              </a:lnSpc>
            </a:pPr>
            <a:endParaRPr lang="en-US" altLang="zh-CN" sz="1400" dirty="0" smtClean="0">
              <a:solidFill>
                <a:srgbClr val="000000"/>
              </a:solidFill>
              <a:latin typeface="+mn-ea"/>
              <a:cs typeface="+mn-ea"/>
            </a:endParaRPr>
          </a:p>
          <a:p>
            <a:pPr>
              <a:lnSpc>
                <a:spcPct val="150000"/>
              </a:lnSpc>
            </a:pPr>
            <a:r>
              <a:rPr lang="zh-CN" altLang="en-US" sz="1400" b="1" dirty="0" smtClean="0">
                <a:solidFill>
                  <a:srgbClr val="000000"/>
                </a:solidFill>
                <a:latin typeface="+mn-ea"/>
                <a:cs typeface="+mn-ea"/>
              </a:rPr>
              <a:t>做法说明：</a:t>
            </a:r>
            <a:endParaRPr lang="en-US" altLang="zh-CN" sz="1400" b="1" dirty="0" smtClean="0">
              <a:solidFill>
                <a:srgbClr val="000000"/>
              </a:solidFill>
              <a:latin typeface="+mn-ea"/>
              <a:cs typeface="+mn-ea"/>
            </a:endParaRPr>
          </a:p>
          <a:p>
            <a:pPr>
              <a:lnSpc>
                <a:spcPct val="150000"/>
              </a:lnSpc>
            </a:pPr>
            <a:r>
              <a:rPr lang="zh-CN" altLang="en-US" sz="1400" dirty="0" smtClean="0">
                <a:solidFill>
                  <a:srgbClr val="000000"/>
                </a:solidFill>
                <a:latin typeface="+mn-ea"/>
                <a:cs typeface="+mn-ea"/>
              </a:rPr>
              <a:t>电管敷设开槽控制，线管底盒预埋牢固度，线槽抹灰抹平强度质量，点位预留标准控制。</a:t>
            </a:r>
            <a:endParaRPr lang="en-US" altLang="zh-CN" sz="1400" dirty="0" smtClean="0">
              <a:solidFill>
                <a:srgbClr val="000000"/>
              </a:solidFill>
              <a:latin typeface="+mn-ea"/>
              <a:cs typeface="+mn-ea"/>
            </a:endParaRPr>
          </a:p>
          <a:p>
            <a:pPr>
              <a:lnSpc>
                <a:spcPct val="150000"/>
              </a:lnSpc>
            </a:pPr>
            <a:r>
              <a:rPr lang="zh-CN" altLang="en-US" sz="1400" dirty="0" smtClean="0">
                <a:solidFill>
                  <a:srgbClr val="000000"/>
                </a:solidFill>
                <a:latin typeface="+mn-ea"/>
                <a:cs typeface="+mn-ea"/>
              </a:rPr>
              <a:t>给排水管线施工标准，预留接驳口标准</a:t>
            </a:r>
            <a:endParaRPr lang="en-US" altLang="zh-CN" sz="1400" b="1" dirty="0">
              <a:solidFill>
                <a:srgbClr val="000000"/>
              </a:solidFill>
              <a:latin typeface="+mn-ea"/>
              <a:cs typeface="+mn-ea"/>
            </a:endParaRPr>
          </a:p>
        </p:txBody>
      </p:sp>
    </p:spTree>
  </p:cSld>
  <p:clrMapOvr>
    <a:masterClrMapping/>
  </p:clrMapOvr>
  <p:transition>
    <p:zoom dir="in"/>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1.1</a:t>
            </a:r>
            <a:r>
              <a:rPr lang="en-US" altLang="zh-CN" sz="1800" b="1" dirty="0">
                <a:solidFill>
                  <a:srgbClr val="000000"/>
                </a:solidFill>
                <a:cs typeface="+mn-ea"/>
                <a:sym typeface="+mn-ea"/>
              </a:rPr>
              <a:t>、</a:t>
            </a:r>
            <a:r>
              <a:rPr lang="zh-CN" altLang="en-US" sz="1800" b="1" dirty="0">
                <a:solidFill>
                  <a:srgbClr val="000000"/>
                </a:solidFill>
                <a:cs typeface="+mn-ea"/>
                <a:sym typeface="+mn-ea"/>
              </a:rPr>
              <a:t>结构</a:t>
            </a:r>
            <a:r>
              <a:rPr lang="en-US" altLang="zh-CN" sz="1800" b="1" dirty="0">
                <a:solidFill>
                  <a:srgbClr val="000000"/>
                </a:solidFill>
                <a:cs typeface="+mn-ea"/>
                <a:sym typeface="+mn-ea"/>
              </a:rPr>
              <a:t>规划</a:t>
            </a:r>
            <a:r>
              <a:rPr lang="zh-CN" altLang="en-US" sz="1800" b="1" dirty="0">
                <a:solidFill>
                  <a:srgbClr val="000000"/>
                </a:solidFill>
                <a:cs typeface="+mn-ea"/>
                <a:sym typeface="+mn-ea"/>
              </a:rPr>
              <a:t>（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stretch>
            <a:fillRect/>
          </a:stretch>
        </p:blipFill>
        <p:spPr>
          <a:xfrm rot="10800000">
            <a:off x="6516933" y="1494532"/>
            <a:ext cx="4320481" cy="3616589"/>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4" name="图片 3"/>
          <p:cNvPicPr>
            <a:picLocks noChangeAspect="1"/>
          </p:cNvPicPr>
          <p:nvPr/>
        </p:nvPicPr>
        <p:blipFill>
          <a:blip r:embed="rId3"/>
          <a:stretch>
            <a:fillRect/>
          </a:stretch>
        </p:blipFill>
        <p:spPr>
          <a:xfrm>
            <a:off x="1260351" y="1496060"/>
            <a:ext cx="3960440" cy="3616588"/>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8" name="文本框 7"/>
          <p:cNvSpPr txBox="1"/>
          <p:nvPr/>
        </p:nvSpPr>
        <p:spPr>
          <a:xfrm>
            <a:off x="1260351" y="5277376"/>
            <a:ext cx="3960440" cy="1154162"/>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前</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原设计卫生间洗手台位置，空间尺寸不足无法置放洗手盆</a:t>
            </a:r>
            <a:endParaRPr lang="en-US" altLang="zh-CN" sz="1400" dirty="0">
              <a:solidFill>
                <a:srgbClr val="000000"/>
              </a:solidFill>
              <a:cs typeface="+mn-ea"/>
            </a:endParaRPr>
          </a:p>
        </p:txBody>
      </p:sp>
      <p:sp>
        <p:nvSpPr>
          <p:cNvPr id="9" name="文本框 8"/>
          <p:cNvSpPr txBox="1"/>
          <p:nvPr/>
        </p:nvSpPr>
        <p:spPr>
          <a:xfrm>
            <a:off x="6696953" y="5277376"/>
            <a:ext cx="3960440" cy="830997"/>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a:t>
            </a:r>
            <a:r>
              <a:rPr lang="zh-CN" altLang="en-US" sz="1800" b="1" dirty="0">
                <a:solidFill>
                  <a:srgbClr val="000000"/>
                </a:solidFill>
                <a:cs typeface="+mn-ea"/>
              </a:rPr>
              <a:t>后</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调整洗手盆、卫生间门位置，保证使用功能</a:t>
            </a:r>
            <a:endParaRPr lang="en-US" altLang="zh-CN" sz="1400" dirty="0">
              <a:solidFill>
                <a:srgbClr val="000000"/>
              </a:solidFill>
              <a:cs typeface="+mn-ea"/>
            </a:endParaRPr>
          </a:p>
        </p:txBody>
      </p:sp>
      <p:sp>
        <p:nvSpPr>
          <p:cNvPr id="6" name="上箭头 5"/>
          <p:cNvSpPr/>
          <p:nvPr/>
        </p:nvSpPr>
        <p:spPr>
          <a:xfrm>
            <a:off x="8890000" y="2955925"/>
            <a:ext cx="215900" cy="431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右箭头 9"/>
          <p:cNvSpPr/>
          <p:nvPr/>
        </p:nvSpPr>
        <p:spPr>
          <a:xfrm>
            <a:off x="3492500" y="2719070"/>
            <a:ext cx="360045" cy="215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2-1</a:t>
            </a:r>
            <a:r>
              <a:rPr lang="zh-CN" altLang="en-US" sz="1800" b="1" dirty="0">
                <a:solidFill>
                  <a:srgbClr val="000000"/>
                </a:solidFill>
                <a:cs typeface="+mn-ea"/>
                <a:sym typeface="+mn-ea"/>
              </a:rPr>
              <a:t>：</a:t>
            </a:r>
            <a:r>
              <a:rPr lang="zh-CN" altLang="en-US" sz="1800" b="1" dirty="0" smtClean="0">
                <a:solidFill>
                  <a:srgbClr val="000000"/>
                </a:solidFill>
                <a:cs typeface="+mn-ea"/>
                <a:sym typeface="+mn-ea"/>
              </a:rPr>
              <a:t>工序工法样板</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30" name="图片 29" descr="微信图片_20180302115146"/>
          <p:cNvPicPr>
            <a:picLocks noChangeAspect="1"/>
          </p:cNvPicPr>
          <p:nvPr/>
        </p:nvPicPr>
        <p:blipFill>
          <a:blip r:embed="rId2"/>
          <a:stretch>
            <a:fillRect/>
          </a:stretch>
        </p:blipFill>
        <p:spPr>
          <a:xfrm>
            <a:off x="6604635" y="1661160"/>
            <a:ext cx="4968240" cy="455739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31" name="图片 30" descr="微信图片_20180302115524"/>
          <p:cNvPicPr>
            <a:picLocks noChangeAspect="1"/>
          </p:cNvPicPr>
          <p:nvPr/>
        </p:nvPicPr>
        <p:blipFill>
          <a:blip r:embed="rId3"/>
          <a:stretch>
            <a:fillRect/>
          </a:stretch>
        </p:blipFill>
        <p:spPr>
          <a:xfrm>
            <a:off x="3168015" y="4398645"/>
            <a:ext cx="3221355" cy="181991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3" name="图片 2" descr="微信图片_20180302120301"/>
          <p:cNvPicPr>
            <a:picLocks noChangeAspect="1"/>
          </p:cNvPicPr>
          <p:nvPr/>
        </p:nvPicPr>
        <p:blipFill>
          <a:blip r:embed="rId4"/>
          <a:stretch>
            <a:fillRect/>
          </a:stretch>
        </p:blipFill>
        <p:spPr>
          <a:xfrm>
            <a:off x="3170555" y="1661160"/>
            <a:ext cx="3221990" cy="259397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文本框 5"/>
          <p:cNvSpPr txBox="1"/>
          <p:nvPr/>
        </p:nvSpPr>
        <p:spPr>
          <a:xfrm>
            <a:off x="684530" y="3542030"/>
            <a:ext cx="2278380" cy="2676525"/>
          </a:xfrm>
          <a:prstGeom prst="rect">
            <a:avLst/>
          </a:prstGeom>
          <a:solidFill>
            <a:schemeClr val="bg1"/>
          </a:solidFill>
        </p:spPr>
        <p:txBody>
          <a:bodyPr wrap="square" rtlCol="0">
            <a:spAutoFit/>
          </a:bodyPr>
          <a:lstStyle/>
          <a:p>
            <a:pPr>
              <a:lnSpc>
                <a:spcPct val="150000"/>
              </a:lnSpc>
            </a:pPr>
            <a:r>
              <a:rPr lang="zh-CN" altLang="en-US" sz="1400" b="1" dirty="0" smtClean="0">
                <a:solidFill>
                  <a:srgbClr val="000000"/>
                </a:solidFill>
                <a:latin typeface="+mn-ea"/>
                <a:cs typeface="+mn-ea"/>
              </a:rPr>
              <a:t>工艺工法：</a:t>
            </a:r>
            <a:r>
              <a:rPr lang="zh-CN" altLang="en-US" sz="1400" dirty="0" smtClean="0">
                <a:solidFill>
                  <a:srgbClr val="000000"/>
                </a:solidFill>
                <a:latin typeface="+mn-ea"/>
                <a:cs typeface="+mn-ea"/>
              </a:rPr>
              <a:t>卫生间防水</a:t>
            </a:r>
            <a:endParaRPr lang="en-US" altLang="zh-CN" sz="1400" b="1" dirty="0">
              <a:solidFill>
                <a:srgbClr val="000000"/>
              </a:solidFill>
              <a:latin typeface="+mn-ea"/>
              <a:cs typeface="+mn-ea"/>
            </a:endParaRPr>
          </a:p>
          <a:p>
            <a:pPr>
              <a:lnSpc>
                <a:spcPct val="150000"/>
              </a:lnSpc>
            </a:pPr>
            <a:endParaRPr lang="zh-CN" altLang="en-US" sz="1400" b="1" dirty="0" smtClean="0">
              <a:solidFill>
                <a:srgbClr val="000000"/>
              </a:solidFill>
              <a:latin typeface="+mn-ea"/>
              <a:cs typeface="+mn-ea"/>
            </a:endParaRPr>
          </a:p>
          <a:p>
            <a:pPr>
              <a:lnSpc>
                <a:spcPct val="150000"/>
              </a:lnSpc>
            </a:pPr>
            <a:r>
              <a:rPr lang="zh-CN" altLang="en-US" sz="1400" b="1" dirty="0" smtClean="0">
                <a:solidFill>
                  <a:srgbClr val="000000"/>
                </a:solidFill>
                <a:latin typeface="+mn-ea"/>
                <a:cs typeface="+mn-ea"/>
              </a:rPr>
              <a:t>做法说明：</a:t>
            </a:r>
            <a:endParaRPr lang="en-US" altLang="zh-CN" sz="1400" b="1" dirty="0" smtClean="0">
              <a:solidFill>
                <a:srgbClr val="000000"/>
              </a:solidFill>
              <a:latin typeface="+mn-ea"/>
              <a:cs typeface="+mn-ea"/>
            </a:endParaRPr>
          </a:p>
          <a:p>
            <a:pPr>
              <a:lnSpc>
                <a:spcPct val="150000"/>
              </a:lnSpc>
            </a:pPr>
            <a:r>
              <a:rPr lang="zh-CN" altLang="en-US" sz="1400" dirty="0">
                <a:solidFill>
                  <a:srgbClr val="000000"/>
                </a:solidFill>
                <a:latin typeface="+mn-ea"/>
                <a:cs typeface="+mn-ea"/>
              </a:rPr>
              <a:t>淋浴</a:t>
            </a:r>
            <a:r>
              <a:rPr lang="zh-CN" altLang="en-US" sz="1400" dirty="0" smtClean="0">
                <a:solidFill>
                  <a:srgbClr val="000000"/>
                </a:solidFill>
                <a:latin typeface="+mn-ea"/>
                <a:cs typeface="+mn-ea"/>
              </a:rPr>
              <a:t>区止水钢板做法，管根及地漏处理方式，阴角</a:t>
            </a:r>
            <a:r>
              <a:rPr lang="en-US" altLang="zh-CN" sz="1400" dirty="0" smtClean="0">
                <a:solidFill>
                  <a:srgbClr val="000000"/>
                </a:solidFill>
                <a:latin typeface="+mn-ea"/>
                <a:cs typeface="+mn-ea"/>
              </a:rPr>
              <a:t>R</a:t>
            </a:r>
            <a:r>
              <a:rPr lang="zh-CN" altLang="en-US" sz="1400" dirty="0" smtClean="0">
                <a:solidFill>
                  <a:srgbClr val="000000"/>
                </a:solidFill>
                <a:latin typeface="+mn-ea"/>
                <a:cs typeface="+mn-ea"/>
              </a:rPr>
              <a:t>角做法，给水点位预留出墙高度，门口处防水反坎处理方式，防水质量。</a:t>
            </a:r>
            <a:endParaRPr lang="en-US" altLang="zh-CN" sz="1400" b="1" dirty="0">
              <a:solidFill>
                <a:srgbClr val="000000"/>
              </a:solidFill>
              <a:latin typeface="+mn-ea"/>
              <a:cs typeface="+mn-ea"/>
            </a:endParaRPr>
          </a:p>
        </p:txBody>
      </p:sp>
    </p:spTree>
  </p:cSld>
  <p:clrMapOvr>
    <a:masterClrMapping/>
  </p:clrMapOvr>
  <p:transition>
    <p:zoom dir="in"/>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2-1</a:t>
            </a:r>
            <a:r>
              <a:rPr lang="zh-CN" altLang="en-US" sz="1800" b="1" dirty="0">
                <a:solidFill>
                  <a:srgbClr val="000000"/>
                </a:solidFill>
                <a:cs typeface="+mn-ea"/>
                <a:sym typeface="+mn-ea"/>
              </a:rPr>
              <a:t>：</a:t>
            </a:r>
            <a:r>
              <a:rPr lang="zh-CN" altLang="en-US" sz="1800" b="1" dirty="0" smtClean="0">
                <a:solidFill>
                  <a:srgbClr val="000000"/>
                </a:solidFill>
                <a:cs typeface="+mn-ea"/>
                <a:sym typeface="+mn-ea"/>
              </a:rPr>
              <a:t>工序工法样板</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32" name="图片 31" descr="微信图片_20180302115820"/>
          <p:cNvPicPr>
            <a:picLocks noChangeAspect="1"/>
          </p:cNvPicPr>
          <p:nvPr/>
        </p:nvPicPr>
        <p:blipFill>
          <a:blip r:embed="rId2"/>
          <a:stretch>
            <a:fillRect/>
          </a:stretch>
        </p:blipFill>
        <p:spPr>
          <a:xfrm>
            <a:off x="756285" y="1824990"/>
            <a:ext cx="3536315" cy="286575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49157" name="Picture 4" descr="IMG_0799"/>
          <p:cNvPicPr>
            <a:picLocks noChangeAspect="1"/>
          </p:cNvPicPr>
          <p:nvPr/>
        </p:nvPicPr>
        <p:blipFill>
          <a:blip r:embed="rId3"/>
          <a:stretch>
            <a:fillRect/>
          </a:stretch>
        </p:blipFill>
        <p:spPr>
          <a:xfrm>
            <a:off x="4806315" y="1824990"/>
            <a:ext cx="3820160" cy="286639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49158" name="Picture 5" descr="IMG_0804"/>
          <p:cNvPicPr>
            <a:picLocks noChangeAspect="1"/>
          </p:cNvPicPr>
          <p:nvPr/>
        </p:nvPicPr>
        <p:blipFill>
          <a:blip r:embed="rId4"/>
          <a:stretch>
            <a:fillRect/>
          </a:stretch>
        </p:blipFill>
        <p:spPr>
          <a:xfrm>
            <a:off x="8769985" y="1829435"/>
            <a:ext cx="2144395" cy="286131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文本框 5"/>
          <p:cNvSpPr txBox="1"/>
          <p:nvPr/>
        </p:nvSpPr>
        <p:spPr>
          <a:xfrm>
            <a:off x="684287" y="5131435"/>
            <a:ext cx="11305256" cy="106045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艺工法：</a:t>
            </a:r>
            <a:r>
              <a:rPr lang="zh-CN" altLang="en-US" sz="1400" dirty="0" smtClean="0">
                <a:solidFill>
                  <a:srgbClr val="000000"/>
                </a:solidFill>
                <a:latin typeface="+mn-ea"/>
                <a:cs typeface="+mn-ea"/>
              </a:rPr>
              <a:t>墙、地砖铺贴。</a:t>
            </a:r>
            <a:endParaRPr lang="en-US" altLang="zh-CN" sz="1400" dirty="0" smtClean="0">
              <a:solidFill>
                <a:srgbClr val="000000"/>
              </a:solidFill>
              <a:latin typeface="+mn-ea"/>
              <a:cs typeface="+mn-ea"/>
            </a:endParaRPr>
          </a:p>
          <a:p>
            <a:pPr>
              <a:lnSpc>
                <a:spcPct val="150000"/>
              </a:lnSpc>
            </a:pPr>
            <a:r>
              <a:rPr lang="zh-CN" altLang="en-US" sz="1400" b="1" dirty="0" smtClean="0">
                <a:solidFill>
                  <a:srgbClr val="000000"/>
                </a:solidFill>
                <a:latin typeface="+mn-ea"/>
                <a:cs typeface="+mn-ea"/>
              </a:rPr>
              <a:t>做法说明：</a:t>
            </a:r>
            <a:endParaRPr lang="en-US" altLang="zh-CN" sz="1400" b="1" dirty="0" smtClean="0">
              <a:solidFill>
                <a:srgbClr val="000000"/>
              </a:solidFill>
              <a:latin typeface="+mn-ea"/>
              <a:cs typeface="+mn-ea"/>
            </a:endParaRPr>
          </a:p>
          <a:p>
            <a:pPr>
              <a:lnSpc>
                <a:spcPct val="150000"/>
              </a:lnSpc>
            </a:pPr>
            <a:r>
              <a:rPr lang="zh-CN" altLang="en-US" sz="1400" dirty="0" smtClean="0">
                <a:solidFill>
                  <a:srgbClr val="000000"/>
                </a:solidFill>
                <a:latin typeface="+mn-ea"/>
                <a:cs typeface="+mn-ea"/>
              </a:rPr>
              <a:t>墙砖基层挂网处理、拉毛强度、</a:t>
            </a:r>
            <a:r>
              <a:rPr lang="zh-CN" altLang="en-US" sz="1400" dirty="0">
                <a:solidFill>
                  <a:srgbClr val="000000"/>
                </a:solidFill>
                <a:latin typeface="+mn-ea"/>
                <a:cs typeface="+mn-ea"/>
              </a:rPr>
              <a:t>抹灰强度</a:t>
            </a:r>
            <a:r>
              <a:rPr lang="zh-CN" altLang="en-US" sz="1400" dirty="0" smtClean="0">
                <a:solidFill>
                  <a:srgbClr val="000000"/>
                </a:solidFill>
                <a:latin typeface="+mn-ea"/>
                <a:cs typeface="+mn-ea"/>
              </a:rPr>
              <a:t>，墙、地砖铺装质量。      </a:t>
            </a:r>
            <a:endParaRPr lang="en-US" altLang="zh-CN" sz="1400" b="1" dirty="0">
              <a:solidFill>
                <a:srgbClr val="000000"/>
              </a:solidFill>
              <a:latin typeface="+mn-ea"/>
              <a:cs typeface="+mn-ea"/>
            </a:endParaRPr>
          </a:p>
        </p:txBody>
      </p:sp>
    </p:spTree>
  </p:cSld>
  <p:clrMapOvr>
    <a:masterClrMapping/>
  </p:clrMapOvr>
  <p:transition>
    <p:zoom dir="in"/>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2-1.1  工艺工法验收确认单</a:t>
            </a:r>
          </a:p>
        </p:txBody>
      </p:sp>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graphicFrame>
        <p:nvGraphicFramePr>
          <p:cNvPr id="8" name="表格 7"/>
          <p:cNvGraphicFramePr/>
          <p:nvPr/>
        </p:nvGraphicFramePr>
        <p:xfrm>
          <a:off x="684530" y="1394460"/>
          <a:ext cx="10695305" cy="4874895"/>
        </p:xfrm>
        <a:graphic>
          <a:graphicData uri="http://schemas.openxmlformats.org/drawingml/2006/table">
            <a:tbl>
              <a:tblPr firstRow="1" bandRow="1">
                <a:tableStyleId>{5C22544A-7EE6-4342-B048-85BDC9FD1C3A}</a:tableStyleId>
              </a:tblPr>
              <a:tblGrid>
                <a:gridCol w="545465">
                  <a:extLst>
                    <a:ext uri="{9D8B030D-6E8A-4147-A177-3AD203B41FA5}">
                      <a16:colId xmlns:a16="http://schemas.microsoft.com/office/drawing/2014/main" val="20000"/>
                    </a:ext>
                  </a:extLst>
                </a:gridCol>
                <a:gridCol w="1233170">
                  <a:extLst>
                    <a:ext uri="{9D8B030D-6E8A-4147-A177-3AD203B41FA5}">
                      <a16:colId xmlns:a16="http://schemas.microsoft.com/office/drawing/2014/main" val="20001"/>
                    </a:ext>
                  </a:extLst>
                </a:gridCol>
                <a:gridCol w="1233170">
                  <a:extLst>
                    <a:ext uri="{9D8B030D-6E8A-4147-A177-3AD203B41FA5}">
                      <a16:colId xmlns:a16="http://schemas.microsoft.com/office/drawing/2014/main" val="20002"/>
                    </a:ext>
                  </a:extLst>
                </a:gridCol>
                <a:gridCol w="1423035">
                  <a:extLst>
                    <a:ext uri="{9D8B030D-6E8A-4147-A177-3AD203B41FA5}">
                      <a16:colId xmlns:a16="http://schemas.microsoft.com/office/drawing/2014/main" val="20003"/>
                    </a:ext>
                  </a:extLst>
                </a:gridCol>
                <a:gridCol w="1446530">
                  <a:extLst>
                    <a:ext uri="{9D8B030D-6E8A-4147-A177-3AD203B41FA5}">
                      <a16:colId xmlns:a16="http://schemas.microsoft.com/office/drawing/2014/main" val="20004"/>
                    </a:ext>
                  </a:extLst>
                </a:gridCol>
                <a:gridCol w="2348865">
                  <a:extLst>
                    <a:ext uri="{9D8B030D-6E8A-4147-A177-3AD203B41FA5}">
                      <a16:colId xmlns:a16="http://schemas.microsoft.com/office/drawing/2014/main" val="20005"/>
                    </a:ext>
                  </a:extLst>
                </a:gridCol>
                <a:gridCol w="2465070">
                  <a:extLst>
                    <a:ext uri="{9D8B030D-6E8A-4147-A177-3AD203B41FA5}">
                      <a16:colId xmlns:a16="http://schemas.microsoft.com/office/drawing/2014/main" val="20006"/>
                    </a:ext>
                  </a:extLst>
                </a:gridCol>
              </a:tblGrid>
              <a:tr h="304800">
                <a:tc gridSpan="3">
                  <a:txBody>
                    <a:bodyPr/>
                    <a:lstStyle/>
                    <a:p>
                      <a:pPr indent="0">
                        <a:buNone/>
                      </a:pPr>
                      <a:r>
                        <a:rPr lang="zh-CN" sz="1400" b="1">
                          <a:solidFill>
                            <a:srgbClr val="000000"/>
                          </a:solidFill>
                          <a:latin typeface="+mn-ea"/>
                        </a:rPr>
                        <a:t>工程名称：</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buNone/>
                      </a:pPr>
                      <a:r>
                        <a:rPr lang="zh-CN" sz="1400" b="1">
                          <a:solidFill>
                            <a:srgbClr val="000000"/>
                          </a:solidFill>
                          <a:latin typeface="+mn-ea"/>
                        </a:rPr>
                        <a:t>工序名称：</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buNone/>
                      </a:pPr>
                      <a:r>
                        <a:rPr lang="zh-CN" sz="1400" b="1">
                          <a:solidFill>
                            <a:srgbClr val="000000"/>
                          </a:solidFill>
                          <a:latin typeface="+mn-ea"/>
                        </a:rPr>
                        <a:t>施工单位：</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389255">
                <a:tc>
                  <a:txBody>
                    <a:bodyPr/>
                    <a:lstStyle/>
                    <a:p>
                      <a:pPr indent="0" algn="ctr">
                        <a:buNone/>
                      </a:pPr>
                      <a:r>
                        <a:rPr lang="zh-CN" sz="1400" b="0">
                          <a:solidFill>
                            <a:srgbClr val="000000"/>
                          </a:solidFill>
                          <a:latin typeface="+mn-ea"/>
                        </a:rPr>
                        <a:t>序号</a:t>
                      </a:r>
                      <a:endParaRPr lang="zh-CN"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验收内容</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设计要求</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合同要求</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验收情况</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0">
                          <a:solidFill>
                            <a:srgbClr val="000000"/>
                          </a:solidFill>
                          <a:latin typeface="+mn-ea"/>
                        </a:rPr>
                        <a:t>验收影像</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400" b="0">
                          <a:solidFill>
                            <a:srgbClr val="000000"/>
                          </a:solidFill>
                          <a:latin typeface="+mn-ea"/>
                        </a:rPr>
                        <a:t>备注</a:t>
                      </a:r>
                      <a:endParaRPr lang="zh-CN" altLang="en-US" sz="1400" b="0">
                        <a:solidFill>
                          <a:srgbClr val="000000"/>
                        </a:solidFill>
                        <a:latin typeface="+mn-ea"/>
                      </a:endParaRPr>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4800">
                <a:tc>
                  <a:txBody>
                    <a:bodyPr/>
                    <a:lstStyle/>
                    <a:p>
                      <a:pPr indent="0" algn="ctr">
                        <a:buNone/>
                      </a:pPr>
                      <a:r>
                        <a:rPr lang="en-US" sz="1400" b="0">
                          <a:solidFill>
                            <a:srgbClr val="000000"/>
                          </a:solidFill>
                          <a:latin typeface="+mn-ea"/>
                        </a:rPr>
                        <a:t>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1">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rowSpan="13">
                  <a:txBody>
                    <a:bodyPr/>
                    <a:lstStyle/>
                    <a:p>
                      <a:pPr indent="0">
                        <a:buNone/>
                      </a:pPr>
                      <a:r>
                        <a:rPr lang="zh-CN" sz="1400" b="0">
                          <a:solidFill>
                            <a:srgbClr val="000000"/>
                          </a:solidFill>
                          <a:latin typeface="+mn-ea"/>
                          <a:cs typeface="+mn-ea"/>
                        </a:rPr>
                        <a:t>墙顶面基层抹灰强度，网格布防裂处理，批刮腻子厚度、平整度控制，面饰涂料或壁纸观感；</a:t>
                      </a:r>
                    </a:p>
                    <a:p>
                      <a:pPr indent="0">
                        <a:buNone/>
                      </a:pPr>
                      <a:r>
                        <a:rPr lang="zh-CN" sz="1400" b="0">
                          <a:solidFill>
                            <a:srgbClr val="000000"/>
                          </a:solidFill>
                          <a:latin typeface="+mn-ea"/>
                          <a:cs typeface="+mn-ea"/>
                        </a:rPr>
                        <a:t>木地板基层找平质量（平整度、起沙），木地板铺装观感质量。</a:t>
                      </a:r>
                    </a:p>
                    <a:p>
                      <a:pPr indent="0">
                        <a:buNone/>
                      </a:pPr>
                      <a:r>
                        <a:rPr lang="zh-CN" sz="1400" b="0">
                          <a:solidFill>
                            <a:srgbClr val="000000"/>
                          </a:solidFill>
                          <a:latin typeface="+mn-ea"/>
                          <a:cs typeface="+mn-ea"/>
                        </a:rPr>
                        <a:t>电管敷设开槽控制，线管底盒预埋牢固度，线槽抹灰抹平强度质量，点位预留标准控制。</a:t>
                      </a:r>
                    </a:p>
                    <a:p>
                      <a:pPr indent="0">
                        <a:buNone/>
                      </a:pPr>
                      <a:r>
                        <a:rPr lang="zh-CN" sz="1400" b="0">
                          <a:solidFill>
                            <a:srgbClr val="000000"/>
                          </a:solidFill>
                          <a:latin typeface="+mn-ea"/>
                          <a:cs typeface="+mn-ea"/>
                        </a:rPr>
                        <a:t>墙砖基层挂网处理、拉毛强度、抹灰强度，墙、地砖铺装质量。</a:t>
                      </a:r>
                    </a:p>
                    <a:p>
                      <a:pPr indent="0">
                        <a:buNone/>
                      </a:pPr>
                      <a:r>
                        <a:rPr lang="zh-CN" sz="1400" b="0">
                          <a:solidFill>
                            <a:srgbClr val="000000"/>
                          </a:solidFill>
                          <a:latin typeface="+mn-ea"/>
                          <a:cs typeface="+mn-ea"/>
                        </a:rPr>
                        <a:t>淋浴区止水钢板做法，管根及地漏处理方式，阴角R角做法，给水点位预留出墙高度，门口处防水反坎处理方式，防水质量。</a:t>
                      </a:r>
                      <a:endParaRPr lang="zh-CN" altLang="en-US" sz="1400" b="0">
                        <a:solidFill>
                          <a:srgbClr val="000000"/>
                        </a:solidFill>
                        <a:latin typeface="+mn-ea"/>
                        <a:cs typeface="+mn-ea"/>
                      </a:endParaRPr>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4800">
                <a:tc>
                  <a:txBody>
                    <a:bodyPr/>
                    <a:lstStyle/>
                    <a:p>
                      <a:pPr indent="0" algn="ctr">
                        <a:buNone/>
                      </a:pPr>
                      <a:r>
                        <a:rPr lang="en-US" sz="1400" b="0">
                          <a:solidFill>
                            <a:srgbClr val="000000"/>
                          </a:solidFill>
                          <a:latin typeface="+mn-ea"/>
                        </a:rPr>
                        <a:t>3</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304800">
                <a:tc>
                  <a:txBody>
                    <a:bodyPr/>
                    <a:lstStyle/>
                    <a:p>
                      <a:pPr indent="0" algn="ctr">
                        <a:buNone/>
                      </a:pPr>
                      <a:r>
                        <a:rPr lang="en-US" sz="1400" b="0">
                          <a:solidFill>
                            <a:srgbClr val="000000"/>
                          </a:solidFill>
                          <a:latin typeface="+mn-ea"/>
                        </a:rPr>
                        <a:t>4</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304800">
                <a:tc>
                  <a:txBody>
                    <a:bodyPr/>
                    <a:lstStyle/>
                    <a:p>
                      <a:pPr indent="0" algn="ctr">
                        <a:buNone/>
                      </a:pPr>
                      <a:r>
                        <a:rPr lang="en-US" sz="1400" b="0">
                          <a:solidFill>
                            <a:srgbClr val="000000"/>
                          </a:solidFill>
                          <a:latin typeface="+mn-ea"/>
                        </a:rPr>
                        <a:t>5</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04800">
                <a:tc>
                  <a:txBody>
                    <a:bodyPr/>
                    <a:lstStyle/>
                    <a:p>
                      <a:pPr indent="0" algn="ctr">
                        <a:buNone/>
                      </a:pPr>
                      <a:r>
                        <a:rPr lang="en-US" sz="1400" b="0">
                          <a:solidFill>
                            <a:srgbClr val="000000"/>
                          </a:solidFill>
                          <a:latin typeface="+mn-ea"/>
                        </a:rPr>
                        <a:t>6</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04800">
                <a:tc>
                  <a:txBody>
                    <a:bodyPr/>
                    <a:lstStyle/>
                    <a:p>
                      <a:pPr indent="0" algn="ctr">
                        <a:buNone/>
                      </a:pPr>
                      <a:r>
                        <a:rPr lang="en-US" sz="1400" b="0">
                          <a:solidFill>
                            <a:srgbClr val="000000"/>
                          </a:solidFill>
                          <a:latin typeface="+mn-ea"/>
                        </a:rPr>
                        <a:t>7</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04800">
                <a:tc>
                  <a:txBody>
                    <a:bodyPr/>
                    <a:lstStyle/>
                    <a:p>
                      <a:pPr indent="0" algn="ctr">
                        <a:buNone/>
                      </a:pPr>
                      <a:r>
                        <a:rPr lang="en-US" sz="1400" b="0">
                          <a:solidFill>
                            <a:srgbClr val="000000"/>
                          </a:solidFill>
                          <a:latin typeface="+mn-ea"/>
                        </a:rPr>
                        <a:t>8</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04800">
                <a:tc>
                  <a:txBody>
                    <a:bodyPr/>
                    <a:lstStyle/>
                    <a:p>
                      <a:pPr indent="0" algn="ctr">
                        <a:buNone/>
                      </a:pPr>
                      <a:r>
                        <a:rPr lang="en-US" sz="1400" b="0">
                          <a:solidFill>
                            <a:srgbClr val="000000"/>
                          </a:solidFill>
                          <a:latin typeface="+mn-ea"/>
                        </a:rPr>
                        <a:t>9</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304800">
                <a:tc>
                  <a:txBody>
                    <a:bodyPr/>
                    <a:lstStyle/>
                    <a:p>
                      <a:pPr indent="0" algn="ctr">
                        <a:buNone/>
                      </a:pPr>
                      <a:r>
                        <a:rPr lang="en-US" sz="1400" b="0">
                          <a:solidFill>
                            <a:srgbClr val="000000"/>
                          </a:solidFill>
                          <a:latin typeface="+mn-ea"/>
                        </a:rPr>
                        <a:t>10</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304800">
                <a:tc>
                  <a:txBody>
                    <a:bodyPr/>
                    <a:lstStyle/>
                    <a:p>
                      <a:pPr indent="0" algn="ctr">
                        <a:buNone/>
                      </a:pPr>
                      <a:r>
                        <a:rPr lang="en-US" sz="1400" b="0">
                          <a:solidFill>
                            <a:srgbClr val="000000"/>
                          </a:solidFill>
                          <a:latin typeface="+mn-ea"/>
                        </a:rPr>
                        <a:t>1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304800">
                <a:tc>
                  <a:txBody>
                    <a:bodyPr/>
                    <a:lstStyle/>
                    <a:p>
                      <a:pPr indent="0" algn="ctr">
                        <a:buNone/>
                      </a:pPr>
                      <a:r>
                        <a:rPr lang="en-US" sz="1400" b="0">
                          <a:solidFill>
                            <a:srgbClr val="000000"/>
                          </a:solidFill>
                          <a:latin typeface="+mn-ea"/>
                        </a:rPr>
                        <a:t>1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B w="1524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2"/>
                  </a:ext>
                </a:extLst>
              </a:tr>
              <a:tr h="304800">
                <a:tc rowSpan="2">
                  <a:txBody>
                    <a:bodyPr/>
                    <a:lstStyle/>
                    <a:p>
                      <a:pPr indent="0" algn="ctr">
                        <a:buNone/>
                      </a:pPr>
                      <a:r>
                        <a:rPr lang="zh-CN" sz="1400" b="1">
                          <a:solidFill>
                            <a:srgbClr val="000000"/>
                          </a:solidFill>
                          <a:latin typeface="+mn-ea"/>
                        </a:rPr>
                        <a:t>验收</a:t>
                      </a:r>
                    </a:p>
                    <a:p>
                      <a:pPr indent="0" algn="ctr">
                        <a:buNone/>
                      </a:pPr>
                      <a:r>
                        <a:rPr lang="zh-CN" sz="1400" b="1">
                          <a:solidFill>
                            <a:srgbClr val="000000"/>
                          </a:solidFill>
                          <a:latin typeface="+mn-ea"/>
                        </a:rPr>
                        <a:t>会签</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400" b="0">
                          <a:solidFill>
                            <a:srgbClr val="000000"/>
                          </a:solidFill>
                          <a:latin typeface="+mn-ea"/>
                        </a:rPr>
                        <a:t>精装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3">
                  <a:txBody>
                    <a:bodyPr/>
                    <a:lstStyle/>
                    <a:p>
                      <a:pPr indent="0" algn="ctr">
                        <a:buNone/>
                      </a:pPr>
                      <a:r>
                        <a:rPr lang="zh-CN" sz="1400" b="0">
                          <a:solidFill>
                            <a:srgbClr val="000000"/>
                          </a:solidFill>
                          <a:latin typeface="+mn-ea"/>
                        </a:rPr>
                        <a:t>甲方项目专业负责人</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3"/>
                  </a:ext>
                </a:extLst>
              </a:tr>
              <a:tr h="52324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14"/>
                  </a:ext>
                </a:extLst>
              </a:tr>
            </a:tbl>
          </a:graphicData>
        </a:graphic>
      </p:graphicFrame>
    </p:spTree>
  </p:cSld>
  <p:clrMapOvr>
    <a:masterClrMapping/>
  </p:clrMapOvr>
  <p:transition>
    <p:zoom dir="in"/>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80112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2-2</a:t>
            </a:r>
            <a:r>
              <a:rPr lang="zh-CN" altLang="en-US" sz="1800" b="1" dirty="0">
                <a:solidFill>
                  <a:srgbClr val="000000"/>
                </a:solidFill>
                <a:cs typeface="+mn-ea"/>
                <a:sym typeface="+mn-ea"/>
              </a:rPr>
              <a:t>：交付样板</a:t>
            </a:r>
            <a:endParaRPr lang="en-US"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6" name="文本框 5"/>
          <p:cNvSpPr txBox="1"/>
          <p:nvPr/>
        </p:nvSpPr>
        <p:spPr>
          <a:xfrm>
            <a:off x="6212205" y="801370"/>
            <a:ext cx="4804410" cy="550799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cs typeface="+mn-ea"/>
              </a:rPr>
              <a:t>交付样板：</a:t>
            </a:r>
            <a:r>
              <a:rPr lang="zh-CN" altLang="en-US" sz="1600" dirty="0" smtClean="0">
                <a:solidFill>
                  <a:srgbClr val="000000"/>
                </a:solidFill>
                <a:cs typeface="+mn-ea"/>
              </a:rPr>
              <a:t>依据精装设计要求，以实体户型进行精装施工，并达到交付标准。</a:t>
            </a:r>
            <a:endParaRPr lang="en-US" altLang="zh-CN" sz="1600" dirty="0" smtClean="0">
              <a:solidFill>
                <a:srgbClr val="000000"/>
              </a:solidFill>
              <a:cs typeface="+mn-ea"/>
            </a:endParaRPr>
          </a:p>
          <a:p>
            <a:pPr>
              <a:lnSpc>
                <a:spcPct val="150000"/>
              </a:lnSpc>
            </a:pPr>
            <a:r>
              <a:rPr lang="en-US" altLang="zh-CN" sz="1600" dirty="0">
                <a:solidFill>
                  <a:srgbClr val="000000"/>
                </a:solidFill>
                <a:cs typeface="+mn-ea"/>
              </a:rPr>
              <a:t> </a:t>
            </a:r>
            <a:r>
              <a:rPr lang="en-US" altLang="zh-CN" sz="1600" dirty="0" smtClean="0">
                <a:solidFill>
                  <a:srgbClr val="000000"/>
                </a:solidFill>
                <a:cs typeface="+mn-ea"/>
              </a:rPr>
              <a:t>      </a:t>
            </a:r>
            <a:r>
              <a:rPr lang="zh-CN" altLang="en-US" sz="1600" dirty="0" smtClean="0">
                <a:solidFill>
                  <a:srgbClr val="000000"/>
                </a:solidFill>
                <a:cs typeface="+mn-ea"/>
              </a:rPr>
              <a:t>如因生产加工时间过长，或者成本较高等等原因，现场可使用板材或者其他材料做等比例模型模拟安装，以便在样板点评时对空间功能性以及观感的验收点评。</a:t>
            </a:r>
            <a:r>
              <a:rPr lang="en-US" altLang="zh-CN" sz="1600" b="1" dirty="0" smtClean="0">
                <a:solidFill>
                  <a:srgbClr val="000000"/>
                </a:solidFill>
                <a:cs typeface="+mn-ea"/>
              </a:rPr>
              <a:t>                  </a:t>
            </a:r>
            <a:endParaRPr lang="en-US" altLang="zh-CN" sz="1600" dirty="0" smtClean="0">
              <a:solidFill>
                <a:srgbClr val="000000"/>
              </a:solidFill>
              <a:cs typeface="+mn-ea"/>
            </a:endParaRPr>
          </a:p>
          <a:p>
            <a:pPr>
              <a:lnSpc>
                <a:spcPct val="150000"/>
              </a:lnSpc>
            </a:pPr>
            <a:r>
              <a:rPr lang="zh-CN" altLang="en-US" sz="1600" b="1" dirty="0" smtClean="0">
                <a:solidFill>
                  <a:srgbClr val="000000"/>
                </a:solidFill>
                <a:cs typeface="+mn-ea"/>
              </a:rPr>
              <a:t>工作目的：</a:t>
            </a:r>
            <a:r>
              <a:rPr lang="zh-CN" altLang="en-US" sz="1600" dirty="0" smtClean="0">
                <a:solidFill>
                  <a:srgbClr val="000000"/>
                </a:solidFill>
                <a:cs typeface="+mn-ea"/>
              </a:rPr>
              <a:t>样板实际施工过程中，及时发现并解决图纸与现场不符、定制</a:t>
            </a:r>
            <a:r>
              <a:rPr lang="zh-CN" altLang="en-US" sz="1600" dirty="0">
                <a:solidFill>
                  <a:srgbClr val="000000"/>
                </a:solidFill>
                <a:cs typeface="+mn-ea"/>
              </a:rPr>
              <a:t>类制品图纸与现场尺寸</a:t>
            </a:r>
            <a:r>
              <a:rPr lang="zh-CN" altLang="en-US" sz="1600" dirty="0" smtClean="0">
                <a:solidFill>
                  <a:srgbClr val="000000"/>
                </a:solidFill>
                <a:cs typeface="+mn-ea"/>
              </a:rPr>
              <a:t>冲突、原预留预埋点位是否缺失或尺寸标高不符合精装需求、房间空间尺寸等等问题，以及核实并完善安装类制品的规格型号和统一生产加工尺寸。</a:t>
            </a:r>
            <a:endParaRPr lang="en-US" altLang="zh-CN" sz="1600" dirty="0" smtClean="0">
              <a:solidFill>
                <a:srgbClr val="000000"/>
              </a:solidFill>
              <a:cs typeface="+mn-ea"/>
            </a:endParaRPr>
          </a:p>
          <a:p>
            <a:r>
              <a:rPr lang="en-US" altLang="zh-CN" sz="1600" dirty="0" smtClean="0"/>
              <a:t>       1</a:t>
            </a:r>
            <a:r>
              <a:rPr lang="zh-CN" altLang="zh-CN" sz="1600" dirty="0"/>
              <a:t>、样板完成后需相关部门认可签字，样板未完成验收确认之前，不允许展开大面积施工。</a:t>
            </a:r>
          </a:p>
          <a:p>
            <a:r>
              <a:rPr lang="en-US" altLang="zh-CN" sz="1600" dirty="0" smtClean="0"/>
              <a:t>       2</a:t>
            </a:r>
            <a:r>
              <a:rPr lang="zh-CN" altLang="zh-CN" sz="1600" dirty="0"/>
              <a:t>、样板房验收评定验收意见作为调整样板房施工图纸和批量施工图设计依据。</a:t>
            </a:r>
            <a:endParaRPr lang="en-US" altLang="zh-CN" sz="1600" dirty="0">
              <a:solidFill>
                <a:srgbClr val="000000"/>
              </a:solidFill>
              <a:cs typeface="+mn-ea"/>
            </a:endParaRPr>
          </a:p>
          <a:p>
            <a:pPr>
              <a:lnSpc>
                <a:spcPct val="150000"/>
              </a:lnSpc>
            </a:pPr>
            <a:r>
              <a:rPr lang="en-US" altLang="zh-CN" sz="1600" dirty="0">
                <a:solidFill>
                  <a:srgbClr val="000000"/>
                </a:solidFill>
                <a:cs typeface="+mn-ea"/>
              </a:rPr>
              <a:t> </a:t>
            </a:r>
            <a:r>
              <a:rPr lang="en-US" altLang="zh-CN" sz="1600" dirty="0" smtClean="0">
                <a:solidFill>
                  <a:srgbClr val="000000"/>
                </a:solidFill>
                <a:cs typeface="+mn-ea"/>
              </a:rPr>
              <a:t>                 </a:t>
            </a:r>
            <a:r>
              <a:rPr lang="zh-CN" altLang="en-US" sz="1600" b="1" dirty="0" smtClean="0">
                <a:solidFill>
                  <a:srgbClr val="000000"/>
                </a:solidFill>
                <a:cs typeface="+mn-ea"/>
              </a:rPr>
              <a:t>优化设计，完善品质。</a:t>
            </a:r>
            <a:endParaRPr lang="en-US" altLang="zh-CN" sz="1600" b="1" dirty="0">
              <a:solidFill>
                <a:srgbClr val="000000"/>
              </a:solidFill>
              <a:cs typeface="+mn-ea"/>
            </a:endParaRPr>
          </a:p>
        </p:txBody>
      </p:sp>
      <p:pic>
        <p:nvPicPr>
          <p:cNvPr id="4" name="图片 3"/>
          <p:cNvPicPr>
            <a:picLocks noChangeAspect="1"/>
          </p:cNvPicPr>
          <p:nvPr/>
        </p:nvPicPr>
        <p:blipFill>
          <a:blip r:embed="rId2"/>
          <a:stretch>
            <a:fillRect/>
          </a:stretch>
        </p:blipFill>
        <p:spPr>
          <a:xfrm>
            <a:off x="1402080" y="1457325"/>
            <a:ext cx="2954020" cy="214312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8" name="图片 7"/>
          <p:cNvPicPr>
            <a:picLocks noChangeAspect="1"/>
          </p:cNvPicPr>
          <p:nvPr/>
        </p:nvPicPr>
        <p:blipFill>
          <a:blip r:embed="rId3"/>
          <a:stretch>
            <a:fillRect/>
          </a:stretch>
        </p:blipFill>
        <p:spPr>
          <a:xfrm>
            <a:off x="1402080" y="3995420"/>
            <a:ext cx="2966720" cy="222567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9" name="下箭头 8"/>
          <p:cNvSpPr/>
          <p:nvPr/>
        </p:nvSpPr>
        <p:spPr>
          <a:xfrm>
            <a:off x="2265680" y="3654425"/>
            <a:ext cx="1152525" cy="2882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2-2.1  样板房</a:t>
            </a:r>
            <a:r>
              <a:rPr lang="zh-CN" altLang="en-US" sz="1800" b="1" dirty="0">
                <a:solidFill>
                  <a:srgbClr val="000000"/>
                </a:solidFill>
                <a:cs typeface="+mn-ea"/>
                <a:sym typeface="+mn-ea"/>
              </a:rPr>
              <a:t>点评</a:t>
            </a:r>
            <a:r>
              <a:rPr lang="en-US" altLang="zh-CN" sz="1800" b="1" dirty="0">
                <a:solidFill>
                  <a:srgbClr val="000000"/>
                </a:solidFill>
                <a:cs typeface="+mn-ea"/>
                <a:sym typeface="+mn-ea"/>
              </a:rPr>
              <a:t>验收</a:t>
            </a:r>
            <a:r>
              <a:rPr lang="zh-CN" altLang="en-US" sz="1800" b="1" dirty="0">
                <a:solidFill>
                  <a:srgbClr val="000000"/>
                </a:solidFill>
                <a:cs typeface="+mn-ea"/>
                <a:sym typeface="+mn-ea"/>
              </a:rPr>
              <a:t>表</a:t>
            </a:r>
          </a:p>
        </p:txBody>
      </p:sp>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graphicFrame>
        <p:nvGraphicFramePr>
          <p:cNvPr id="10" name="表格 9"/>
          <p:cNvGraphicFramePr/>
          <p:nvPr/>
        </p:nvGraphicFramePr>
        <p:xfrm>
          <a:off x="684530" y="1343025"/>
          <a:ext cx="11002010" cy="5017770"/>
        </p:xfrm>
        <a:graphic>
          <a:graphicData uri="http://schemas.openxmlformats.org/drawingml/2006/table">
            <a:tbl>
              <a:tblPr firstRow="1" bandRow="1">
                <a:tableStyleId>{5940675A-B579-460E-94D1-54222C63F5DA}</a:tableStyleId>
              </a:tblPr>
              <a:tblGrid>
                <a:gridCol w="989330">
                  <a:extLst>
                    <a:ext uri="{9D8B030D-6E8A-4147-A177-3AD203B41FA5}">
                      <a16:colId xmlns:a16="http://schemas.microsoft.com/office/drawing/2014/main" val="20000"/>
                    </a:ext>
                  </a:extLst>
                </a:gridCol>
                <a:gridCol w="949960">
                  <a:extLst>
                    <a:ext uri="{9D8B030D-6E8A-4147-A177-3AD203B41FA5}">
                      <a16:colId xmlns:a16="http://schemas.microsoft.com/office/drawing/2014/main" val="20001"/>
                    </a:ext>
                  </a:extLst>
                </a:gridCol>
                <a:gridCol w="1045210">
                  <a:extLst>
                    <a:ext uri="{9D8B030D-6E8A-4147-A177-3AD203B41FA5}">
                      <a16:colId xmlns:a16="http://schemas.microsoft.com/office/drawing/2014/main" val="20002"/>
                    </a:ext>
                  </a:extLst>
                </a:gridCol>
                <a:gridCol w="564515">
                  <a:extLst>
                    <a:ext uri="{9D8B030D-6E8A-4147-A177-3AD203B41FA5}">
                      <a16:colId xmlns:a16="http://schemas.microsoft.com/office/drawing/2014/main" val="20003"/>
                    </a:ext>
                  </a:extLst>
                </a:gridCol>
                <a:gridCol w="557530">
                  <a:extLst>
                    <a:ext uri="{9D8B030D-6E8A-4147-A177-3AD203B41FA5}">
                      <a16:colId xmlns:a16="http://schemas.microsoft.com/office/drawing/2014/main" val="20004"/>
                    </a:ext>
                  </a:extLst>
                </a:gridCol>
                <a:gridCol w="617220">
                  <a:extLst>
                    <a:ext uri="{9D8B030D-6E8A-4147-A177-3AD203B41FA5}">
                      <a16:colId xmlns:a16="http://schemas.microsoft.com/office/drawing/2014/main" val="20005"/>
                    </a:ext>
                  </a:extLst>
                </a:gridCol>
                <a:gridCol w="596900">
                  <a:extLst>
                    <a:ext uri="{9D8B030D-6E8A-4147-A177-3AD203B41FA5}">
                      <a16:colId xmlns:a16="http://schemas.microsoft.com/office/drawing/2014/main" val="20006"/>
                    </a:ext>
                  </a:extLst>
                </a:gridCol>
                <a:gridCol w="1036955">
                  <a:extLst>
                    <a:ext uri="{9D8B030D-6E8A-4147-A177-3AD203B41FA5}">
                      <a16:colId xmlns:a16="http://schemas.microsoft.com/office/drawing/2014/main" val="20007"/>
                    </a:ext>
                  </a:extLst>
                </a:gridCol>
                <a:gridCol w="4644390">
                  <a:extLst>
                    <a:ext uri="{9D8B030D-6E8A-4147-A177-3AD203B41FA5}">
                      <a16:colId xmlns:a16="http://schemas.microsoft.com/office/drawing/2014/main" val="20008"/>
                    </a:ext>
                  </a:extLst>
                </a:gridCol>
              </a:tblGrid>
              <a:tr h="307975">
                <a:tc>
                  <a:txBody>
                    <a:bodyPr/>
                    <a:lstStyle/>
                    <a:p>
                      <a:pPr indent="0">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工程名称</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6">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a:txBody>
                    <a:bodyPr/>
                    <a:lstStyle/>
                    <a:p>
                      <a:pPr indent="0">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设计单位</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0040">
                <a:tc>
                  <a:txBody>
                    <a:bodyPr/>
                    <a:lstStyle/>
                    <a:p>
                      <a:pPr indent="0">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点评部位</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6">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a:txBody>
                    <a:bodyPr/>
                    <a:lstStyle/>
                    <a:p>
                      <a:pPr indent="0">
                        <a:buNone/>
                      </a:pPr>
                      <a:r>
                        <a:rPr lang="zh-CN" altLang="en-US" sz="1400" b="1">
                          <a:latin typeface="微软雅黑" panose="020B0503020204020204" pitchFamily="34" charset="-122"/>
                          <a:ea typeface="微软雅黑" panose="020B0503020204020204" pitchFamily="34" charset="-122"/>
                          <a:cs typeface="微软雅黑" panose="020B0503020204020204" pitchFamily="34" charset="-122"/>
                        </a:rPr>
                        <a:t>验收时间</a:t>
                      </a: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8765">
                <a:tc rowSpan="2" gridSpan="3">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分项</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rowSpan="2" hMerge="1">
                  <a:txBody>
                    <a:bodyPr/>
                    <a:lstStyle/>
                    <a:p>
                      <a:endParaRPr lang="zh-CN"/>
                    </a:p>
                  </a:txBody>
                  <a:tcPr>
                    <a:lnT w="12700" cap="flat" cmpd="sng">
                      <a:solidFill>
                        <a:srgbClr val="080000"/>
                      </a:solidFill>
                      <a:prstDash val="solid"/>
                      <a:headEnd type="none" w="med" len="med"/>
                      <a:tailEnd type="none" w="med" len="med"/>
                    </a:lnT>
                  </a:tcPr>
                </a:tc>
                <a:tc rowSpan="2"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tcPr>
                </a:tc>
                <a:tc gridSpan="4">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评估</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gridSpan="2">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备注</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0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00000"/>
                      </a:solidFill>
                      <a:prstDash val="solid"/>
                      <a:headEnd type="none" w="med" len="med"/>
                      <a:tailEnd type="none" w="med" len="med"/>
                    </a:lnB>
                  </a:tcPr>
                </a:tc>
                <a:extLst>
                  <a:ext uri="{0D108BD9-81ED-4DB2-BD59-A6C34878D82A}">
                    <a16:rowId xmlns:a16="http://schemas.microsoft.com/office/drawing/2014/main" val="10002"/>
                  </a:ext>
                </a:extLst>
              </a:tr>
              <a:tr h="269240">
                <a:tc gridSpan="3" vMerge="1">
                  <a:txBody>
                    <a:bodyPr/>
                    <a:lstStyle/>
                    <a:p>
                      <a:endParaRPr lang="zh-CN"/>
                    </a:p>
                  </a:txBody>
                  <a:tcPr>
                    <a:lnL w="12700" cap="flat" cmpd="sng">
                      <a:solidFill>
                        <a:srgbClr val="080000"/>
                      </a:solidFill>
                      <a:prstDash val="solid"/>
                      <a:headEnd type="none" w="med" len="med"/>
                      <a:tailEnd type="none" w="med" len="med"/>
                    </a:lnL>
                    <a:lnB w="12700" cap="flat" cmpd="sng">
                      <a:solidFill>
                        <a:srgbClr val="000000"/>
                      </a:solidFill>
                      <a:prstDash val="solid"/>
                      <a:headEnd type="none" w="med" len="med"/>
                      <a:tailEnd type="none" w="med" len="med"/>
                    </a:lnB>
                  </a:tcPr>
                </a:tc>
                <a:tc hMerge="1" vMerge="1">
                  <a:txBody>
                    <a:bodyPr/>
                    <a:lstStyle/>
                    <a:p>
                      <a:endParaRPr lang="zh-CN"/>
                    </a:p>
                  </a:txBody>
                  <a:tcPr>
                    <a:lnB w="12700" cap="flat" cmpd="sng">
                      <a:solidFill>
                        <a:srgbClr val="000000"/>
                      </a:solidFill>
                      <a:prstDash val="solid"/>
                      <a:headEnd type="none" w="med" len="med"/>
                      <a:tailEnd type="none" w="med" len="med"/>
                    </a:lnB>
                  </a:tcPr>
                </a:tc>
                <a:tc hMerge="1" vMerge="1">
                  <a:txBody>
                    <a:bodyPr/>
                    <a:lstStyle/>
                    <a:p>
                      <a:endParaRPr lang="zh-CN"/>
                    </a:p>
                  </a:txBody>
                  <a:tcPr>
                    <a:lnR w="12700" cap="flat" cmpd="sng">
                      <a:solidFill>
                        <a:srgbClr val="000000"/>
                      </a:solidFill>
                      <a:prstDash val="solid"/>
                      <a:headEnd type="none" w="med" len="med"/>
                      <a:tailEnd type="none" w="med" len="med"/>
                    </a:lnR>
                    <a:lnB w="12700" cap="flat" cmpd="sng">
                      <a:solidFill>
                        <a:srgbClr val="000000"/>
                      </a:solidFill>
                      <a:prstDash val="solid"/>
                      <a:headEnd type="none" w="med" len="med"/>
                      <a:tailEnd type="none" w="med" len="med"/>
                    </a:lnB>
                  </a:tcPr>
                </a:tc>
                <a:tc>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优</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0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良</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一般</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差</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1">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extLst>
                  <a:ext uri="{0D108BD9-81ED-4DB2-BD59-A6C34878D82A}">
                    <a16:rowId xmlns:a16="http://schemas.microsoft.com/office/drawing/2014/main" val="10003"/>
                  </a:ext>
                </a:extLst>
              </a:tr>
              <a:tr h="347345">
                <a:tc rowSpan="4">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设计效果</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row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装饰部分</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施工质量</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04"/>
                  </a:ext>
                </a:extLst>
              </a:tr>
              <a:tr h="306070">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B w="12700" cap="flat" cmpd="sng">
                      <a:solidFill>
                        <a:srgbClr val="000000"/>
                      </a:solidFill>
                      <a:prstDash val="solid"/>
                      <a:headEnd type="none" w="med" len="med"/>
                      <a:tailEnd type="none" w="med" len="med"/>
                    </a:lnB>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材料质量</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05"/>
                  </a:ext>
                </a:extLst>
              </a:tr>
              <a:tr h="296545">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c row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木作部分</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使用功能</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06"/>
                  </a:ext>
                </a:extLst>
              </a:tr>
              <a:tr h="345440">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B w="12700" cap="flat" cmpd="sng">
                      <a:solidFill>
                        <a:srgbClr val="000000"/>
                      </a:solidFill>
                      <a:prstDash val="solid"/>
                      <a:headEnd type="none" w="med" len="med"/>
                      <a:tailEnd type="none" w="med" len="med"/>
                    </a:lnB>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B w="12700" cap="flat" cmpd="sng">
                      <a:solidFill>
                        <a:srgbClr val="000000"/>
                      </a:solidFill>
                      <a:prstDash val="solid"/>
                      <a:headEnd type="none" w="med" len="med"/>
                      <a:tailEnd type="none" w="med" len="med"/>
                    </a:lnB>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安装细节</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07"/>
                  </a:ext>
                </a:extLst>
              </a:tr>
              <a:tr h="354965">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空间功能</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空间规划合理性</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08"/>
                  </a:ext>
                </a:extLst>
              </a:tr>
              <a:tr h="290195">
                <a:tc row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施工质量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a:solidFill>
                        <a:schemeClr val="tx1"/>
                      </a:solidFill>
                      <a:prstDash val="soli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观感质量</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chemeClr val="tx1"/>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0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09"/>
                  </a:ext>
                </a:extLst>
              </a:tr>
              <a:tr h="334010">
                <a:tc vMerge="1">
                  <a:txBody>
                    <a:bodyPr/>
                    <a:lstStyle/>
                    <a:p>
                      <a:endParaRPr lang="zh-CN"/>
                    </a:p>
                  </a:txBody>
                  <a:tcP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B w="12700" cap="flat">
                      <a:solidFill>
                        <a:schemeClr val="tx1"/>
                      </a:solidFill>
                      <a:prstDash val="solid"/>
                    </a:lnB>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细部施工</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chemeClr val="tx1"/>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0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2">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10"/>
                  </a:ext>
                </a:extLst>
              </a:tr>
              <a:tr h="688340">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补充意见</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a:solidFill>
                        <a:schemeClr val="tx1"/>
                      </a:solidFill>
                      <a:prstDash val="solid"/>
                    </a:lnT>
                    <a:lnB w="12700" cap="flat" cmpd="sng">
                      <a:solidFill>
                        <a:schemeClr val="tx1"/>
                      </a:solidFill>
                      <a:prstDash val="solid"/>
                      <a:headEnd type="none" w="med" len="med"/>
                      <a:tailEnd type="none" w="med" len="med"/>
                    </a:lnB>
                    <a:lnTlToBr>
                      <a:noFill/>
                    </a:lnTlToBr>
                    <a:lnBlToTr>
                      <a:noFill/>
                    </a:lnBlToTr>
                    <a:noFill/>
                  </a:tcPr>
                </a:tc>
                <a:tc gridSpan="8">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 </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chemeClr val="tx1"/>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11"/>
                  </a:ext>
                </a:extLst>
              </a:tr>
              <a:tr h="326390">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综合评定：</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8">
                  <a:txBody>
                    <a:bodyPr/>
                    <a:lstStyle/>
                    <a:p>
                      <a:pPr indent="0">
                        <a:buNone/>
                      </a:pPr>
                      <a:r>
                        <a:rPr lang="en-US" sz="1400" b="1">
                          <a:latin typeface="Wingdings 2" panose="05020102010507070707" charset="0"/>
                          <a:cs typeface="Wingdings 2" panose="05020102010507070707" charset="0"/>
                        </a:rPr>
                        <a:t>£</a:t>
                      </a:r>
                      <a:r>
                        <a:rPr lang="en-US" sz="1400" b="0">
                          <a:latin typeface="微软雅黑" panose="020B0503020204020204" pitchFamily="34" charset="-122"/>
                          <a:ea typeface="微软雅黑" panose="020B0503020204020204" pitchFamily="34" charset="-122"/>
                          <a:cs typeface="微软雅黑" panose="020B0503020204020204" pitchFamily="34" charset="-122"/>
                        </a:rPr>
                        <a:t>同意按此样板房施工         </a:t>
                      </a:r>
                      <a:r>
                        <a:rPr lang="en-US" sz="1400" b="1">
                          <a:latin typeface="微软雅黑" panose="020B0503020204020204" pitchFamily="34" charset="-122"/>
                          <a:ea typeface="微软雅黑" panose="020B0503020204020204" pitchFamily="34" charset="-122"/>
                          <a:cs typeface="微软雅黑" panose="020B0503020204020204" pitchFamily="34" charset="-122"/>
                        </a:rPr>
                        <a:t> </a:t>
                      </a:r>
                      <a:r>
                        <a:rPr lang="en-US" sz="1400" b="1">
                          <a:latin typeface="Wingdings 2" panose="05020102010507070707" charset="0"/>
                          <a:cs typeface="Wingdings 2" panose="05020102010507070707" charset="0"/>
                        </a:rPr>
                        <a:t>£</a:t>
                      </a:r>
                      <a:r>
                        <a:rPr lang="en-US" sz="1400" b="0">
                          <a:latin typeface="微软雅黑" panose="020B0503020204020204" pitchFamily="34" charset="-122"/>
                          <a:ea typeface="微软雅黑" panose="020B0503020204020204" pitchFamily="34" charset="-122"/>
                          <a:cs typeface="微软雅黑" panose="020B0503020204020204" pitchFamily="34" charset="-122"/>
                        </a:rPr>
                        <a:t>同意按此样板房施工，但应按“补充意见”进行完善              </a:t>
                      </a:r>
                      <a:r>
                        <a:rPr lang="en-US" sz="1400" b="1">
                          <a:latin typeface="Wingdings 2" panose="05020102010507070707" charset="0"/>
                          <a:cs typeface="Wingdings 2" panose="05020102010507070707" charset="0"/>
                        </a:rPr>
                        <a:t>£</a:t>
                      </a:r>
                      <a:r>
                        <a:rPr lang="en-US" sz="1400" b="0">
                          <a:latin typeface="微软雅黑" panose="020B0503020204020204" pitchFamily="34" charset="-122"/>
                          <a:ea typeface="微软雅黑" panose="020B0503020204020204" pitchFamily="34" charset="-122"/>
                          <a:cs typeface="微软雅黑" panose="020B0503020204020204" pitchFamily="34" charset="-122"/>
                        </a:rPr>
                        <a:t>不同意按此“样板房”施工</a:t>
                      </a:r>
                      <a:endParaRPr lang="en-US" altLang="en-US" sz="1400" b="1">
                        <a:latin typeface="Wingdings 2" panose="05020102010507070707" charset="0"/>
                        <a:ea typeface="Wingdings 2" panose="05020102010507070707" charset="0"/>
                        <a:cs typeface="Wingdings 2" panose="05020102010507070707" charset="0"/>
                      </a:endParaRPr>
                    </a:p>
                  </a:txBody>
                  <a:tcPr marL="68580" marR="68580" marT="0" marB="0" anchor="ctr">
                    <a:lnL w="12700" cap="flat" cmpd="sng">
                      <a:solidFill>
                        <a:srgbClr val="08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12"/>
                  </a:ext>
                </a:extLst>
              </a:tr>
              <a:tr h="452120">
                <a:tc>
                  <a:txBody>
                    <a:bodyPr/>
                    <a:lstStyle/>
                    <a:p>
                      <a:pPr indent="0">
                        <a:buNone/>
                      </a:pPr>
                      <a:r>
                        <a:rPr lang="en-US" sz="1400" b="0">
                          <a:latin typeface="微软雅黑" panose="020B0503020204020204" pitchFamily="34" charset="-122"/>
                          <a:ea typeface="微软雅黑" panose="020B0503020204020204" pitchFamily="34" charset="-122"/>
                          <a:cs typeface="微软雅黑" panose="020B0503020204020204" pitchFamily="34" charset="-122"/>
                        </a:rPr>
                        <a:t>参加部门：</a:t>
                      </a: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8">
                  <a:txBody>
                    <a:bodyPr/>
                    <a:lstStyle/>
                    <a:p>
                      <a:pPr indent="0">
                        <a:buNone/>
                      </a:pPr>
                      <a:endParaRPr lang="en-US" altLang="en-US" sz="1400" b="0">
                        <a:latin typeface="微软雅黑" panose="020B0503020204020204" pitchFamily="34" charset="-122"/>
                        <a:ea typeface="微软雅黑" panose="020B0503020204020204" pitchFamily="34" charset="-122"/>
                        <a:cs typeface="微软雅黑" panose="020B0503020204020204" pitchFamily="34"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extLst>
                  <a:ext uri="{0D108BD9-81ED-4DB2-BD59-A6C34878D82A}">
                    <a16:rowId xmlns:a16="http://schemas.microsoft.com/office/drawing/2014/main" val="10013"/>
                  </a:ext>
                </a:extLst>
              </a:tr>
            </a:tbl>
          </a:graphicData>
        </a:graphic>
      </p:graphicFrame>
      <p:sp>
        <p:nvSpPr>
          <p:cNvPr id="11" name="文本框 10"/>
          <p:cNvSpPr txBox="1"/>
          <p:nvPr/>
        </p:nvSpPr>
        <p:spPr>
          <a:xfrm>
            <a:off x="684530" y="6252210"/>
            <a:ext cx="1875155" cy="306705"/>
          </a:xfrm>
          <a:prstGeom prst="rect">
            <a:avLst/>
          </a:prstGeom>
          <a:noFill/>
          <a:ln w="9525">
            <a:noFill/>
          </a:ln>
        </p:spPr>
        <p:txBody>
          <a:bodyPr wrap="square">
            <a:spAutoFit/>
          </a:bodyPr>
          <a:lstStyle/>
          <a:p>
            <a:pPr indent="0"/>
            <a:r>
              <a:rPr lang="zh-CN" sz="1400" b="0">
                <a:latin typeface="+mn-ea"/>
                <a:cs typeface="+mn-ea"/>
              </a:rPr>
              <a:t>附：样板房验收图片</a:t>
            </a:r>
            <a:endParaRPr lang="zh-CN" altLang="en-US" sz="1400">
              <a:latin typeface="+mn-ea"/>
              <a:cs typeface="+mn-ea"/>
            </a:endParaRPr>
          </a:p>
        </p:txBody>
      </p:sp>
    </p:spTree>
  </p:cSld>
  <p:clrMapOvr>
    <a:masterClrMapping/>
  </p:clrMapOvr>
  <p:transition>
    <p:zoom dir="in"/>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4" name="图片占位符 3"/>
          <p:cNvPicPr>
            <a:picLocks noGrp="1" noChangeAspect="1"/>
          </p:cNvPicPr>
          <p:nvPr>
            <p:ph type="pic" idx="1"/>
          </p:nvPr>
        </p:nvPicPr>
        <p:blipFill>
          <a:blip r:embed="rId2"/>
          <a:srcRect/>
          <a:stretch>
            <a:fillRect/>
          </a:stretch>
        </p:blipFill>
        <p:spPr>
          <a:xfrm>
            <a:off x="47244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3422407" y="104496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3</a:t>
            </a:r>
            <a:r>
              <a:rPr lang="zh-CN" altLang="en-US" sz="1800" b="1" dirty="0" smtClean="0">
                <a:solidFill>
                  <a:srgbClr val="000000"/>
                </a:solidFill>
                <a:cs typeface="+mn-ea"/>
              </a:rPr>
              <a:t>、品质管控</a:t>
            </a:r>
            <a:endParaRPr lang="en-US" altLang="zh-CN" sz="1800" b="1" dirty="0" smtClean="0">
              <a:solidFill>
                <a:srgbClr val="000000"/>
              </a:solidFill>
              <a:cs typeface="+mn-ea"/>
              <a:sym typeface="+mn-ea"/>
            </a:endParaRPr>
          </a:p>
        </p:txBody>
      </p:sp>
      <p:sp>
        <p:nvSpPr>
          <p:cNvPr id="6" name="文本框 5"/>
          <p:cNvSpPr txBox="1"/>
          <p:nvPr/>
        </p:nvSpPr>
        <p:spPr>
          <a:xfrm>
            <a:off x="3422650" y="2628265"/>
            <a:ext cx="8344535" cy="364617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endParaRPr lang="en-US" altLang="zh-CN" sz="1400" b="1" dirty="0" smtClean="0">
              <a:solidFill>
                <a:srgbClr val="000000"/>
              </a:solidFill>
              <a:latin typeface="+mn-ea"/>
              <a:cs typeface="+mn-ea"/>
            </a:endParaRP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1</a:t>
            </a:r>
            <a:r>
              <a:rPr lang="zh-CN" altLang="en-US" sz="1400" dirty="0" smtClean="0">
                <a:solidFill>
                  <a:srgbClr val="000000"/>
                </a:solidFill>
                <a:latin typeface="+mn-ea"/>
                <a:cs typeface="+mn-ea"/>
                <a:sym typeface="+mn-ea"/>
              </a:rPr>
              <a:t>、材料验收：基层材料、面层材料、设备是否符合合约明确的品牌型号及质量要求。</a:t>
            </a:r>
            <a:endParaRPr lang="zh-CN" sz="1400" dirty="0" smtClean="0">
              <a:solidFill>
                <a:srgbClr val="000000"/>
              </a:solidFill>
              <a:latin typeface="+mn-ea"/>
              <a:cs typeface="+mn-ea"/>
              <a:sym typeface="+mn-ea"/>
            </a:endParaRPr>
          </a:p>
          <a:p>
            <a:pPr>
              <a:lnSpc>
                <a:spcPct val="150000"/>
              </a:lnSpc>
            </a:pPr>
            <a:r>
              <a:rPr lang="zh-CN" sz="1400" dirty="0" smtClean="0">
                <a:solidFill>
                  <a:srgbClr val="000000"/>
                </a:solidFill>
                <a:latin typeface="+mn-ea"/>
                <a:cs typeface="+mn-ea"/>
                <a:sym typeface="+mn-ea"/>
              </a:rPr>
              <a:t>       </a:t>
            </a:r>
            <a:r>
              <a:rPr lang="en-US" sz="1400" dirty="0" smtClean="0">
                <a:solidFill>
                  <a:srgbClr val="000000"/>
                </a:solidFill>
                <a:latin typeface="+mn-ea"/>
                <a:cs typeface="+mn-ea"/>
                <a:sym typeface="+mn-ea"/>
              </a:rPr>
              <a:t>2</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隐蔽工程：水暖电管线综合排布，给水暖气管线打压试水，线路接驳涮锡处理。</a:t>
            </a:r>
          </a:p>
          <a:p>
            <a:pPr>
              <a:lnSpc>
                <a:spcPct val="150000"/>
              </a:lnSpc>
            </a:pPr>
            <a:r>
              <a:rPr lang="zh-CN" sz="1400" dirty="0" smtClean="0">
                <a:solidFill>
                  <a:srgbClr val="000000"/>
                </a:solidFill>
                <a:latin typeface="+mn-ea"/>
                <a:cs typeface="+mn-ea"/>
                <a:sym typeface="+mn-ea"/>
              </a:rPr>
              <a:t>                             严格控制防水工程质量，杜绝渗漏风险。</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3</a:t>
            </a:r>
            <a:r>
              <a:rPr lang="zh-CN" altLang="en-US" sz="1400" dirty="0" smtClean="0">
                <a:solidFill>
                  <a:srgbClr val="000000"/>
                </a:solidFill>
                <a:latin typeface="+mn-ea"/>
                <a:cs typeface="+mn-ea"/>
                <a:sym typeface="+mn-ea"/>
              </a:rPr>
              <a:t>、</a:t>
            </a:r>
            <a:r>
              <a:rPr lang="zh-CN" sz="1400" dirty="0" smtClean="0">
                <a:solidFill>
                  <a:srgbClr val="000000"/>
                </a:solidFill>
                <a:latin typeface="+mn-ea"/>
                <a:cs typeface="+mn-ea"/>
                <a:sym typeface="+mn-ea"/>
              </a:rPr>
              <a:t>墙顶面基层：基层空鼓、表面垂直平整、阴阳角控制。</a:t>
            </a:r>
          </a:p>
          <a:p>
            <a:pPr>
              <a:lnSpc>
                <a:spcPct val="150000"/>
              </a:lnSpc>
            </a:pPr>
            <a:r>
              <a:rPr lang="zh-CN"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4</a:t>
            </a:r>
            <a:r>
              <a:rPr lang="zh-CN" altLang="en-US" sz="1400" dirty="0" smtClean="0">
                <a:solidFill>
                  <a:srgbClr val="000000"/>
                </a:solidFill>
                <a:latin typeface="+mn-ea"/>
                <a:cs typeface="+mn-ea"/>
                <a:sym typeface="+mn-ea"/>
              </a:rPr>
              <a:t>、湿作业施工：严格执行集团墙地砖空鼓、接缝高低差、质量观感管控标准，降低质量风险。</a:t>
            </a:r>
          </a:p>
          <a:p>
            <a:pPr>
              <a:lnSpc>
                <a:spcPct val="150000"/>
              </a:lnSpc>
            </a:pPr>
            <a:r>
              <a:rPr lang="zh-CN" altLang="en-US"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5</a:t>
            </a:r>
            <a:r>
              <a:rPr lang="zh-CN" altLang="en-US" sz="1400" dirty="0" smtClean="0">
                <a:solidFill>
                  <a:srgbClr val="000000"/>
                </a:solidFill>
                <a:latin typeface="+mn-ea"/>
                <a:cs typeface="+mn-ea"/>
                <a:sym typeface="+mn-ea"/>
              </a:rPr>
              <a:t>、涂饰质量：严控墙顶面涂料、墙面裱糊（壁纸及壁布）施工质量，提高质量观感。</a:t>
            </a:r>
          </a:p>
          <a:p>
            <a:pPr>
              <a:lnSpc>
                <a:spcPct val="150000"/>
              </a:lnSpc>
            </a:pPr>
            <a:r>
              <a:rPr lang="zh-CN" altLang="en-US" sz="1400" dirty="0" smtClean="0">
                <a:solidFill>
                  <a:srgbClr val="000000"/>
                </a:solidFill>
                <a:latin typeface="+mn-ea"/>
                <a:cs typeface="+mn-ea"/>
                <a:sym typeface="+mn-ea"/>
              </a:rPr>
              <a:t>       </a:t>
            </a:r>
            <a:r>
              <a:rPr lang="en-US" altLang="zh-CN" sz="1400" dirty="0" smtClean="0">
                <a:solidFill>
                  <a:srgbClr val="000000"/>
                </a:solidFill>
                <a:latin typeface="+mn-ea"/>
                <a:cs typeface="+mn-ea"/>
                <a:sym typeface="+mn-ea"/>
              </a:rPr>
              <a:t>6</a:t>
            </a:r>
            <a:r>
              <a:rPr lang="zh-CN" altLang="en-US" sz="1400" dirty="0" smtClean="0">
                <a:solidFill>
                  <a:srgbClr val="000000"/>
                </a:solidFill>
                <a:latin typeface="+mn-ea"/>
                <a:cs typeface="+mn-ea"/>
                <a:sym typeface="+mn-ea"/>
              </a:rPr>
              <a:t>、木制品安装：成品门、木饰面、木作收纳、木地板等木作工程安装质量控制。</a:t>
            </a:r>
          </a:p>
          <a:p>
            <a:pPr>
              <a:lnSpc>
                <a:spcPct val="150000"/>
              </a:lnSpc>
            </a:pPr>
            <a:r>
              <a:rPr lang="zh-CN" altLang="en-US" sz="1400" dirty="0" smtClean="0">
                <a:solidFill>
                  <a:srgbClr val="000000"/>
                </a:solidFill>
                <a:latin typeface="+mn-ea"/>
                <a:cs typeface="+mn-ea"/>
                <a:sym typeface="+mn-ea"/>
              </a:rPr>
              <a:t>     </a:t>
            </a:r>
            <a:r>
              <a:rPr lang="zh-CN" sz="1400" dirty="0" smtClean="0">
                <a:solidFill>
                  <a:srgbClr val="000000"/>
                </a:solidFill>
                <a:latin typeface="+mn-ea"/>
                <a:cs typeface="+mn-ea"/>
                <a:sym typeface="+mn-ea"/>
              </a:rPr>
              <a:t>   </a:t>
            </a:r>
          </a:p>
          <a:p>
            <a:pPr>
              <a:lnSpc>
                <a:spcPct val="150000"/>
              </a:lnSpc>
            </a:pPr>
            <a:r>
              <a:rPr lang="zh-CN" altLang="en-US" sz="1400" b="1" dirty="0" smtClean="0">
                <a:solidFill>
                  <a:srgbClr val="000000"/>
                </a:solidFill>
                <a:latin typeface="+mn-ea"/>
                <a:cs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rPr>
              <a:t>      严格管控精装过程质量，提高施工质量，降低交付风险。</a:t>
            </a:r>
            <a:r>
              <a:rPr lang="en-US" altLang="zh-CN" sz="1400" dirty="0">
                <a:solidFill>
                  <a:srgbClr val="000000"/>
                </a:solidFill>
                <a:latin typeface="+mn-ea"/>
                <a:cs typeface="+mn-ea"/>
              </a:rPr>
              <a:t> </a:t>
            </a: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1</a:t>
            </a:r>
            <a:r>
              <a:rPr lang="zh-CN" altLang="en-US" sz="1800" b="1" dirty="0" smtClean="0">
                <a:solidFill>
                  <a:srgbClr val="000000"/>
                </a:solidFill>
                <a:cs typeface="+mn-ea"/>
              </a:rPr>
              <a:t>、材料</a:t>
            </a:r>
            <a:r>
              <a:rPr lang="zh-CN" sz="1800" b="1" dirty="0" smtClean="0">
                <a:solidFill>
                  <a:srgbClr val="000000"/>
                </a:solidFill>
                <a:cs typeface="+mn-ea"/>
              </a:rPr>
              <a:t>验收</a:t>
            </a:r>
            <a:endParaRPr lang="zh-CN" sz="1800" b="1" dirty="0" smtClean="0">
              <a:solidFill>
                <a:srgbClr val="000000"/>
              </a:solidFill>
              <a:cs typeface="+mn-ea"/>
              <a:sym typeface="+mn-ea"/>
            </a:endParaRPr>
          </a:p>
        </p:txBody>
      </p:sp>
      <p:sp>
        <p:nvSpPr>
          <p:cNvPr id="6" name="文本框 5"/>
          <p:cNvSpPr txBox="1"/>
          <p:nvPr/>
        </p:nvSpPr>
        <p:spPr>
          <a:xfrm>
            <a:off x="684530" y="1297305"/>
            <a:ext cx="4910455" cy="429260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p>
          <a:p>
            <a:pPr>
              <a:lnSpc>
                <a:spcPct val="150000"/>
              </a:lnSpc>
            </a:pPr>
            <a:r>
              <a:rPr lang="zh-CN" altLang="en-US" sz="1400" dirty="0" smtClean="0">
                <a:solidFill>
                  <a:srgbClr val="000000"/>
                </a:solidFill>
                <a:latin typeface="+mn-ea"/>
                <a:cs typeface="+mn-ea"/>
                <a:sym typeface="+mn-ea"/>
              </a:rPr>
              <a:t>核实材料品牌及质量规格是否</a:t>
            </a:r>
            <a:r>
              <a:rPr lang="zh-CN" altLang="en-US" sz="1400" dirty="0">
                <a:solidFill>
                  <a:srgbClr val="000000"/>
                </a:solidFill>
                <a:latin typeface="+mn-ea"/>
                <a:cs typeface="+mn-ea"/>
                <a:sym typeface="+mn-ea"/>
              </a:rPr>
              <a:t>与合约及精装封样相符</a:t>
            </a:r>
            <a:r>
              <a:rPr lang="zh-CN" altLang="en-US" sz="1400" dirty="0" smtClean="0">
                <a:solidFill>
                  <a:srgbClr val="000000"/>
                </a:solidFill>
                <a:latin typeface="+mn-ea"/>
                <a:cs typeface="+mn-ea"/>
                <a:sym typeface="+mn-ea"/>
              </a:rPr>
              <a:t>。</a:t>
            </a:r>
            <a:endParaRPr lang="en-US" altLang="zh-CN" sz="1400" b="1" dirty="0" smtClean="0">
              <a:solidFill>
                <a:srgbClr val="000000"/>
              </a:solidFill>
              <a:latin typeface="+mn-ea"/>
              <a:cs typeface="+mn-ea"/>
            </a:endParaRPr>
          </a:p>
          <a:p>
            <a:pPr>
              <a:lnSpc>
                <a:spcPct val="150000"/>
              </a:lnSpc>
            </a:pPr>
            <a:r>
              <a:rPr lang="zh-CN" altLang="en-US" sz="1400" dirty="0">
                <a:solidFill>
                  <a:srgbClr val="000000"/>
                </a:solidFill>
                <a:latin typeface="+mn-ea"/>
                <a:cs typeface="+mn-ea"/>
                <a:sym typeface="+mn-ea"/>
              </a:rPr>
              <a:t>板材</a:t>
            </a:r>
            <a:r>
              <a:rPr lang="zh-CN" altLang="en-US" sz="1400" dirty="0" smtClean="0">
                <a:solidFill>
                  <a:srgbClr val="000000"/>
                </a:solidFill>
                <a:latin typeface="+mn-ea"/>
                <a:cs typeface="+mn-ea"/>
                <a:sym typeface="+mn-ea"/>
              </a:rPr>
              <a:t>类：大芯板、石膏板及龙骨、多层板、阻燃板等</a:t>
            </a:r>
          </a:p>
          <a:p>
            <a:pPr>
              <a:lnSpc>
                <a:spcPct val="150000"/>
              </a:lnSpc>
            </a:pPr>
            <a:r>
              <a:rPr lang="zh-CN" altLang="en-US" sz="1400" dirty="0" smtClean="0">
                <a:solidFill>
                  <a:srgbClr val="000000"/>
                </a:solidFill>
                <a:latin typeface="+mn-ea"/>
                <a:cs typeface="+mn-ea"/>
                <a:sym typeface="+mn-ea"/>
              </a:rPr>
              <a:t>瓷砖类：墙砖、地砖、石材等</a:t>
            </a:r>
          </a:p>
          <a:p>
            <a:pPr>
              <a:lnSpc>
                <a:spcPct val="150000"/>
              </a:lnSpc>
            </a:pPr>
            <a:r>
              <a:rPr lang="zh-CN" altLang="en-US" sz="1400" dirty="0" smtClean="0">
                <a:solidFill>
                  <a:srgbClr val="000000"/>
                </a:solidFill>
                <a:latin typeface="+mn-ea"/>
                <a:cs typeface="+mn-ea"/>
                <a:sym typeface="+mn-ea"/>
              </a:rPr>
              <a:t>饰面材料：腻子、底漆、面漆、壁纸、扣板及龙骨等</a:t>
            </a:r>
          </a:p>
          <a:p>
            <a:pPr>
              <a:lnSpc>
                <a:spcPct val="150000"/>
              </a:lnSpc>
            </a:pPr>
            <a:r>
              <a:rPr lang="zh-CN" altLang="en-US" sz="1400" dirty="0" smtClean="0">
                <a:solidFill>
                  <a:srgbClr val="000000"/>
                </a:solidFill>
                <a:latin typeface="+mn-ea"/>
                <a:cs typeface="+mn-ea"/>
                <a:sym typeface="+mn-ea"/>
              </a:rPr>
              <a:t>管材类：给水管、排水管、接驳管件、暖气管等</a:t>
            </a:r>
          </a:p>
          <a:p>
            <a:pPr>
              <a:lnSpc>
                <a:spcPct val="150000"/>
              </a:lnSpc>
            </a:pPr>
            <a:r>
              <a:rPr lang="zh-CN" altLang="en-US" sz="1400" dirty="0" smtClean="0">
                <a:solidFill>
                  <a:srgbClr val="000000"/>
                </a:solidFill>
                <a:cs typeface="+mn-ea"/>
                <a:sym typeface="+mn-ea"/>
              </a:rPr>
              <a:t>电气类：强电线、弱电线、底盒、电箱、开关、插座等</a:t>
            </a:r>
          </a:p>
          <a:p>
            <a:pPr lvl="0" algn="l">
              <a:lnSpc>
                <a:spcPct val="150000"/>
              </a:lnSpc>
            </a:pPr>
            <a:endParaRPr lang="zh-CN" altLang="en-US" sz="1400" b="1" dirty="0" smtClean="0">
              <a:solidFill>
                <a:srgbClr val="000000"/>
              </a:solidFill>
              <a:cs typeface="+mn-ea"/>
              <a:sym typeface="+mn-ea"/>
            </a:endParaRPr>
          </a:p>
          <a:p>
            <a:pPr lvl="0" algn="l">
              <a:lnSpc>
                <a:spcPct val="150000"/>
              </a:lnSpc>
            </a:pPr>
            <a:r>
              <a:rPr lang="en-US" altLang="zh-CN" sz="1400" b="1" dirty="0">
                <a:solidFill>
                  <a:srgbClr val="000000"/>
                </a:solidFill>
                <a:cs typeface="+mn-ea"/>
                <a:sym typeface="+mn-ea"/>
              </a:rPr>
              <a:t>★</a:t>
            </a:r>
            <a:r>
              <a:rPr lang="zh-CN" altLang="en-US" sz="1400" b="1" dirty="0" smtClean="0">
                <a:solidFill>
                  <a:srgbClr val="000000"/>
                </a:solidFill>
                <a:cs typeface="+mn-ea"/>
                <a:sym typeface="+mn-ea"/>
              </a:rPr>
              <a:t>沙子：因铺贴所需，精装所用沙子要求相对较高，含金量高的沙子将会造成墙地砖黏贴不牢而造成严重质量风险。</a:t>
            </a:r>
          </a:p>
          <a:p>
            <a:pPr lvl="0" algn="l">
              <a:lnSpc>
                <a:spcPct val="150000"/>
              </a:lnSpc>
            </a:pPr>
            <a:r>
              <a:rPr lang="zh-CN" altLang="en-US" sz="1400" b="1" dirty="0" smtClean="0">
                <a:solidFill>
                  <a:srgbClr val="000000"/>
                </a:solidFill>
                <a:cs typeface="+mn-ea"/>
                <a:sym typeface="+mn-ea"/>
              </a:rPr>
              <a:t>水泥沙子如果质量不合格将会对墙顶面基层找平层造成强度不够，发生空鼓或开裂等质量问题。</a:t>
            </a:r>
            <a:endParaRPr lang="zh-CN" altLang="en-US" sz="1400" b="1" dirty="0" smtClean="0">
              <a:solidFill>
                <a:srgbClr val="000000"/>
              </a:solidFill>
              <a:latin typeface="+mn-ea"/>
              <a:cs typeface="+mn-ea"/>
              <a:sym typeface="+mn-ea"/>
            </a:endParaRPr>
          </a:p>
          <a:p>
            <a:pPr>
              <a:lnSpc>
                <a:spcPct val="150000"/>
              </a:lnSpc>
            </a:pPr>
            <a:endParaRPr lang="zh-CN" altLang="en-US" sz="1400" dirty="0">
              <a:solidFill>
                <a:srgbClr val="000000"/>
              </a:solidFill>
              <a:latin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4" name="图片 3" descr="98cedbf2905e4ea6af67c85d7a2781b3_th"/>
          <p:cNvPicPr>
            <a:picLocks noChangeAspect="1"/>
          </p:cNvPicPr>
          <p:nvPr/>
        </p:nvPicPr>
        <p:blipFill>
          <a:blip r:embed="rId2"/>
          <a:stretch>
            <a:fillRect/>
          </a:stretch>
        </p:blipFill>
        <p:spPr>
          <a:xfrm>
            <a:off x="5694680" y="1297305"/>
            <a:ext cx="3486785" cy="297688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8" name="图片 7" descr="材料样板1"/>
          <p:cNvPicPr>
            <a:picLocks noChangeAspect="1"/>
          </p:cNvPicPr>
          <p:nvPr/>
        </p:nvPicPr>
        <p:blipFill>
          <a:blip r:embed="rId3"/>
          <a:stretch>
            <a:fillRect/>
          </a:stretch>
        </p:blipFill>
        <p:spPr>
          <a:xfrm rot="16200000">
            <a:off x="9056370" y="1659890"/>
            <a:ext cx="2976880" cy="225171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9" name="文本框 8"/>
          <p:cNvSpPr txBox="1"/>
          <p:nvPr/>
        </p:nvSpPr>
        <p:spPr>
          <a:xfrm>
            <a:off x="684530" y="5179060"/>
            <a:ext cx="11090275" cy="106045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目的：</a:t>
            </a:r>
            <a:r>
              <a:rPr lang="zh-CN" altLang="en-US" sz="1400" dirty="0" smtClean="0">
                <a:solidFill>
                  <a:srgbClr val="000000"/>
                </a:solidFill>
                <a:latin typeface="+mn-ea"/>
                <a:cs typeface="+mn-ea"/>
              </a:rPr>
              <a:t>        </a:t>
            </a:r>
            <a:endParaRPr lang="en-US" altLang="zh-CN" sz="1400" dirty="0" smtClean="0">
              <a:solidFill>
                <a:srgbClr val="000000"/>
              </a:solidFill>
              <a:latin typeface="+mn-ea"/>
              <a:cs typeface="+mn-ea"/>
            </a:endParaRPr>
          </a:p>
          <a:p>
            <a:pPr>
              <a:lnSpc>
                <a:spcPct val="150000"/>
              </a:lnSpc>
            </a:pPr>
            <a:r>
              <a:rPr lang="en-US" altLang="zh-CN" sz="1400" dirty="0">
                <a:solidFill>
                  <a:srgbClr val="000000"/>
                </a:solidFill>
                <a:latin typeface="+mn-ea"/>
                <a:cs typeface="+mn-ea"/>
              </a:rPr>
              <a:t> </a:t>
            </a:r>
            <a:r>
              <a:rPr lang="en-US" altLang="zh-CN" sz="1400" dirty="0" smtClean="0">
                <a:solidFill>
                  <a:srgbClr val="000000"/>
                </a:solidFill>
                <a:latin typeface="+mn-ea"/>
                <a:cs typeface="+mn-ea"/>
              </a:rPr>
              <a:t>      </a:t>
            </a:r>
            <a:r>
              <a:rPr lang="zh-CN" altLang="en-US" sz="1400" dirty="0" smtClean="0">
                <a:solidFill>
                  <a:srgbClr val="000000"/>
                </a:solidFill>
                <a:latin typeface="+mn-ea"/>
                <a:cs typeface="+mn-ea"/>
              </a:rPr>
              <a:t>在精装的初期，必须严格把控基层材料质量关，方可保证精装品质。严格控制管材类及电气类材料质量，方可杜绝隐蔽工程质量问题发生。</a:t>
            </a:r>
            <a:r>
              <a:rPr lang="zh-CN" altLang="en-US" sz="1400" b="1" dirty="0" smtClean="0">
                <a:solidFill>
                  <a:srgbClr val="000000"/>
                </a:solidFill>
                <a:latin typeface="+mn-ea"/>
                <a:cs typeface="+mn-ea"/>
              </a:rPr>
              <a:t>严格执行合同约定，杜绝以次充好问题发生，保证精装品质。</a:t>
            </a:r>
            <a:endParaRPr lang="en-US" altLang="zh-CN" sz="1400" b="1" dirty="0">
              <a:solidFill>
                <a:srgbClr val="000000"/>
              </a:solidFill>
              <a:latin typeface="+mn-ea"/>
              <a:cs typeface="+mn-ea"/>
            </a:endParaRPr>
          </a:p>
        </p:txBody>
      </p:sp>
    </p:spTree>
  </p:cSld>
  <p:clrMapOvr>
    <a:masterClrMapping/>
  </p:clrMapOvr>
  <p:transition>
    <p:zoom dir="in"/>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3-1</a:t>
            </a:r>
            <a:r>
              <a:rPr lang="zh-CN" altLang="en-US" sz="1800" b="1" dirty="0" smtClean="0">
                <a:solidFill>
                  <a:srgbClr val="000000"/>
                </a:solidFill>
                <a:cs typeface="+mn-ea"/>
                <a:sym typeface="+mn-ea"/>
              </a:rPr>
              <a:t>、材料</a:t>
            </a:r>
            <a:r>
              <a:rPr lang="zh-CN" sz="1800" b="1" dirty="0" smtClean="0">
                <a:solidFill>
                  <a:srgbClr val="000000"/>
                </a:solidFill>
                <a:cs typeface="+mn-ea"/>
                <a:sym typeface="+mn-ea"/>
              </a:rPr>
              <a:t>验收（实例）</a:t>
            </a:r>
            <a:endParaRPr lang="en-US" alt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7705725" y="4337685"/>
            <a:ext cx="3569970" cy="192214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验收过程：</a:t>
            </a:r>
            <a:r>
              <a:rPr lang="zh-CN" altLang="en-US" sz="1400" dirty="0" smtClean="0">
                <a:solidFill>
                  <a:srgbClr val="000000"/>
                </a:solidFill>
                <a:latin typeface="+mn-ea"/>
                <a:cs typeface="+mn-ea"/>
              </a:rPr>
              <a:t>        </a:t>
            </a:r>
            <a:endParaRPr lang="en-US" altLang="zh-CN" sz="1400" dirty="0" smtClean="0">
              <a:solidFill>
                <a:srgbClr val="000000"/>
              </a:solidFill>
              <a:latin typeface="+mn-ea"/>
              <a:cs typeface="+mn-ea"/>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en-US" altLang="zh-CN" sz="1400" dirty="0">
                <a:solidFill>
                  <a:srgbClr val="000000"/>
                </a:solidFill>
                <a:latin typeface="+mn-ea"/>
                <a:cs typeface="+mn-ea"/>
              </a:rPr>
              <a:t> </a:t>
            </a:r>
            <a:r>
              <a:rPr lang="en-US" altLang="zh-CN" sz="1400" dirty="0" smtClean="0">
                <a:solidFill>
                  <a:srgbClr val="000000"/>
                </a:solidFill>
                <a:latin typeface="+mn-ea"/>
                <a:cs typeface="+mn-ea"/>
              </a:rPr>
              <a:t>      </a:t>
            </a:r>
            <a:r>
              <a:rPr lang="zh-CN" altLang="en-US" sz="1400" noProof="0" dirty="0">
                <a:ln>
                  <a:noFill/>
                </a:ln>
                <a:effectLst/>
                <a:uLnTx/>
                <a:uFillTx/>
                <a:latin typeface="+mn-ea"/>
                <a:cs typeface="+mn-ea"/>
                <a:sym typeface="+mn-ea"/>
              </a:rPr>
              <a:t>材料验收必须由甲乙方（如有监理）一起抽样检测、核对数量</a:t>
            </a:r>
            <a:endParaRPr kumimoji="0" lang="zh-CN" altLang="en-US" sz="1400" b="0" i="0" u="none" strike="noStrike" kern="1200" cap="none" spc="0" normalizeH="0" baseline="0" noProof="0" dirty="0">
              <a:ln>
                <a:noFill/>
              </a:ln>
              <a:solidFill>
                <a:schemeClr val="tx1"/>
              </a:solidFill>
              <a:effectLst/>
              <a:uLnTx/>
              <a:uFillTx/>
              <a:latin typeface="+mn-ea"/>
              <a:cs typeface="+mn-ea"/>
              <a:sym typeface="+mn-ea"/>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zh-CN" altLang="en-US" sz="1400" noProof="0" dirty="0">
                <a:ln>
                  <a:noFill/>
                </a:ln>
                <a:effectLst/>
                <a:uLnTx/>
                <a:uFillTx/>
                <a:latin typeface="+mn-ea"/>
                <a:cs typeface="+mn-ea"/>
                <a:sym typeface="+mn-ea"/>
              </a:rPr>
              <a:t> </a:t>
            </a:r>
            <a:r>
              <a:rPr lang="en-US" sz="1400" noProof="0" dirty="0">
                <a:ln>
                  <a:noFill/>
                </a:ln>
                <a:effectLst/>
                <a:uLnTx/>
                <a:uFillTx/>
                <a:latin typeface="+mn-ea"/>
                <a:cs typeface="+mn-ea"/>
                <a:sym typeface="+mn-ea"/>
              </a:rPr>
              <a:t>1.</a:t>
            </a:r>
            <a:r>
              <a:rPr lang="zh-CN" altLang="en-US" sz="1400" dirty="0" smtClean="0">
                <a:solidFill>
                  <a:srgbClr val="000000"/>
                </a:solidFill>
                <a:latin typeface="+mn-ea"/>
                <a:cs typeface="+mn-ea"/>
                <a:sym typeface="+mn-ea"/>
              </a:rPr>
              <a:t>外观</a:t>
            </a:r>
            <a:r>
              <a:rPr lang="zh-CN" altLang="en-US" sz="1400" noProof="0" dirty="0">
                <a:ln>
                  <a:noFill/>
                </a:ln>
                <a:effectLst/>
                <a:uLnTx/>
                <a:uFillTx/>
                <a:latin typeface="+mn-ea"/>
                <a:cs typeface="+mn-ea"/>
                <a:sym typeface="+mn-ea"/>
              </a:rPr>
              <a:t>、规格尺寸</a:t>
            </a:r>
            <a:endParaRPr kumimoji="0" lang="zh-CN" altLang="en-US" sz="1400" b="0" i="0" u="none" strike="noStrike" kern="1200" cap="none" spc="0" normalizeH="0" baseline="0" noProof="0" dirty="0">
              <a:ln>
                <a:noFill/>
              </a:ln>
              <a:solidFill>
                <a:schemeClr val="tx1"/>
              </a:solidFill>
              <a:effectLst/>
              <a:uLnTx/>
              <a:uFillTx/>
              <a:latin typeface="+mn-ea"/>
              <a:cs typeface="+mn-ea"/>
              <a:sym typeface="+mn-ea"/>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zh-CN" altLang="en-US" sz="1400" noProof="0" dirty="0">
                <a:ln>
                  <a:noFill/>
                </a:ln>
                <a:effectLst/>
                <a:uLnTx/>
                <a:uFillTx/>
                <a:latin typeface="+mn-ea"/>
                <a:cs typeface="+mn-ea"/>
                <a:sym typeface="+mn-ea"/>
              </a:rPr>
              <a:t> </a:t>
            </a:r>
            <a:r>
              <a:rPr lang="en-US" sz="1400" noProof="0" dirty="0">
                <a:ln>
                  <a:noFill/>
                </a:ln>
                <a:effectLst/>
                <a:uLnTx/>
                <a:uFillTx/>
                <a:latin typeface="+mn-ea"/>
                <a:cs typeface="+mn-ea"/>
                <a:sym typeface="+mn-ea"/>
              </a:rPr>
              <a:t>2.</a:t>
            </a:r>
            <a:r>
              <a:rPr lang="zh-CN" altLang="en-US" sz="1400" noProof="0" dirty="0">
                <a:ln>
                  <a:noFill/>
                </a:ln>
                <a:effectLst/>
                <a:uLnTx/>
                <a:uFillTx/>
                <a:latin typeface="+mn-ea"/>
                <a:cs typeface="+mn-ea"/>
                <a:sym typeface="+mn-ea"/>
              </a:rPr>
              <a:t>质量证明资料</a:t>
            </a:r>
            <a:endParaRPr kumimoji="0" lang="zh-CN" altLang="en-US" sz="1400" b="0" i="0" u="none" strike="noStrike" kern="1200" cap="none" spc="0" normalizeH="0" baseline="0" noProof="0" dirty="0">
              <a:ln>
                <a:noFill/>
              </a:ln>
              <a:solidFill>
                <a:schemeClr val="tx1"/>
              </a:solidFill>
              <a:effectLst/>
              <a:uLnTx/>
              <a:uFillTx/>
              <a:latin typeface="+mn-ea"/>
              <a:cs typeface="+mn-ea"/>
              <a:sym typeface="+mn-ea"/>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zh-CN" altLang="en-US" sz="1400" noProof="0" dirty="0">
                <a:ln>
                  <a:noFill/>
                </a:ln>
                <a:effectLst/>
                <a:uLnTx/>
                <a:uFillTx/>
                <a:latin typeface="+mn-ea"/>
                <a:cs typeface="+mn-ea"/>
                <a:sym typeface="+mn-ea"/>
              </a:rPr>
              <a:t> </a:t>
            </a:r>
            <a:r>
              <a:rPr lang="en-US" sz="1400" noProof="0" dirty="0">
                <a:ln>
                  <a:noFill/>
                </a:ln>
                <a:effectLst/>
                <a:uLnTx/>
                <a:uFillTx/>
                <a:latin typeface="+mn-ea"/>
                <a:cs typeface="+mn-ea"/>
                <a:sym typeface="+mn-ea"/>
              </a:rPr>
              <a:t>3.</a:t>
            </a:r>
            <a:r>
              <a:rPr lang="zh-CN" altLang="en-US" sz="1400" noProof="0" dirty="0">
                <a:ln>
                  <a:noFill/>
                </a:ln>
                <a:effectLst/>
                <a:uLnTx/>
                <a:uFillTx/>
                <a:latin typeface="+mn-ea"/>
                <a:cs typeface="+mn-ea"/>
                <a:sym typeface="+mn-ea"/>
              </a:rPr>
              <a:t>环保证明资料</a:t>
            </a:r>
            <a:endParaRPr kumimoji="0" lang="zh-CN" altLang="en-US" sz="1400" b="0" i="0" u="none" strike="noStrike" kern="1200" cap="none" spc="0" normalizeH="0" baseline="0" noProof="0" dirty="0">
              <a:ln>
                <a:noFill/>
              </a:ln>
              <a:solidFill>
                <a:schemeClr val="tx1"/>
              </a:solidFill>
              <a:effectLst/>
              <a:uLnTx/>
              <a:uFillTx/>
              <a:latin typeface="+mn-ea"/>
              <a:cs typeface="+mn-ea"/>
              <a:sym typeface="+mn-ea"/>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zh-CN" altLang="en-US" sz="1400" noProof="0" dirty="0">
                <a:ln>
                  <a:noFill/>
                </a:ln>
                <a:effectLst/>
                <a:uLnTx/>
                <a:uFillTx/>
                <a:latin typeface="+mn-ea"/>
                <a:cs typeface="+mn-ea"/>
                <a:sym typeface="+mn-ea"/>
              </a:rPr>
              <a:t> </a:t>
            </a:r>
            <a:r>
              <a:rPr lang="en-US" sz="1400" noProof="0" dirty="0">
                <a:ln>
                  <a:noFill/>
                </a:ln>
                <a:effectLst/>
                <a:uLnTx/>
                <a:uFillTx/>
                <a:latin typeface="+mn-ea"/>
                <a:cs typeface="+mn-ea"/>
                <a:sym typeface="+mn-ea"/>
              </a:rPr>
              <a:t>4.</a:t>
            </a:r>
            <a:r>
              <a:rPr lang="zh-CN" altLang="en-US" sz="1400" noProof="0" dirty="0">
                <a:ln>
                  <a:noFill/>
                </a:ln>
                <a:effectLst/>
                <a:uLnTx/>
                <a:uFillTx/>
                <a:latin typeface="+mn-ea"/>
                <a:cs typeface="+mn-ea"/>
                <a:sym typeface="+mn-ea"/>
              </a:rPr>
              <a:t>材料样品比对</a:t>
            </a:r>
            <a:endParaRPr kumimoji="0" lang="en-US" sz="1400" b="0" i="0" u="none" strike="noStrike" kern="1200" cap="none" spc="0" normalizeH="0" baseline="0" noProof="0" dirty="0">
              <a:ln>
                <a:noFill/>
              </a:ln>
              <a:solidFill>
                <a:schemeClr val="tx1"/>
              </a:solidFill>
              <a:effectLst/>
              <a:uLnTx/>
              <a:uFillTx/>
              <a:latin typeface="+mn-ea"/>
              <a:cs typeface="+mn-ea"/>
              <a:sym typeface="+mn-ea"/>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zh-CN" altLang="en-US" sz="1400" noProof="0" dirty="0">
                <a:ln>
                  <a:noFill/>
                </a:ln>
                <a:effectLst/>
                <a:uLnTx/>
                <a:uFillTx/>
                <a:latin typeface="+mn-ea"/>
                <a:cs typeface="+mn-ea"/>
                <a:sym typeface="+mn-ea"/>
              </a:rPr>
              <a:t>检验结果判定</a:t>
            </a:r>
            <a:r>
              <a:rPr lang="en-US" sz="1400" noProof="0" dirty="0">
                <a:ln>
                  <a:noFill/>
                </a:ln>
                <a:effectLst/>
                <a:uLnTx/>
                <a:uFillTx/>
                <a:latin typeface="+mn-ea"/>
                <a:cs typeface="+mn-ea"/>
                <a:sym typeface="+mn-ea"/>
              </a:rPr>
              <a:t>:</a:t>
            </a:r>
            <a:r>
              <a:rPr lang="zh-CN" altLang="en-US" sz="1400" noProof="0" dirty="0">
                <a:ln>
                  <a:noFill/>
                </a:ln>
                <a:solidFill>
                  <a:srgbClr val="FF0000"/>
                </a:solidFill>
                <a:effectLst/>
                <a:uLnTx/>
                <a:uFillTx/>
                <a:latin typeface="+mn-ea"/>
                <a:cs typeface="+mn-ea"/>
                <a:sym typeface="+mn-ea"/>
              </a:rPr>
              <a:t>合格入库使用、不合格退货</a:t>
            </a:r>
            <a:endParaRPr lang="en-US" altLang="zh-CN" sz="1400" b="1" dirty="0">
              <a:solidFill>
                <a:srgbClr val="000000"/>
              </a:solidFill>
              <a:latin typeface="+mn-ea"/>
              <a:cs typeface="+mn-ea"/>
            </a:endParaRPr>
          </a:p>
        </p:txBody>
      </p:sp>
      <p:pic>
        <p:nvPicPr>
          <p:cNvPr id="11" name="Picture 4" descr="IMG_2505"/>
          <p:cNvPicPr>
            <a:picLocks noGrp="1" noChangeAspect="1"/>
          </p:cNvPicPr>
          <p:nvPr>
            <p:ph idx="1"/>
          </p:nvPr>
        </p:nvPicPr>
        <p:blipFill>
          <a:blip r:embed="rId2"/>
          <a:stretch>
            <a:fillRect/>
          </a:stretch>
        </p:blipFill>
        <p:spPr>
          <a:xfrm>
            <a:off x="589915" y="2802890"/>
            <a:ext cx="4161155" cy="345757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3" name="Picture 5" descr="调整大小 P7010312"/>
          <p:cNvPicPr>
            <a:picLocks noChangeAspect="1"/>
          </p:cNvPicPr>
          <p:nvPr/>
        </p:nvPicPr>
        <p:blipFill>
          <a:blip r:embed="rId3"/>
          <a:stretch>
            <a:fillRect/>
          </a:stretch>
        </p:blipFill>
        <p:spPr>
          <a:xfrm>
            <a:off x="4919345" y="2802890"/>
            <a:ext cx="2648585" cy="3456940"/>
          </a:xfrm>
          <a:prstGeom prst="rect">
            <a:avLst/>
          </a:prstGeom>
          <a:noFill/>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84287" y="70269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3.1  进场材料验收单</a:t>
            </a:r>
          </a:p>
        </p:txBody>
      </p:sp>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sym typeface="+mn-ea"/>
              </a:rPr>
              <a:t>五</a:t>
            </a:r>
            <a:r>
              <a:rPr lang="zh-CN" altLang="en-US" sz="2000" b="1" dirty="0" smtClean="0">
                <a:solidFill>
                  <a:srgbClr val="F64C31"/>
                </a:solidFill>
                <a:cs typeface="+mn-ea"/>
                <a:sym typeface="+mn-ea"/>
              </a:rPr>
              <a:t>、精装过程</a:t>
            </a:r>
            <a:endParaRPr lang="en-US" altLang="zh-CN" sz="2000" b="1" dirty="0">
              <a:cs typeface="+mn-ea"/>
            </a:endParaRPr>
          </a:p>
        </p:txBody>
      </p:sp>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aphicFrame>
        <p:nvGraphicFramePr>
          <p:cNvPr id="2" name="表格 1"/>
          <p:cNvGraphicFramePr/>
          <p:nvPr/>
        </p:nvGraphicFramePr>
        <p:xfrm>
          <a:off x="684530" y="1234440"/>
          <a:ext cx="10897870" cy="5337175"/>
        </p:xfrm>
        <a:graphic>
          <a:graphicData uri="http://schemas.openxmlformats.org/drawingml/2006/table">
            <a:tbl>
              <a:tblPr firstRow="1" bandRow="1">
                <a:tableStyleId>{5C22544A-7EE6-4342-B048-85BDC9FD1C3A}</a:tableStyleId>
              </a:tblPr>
              <a:tblGrid>
                <a:gridCol w="626745">
                  <a:extLst>
                    <a:ext uri="{9D8B030D-6E8A-4147-A177-3AD203B41FA5}">
                      <a16:colId xmlns:a16="http://schemas.microsoft.com/office/drawing/2014/main" val="20000"/>
                    </a:ext>
                  </a:extLst>
                </a:gridCol>
                <a:gridCol w="1184910">
                  <a:extLst>
                    <a:ext uri="{9D8B030D-6E8A-4147-A177-3AD203B41FA5}">
                      <a16:colId xmlns:a16="http://schemas.microsoft.com/office/drawing/2014/main" val="20001"/>
                    </a:ext>
                  </a:extLst>
                </a:gridCol>
                <a:gridCol w="1128395">
                  <a:extLst>
                    <a:ext uri="{9D8B030D-6E8A-4147-A177-3AD203B41FA5}">
                      <a16:colId xmlns:a16="http://schemas.microsoft.com/office/drawing/2014/main" val="20002"/>
                    </a:ext>
                  </a:extLst>
                </a:gridCol>
                <a:gridCol w="1282065">
                  <a:extLst>
                    <a:ext uri="{9D8B030D-6E8A-4147-A177-3AD203B41FA5}">
                      <a16:colId xmlns:a16="http://schemas.microsoft.com/office/drawing/2014/main" val="20003"/>
                    </a:ext>
                  </a:extLst>
                </a:gridCol>
                <a:gridCol w="1540510">
                  <a:extLst>
                    <a:ext uri="{9D8B030D-6E8A-4147-A177-3AD203B41FA5}">
                      <a16:colId xmlns:a16="http://schemas.microsoft.com/office/drawing/2014/main" val="20004"/>
                    </a:ext>
                  </a:extLst>
                </a:gridCol>
                <a:gridCol w="1398270">
                  <a:extLst>
                    <a:ext uri="{9D8B030D-6E8A-4147-A177-3AD203B41FA5}">
                      <a16:colId xmlns:a16="http://schemas.microsoft.com/office/drawing/2014/main" val="20005"/>
                    </a:ext>
                  </a:extLst>
                </a:gridCol>
                <a:gridCol w="3736975">
                  <a:extLst>
                    <a:ext uri="{9D8B030D-6E8A-4147-A177-3AD203B41FA5}">
                      <a16:colId xmlns:a16="http://schemas.microsoft.com/office/drawing/2014/main" val="20006"/>
                    </a:ext>
                  </a:extLst>
                </a:gridCol>
              </a:tblGrid>
              <a:tr h="410210">
                <a:tc gridSpan="3">
                  <a:txBody>
                    <a:bodyPr/>
                    <a:lstStyle/>
                    <a:p>
                      <a:pPr indent="0">
                        <a:buNone/>
                      </a:pPr>
                      <a:r>
                        <a:rPr lang="zh-CN" sz="1400" b="1">
                          <a:solidFill>
                            <a:srgbClr val="000000"/>
                          </a:solidFill>
                          <a:latin typeface="+mn-ea"/>
                        </a:rPr>
                        <a:t>工程名称：</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r>
                        <a:rPr lang="zh-CN" sz="1400" b="1">
                          <a:solidFill>
                            <a:srgbClr val="000000"/>
                          </a:solidFill>
                          <a:latin typeface="+mn-ea"/>
                        </a:rPr>
                        <a:t>楼栋标段：</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r>
                        <a:rPr lang="zh-CN" sz="1400" b="1">
                          <a:solidFill>
                            <a:srgbClr val="000000"/>
                          </a:solidFill>
                          <a:latin typeface="+mn-ea"/>
                        </a:rPr>
                        <a:t>精装单位：</a:t>
                      </a:r>
                      <a:endParaRPr lang="zh-CN" altLang="en-US" sz="1400" b="1">
                        <a:solidFill>
                          <a:srgbClr val="000000"/>
                        </a:solidFill>
                        <a:latin typeface="+mn-ea"/>
                      </a:endParaRPr>
                    </a:p>
                  </a:txBody>
                  <a:tcPr anchor="ctr">
                    <a:lnL w="9525"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9525"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685">
                <a:tc>
                  <a:txBody>
                    <a:bodyPr/>
                    <a:lstStyle/>
                    <a:p>
                      <a:pPr indent="0" algn="ctr">
                        <a:buNone/>
                      </a:pPr>
                      <a:r>
                        <a:rPr lang="zh-CN" sz="1400" b="1">
                          <a:solidFill>
                            <a:srgbClr val="000000"/>
                          </a:solidFill>
                          <a:latin typeface="+mn-ea"/>
                        </a:rPr>
                        <a:t>序号</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材料类型</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使用部位</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到场数量</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品牌及批次资料</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验收影像</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mn-ea"/>
                        </a:rPr>
                        <a:t>备注</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4800">
                <a:tc>
                  <a:txBody>
                    <a:bodyPr/>
                    <a:lstStyle/>
                    <a:p>
                      <a:pPr indent="0" algn="ctr">
                        <a:buNone/>
                      </a:pPr>
                      <a:r>
                        <a:rPr lang="en-US" sz="1400" b="0">
                          <a:solidFill>
                            <a:srgbClr val="000000"/>
                          </a:solidFill>
                          <a:latin typeface="+mn-ea"/>
                        </a:rPr>
                        <a:t>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4">
                  <a:txBody>
                    <a:bodyPr/>
                    <a:lstStyle/>
                    <a:p>
                      <a:pPr>
                        <a:lnSpc>
                          <a:spcPct val="150000"/>
                        </a:lnSpc>
                      </a:pPr>
                      <a:r>
                        <a:rPr lang="zh-CN" altLang="en-US" sz="1400" dirty="0" smtClean="0">
                          <a:solidFill>
                            <a:srgbClr val="000000"/>
                          </a:solidFill>
                          <a:latin typeface="+mn-ea"/>
                          <a:cs typeface="+mn-ea"/>
                          <a:sym typeface="+mn-ea"/>
                        </a:rPr>
                        <a:t>核实材料品牌及质量规格是否</a:t>
                      </a:r>
                      <a:r>
                        <a:rPr lang="zh-CN" altLang="en-US" sz="1400" dirty="0">
                          <a:solidFill>
                            <a:srgbClr val="000000"/>
                          </a:solidFill>
                          <a:latin typeface="+mn-ea"/>
                          <a:cs typeface="+mn-ea"/>
                          <a:sym typeface="+mn-ea"/>
                        </a:rPr>
                        <a:t>与合约及精装封样相符</a:t>
                      </a:r>
                      <a:r>
                        <a:rPr lang="zh-CN" altLang="en-US" sz="1400" dirty="0" smtClean="0">
                          <a:solidFill>
                            <a:srgbClr val="000000"/>
                          </a:solidFill>
                          <a:latin typeface="+mn-ea"/>
                          <a:cs typeface="+mn-ea"/>
                          <a:sym typeface="+mn-ea"/>
                        </a:rPr>
                        <a:t>。</a:t>
                      </a:r>
                    </a:p>
                    <a:p>
                      <a:pPr>
                        <a:lnSpc>
                          <a:spcPct val="150000"/>
                        </a:lnSpc>
                      </a:pPr>
                      <a:r>
                        <a:rPr lang="zh-CN" altLang="en-US" sz="1400" dirty="0">
                          <a:solidFill>
                            <a:srgbClr val="000000"/>
                          </a:solidFill>
                          <a:latin typeface="+mn-ea"/>
                          <a:cs typeface="+mn-ea"/>
                          <a:sym typeface="+mn-ea"/>
                        </a:rPr>
                        <a:t>板材</a:t>
                      </a:r>
                      <a:r>
                        <a:rPr lang="zh-CN" altLang="en-US" sz="1400" dirty="0" smtClean="0">
                          <a:solidFill>
                            <a:srgbClr val="000000"/>
                          </a:solidFill>
                          <a:latin typeface="+mn-ea"/>
                          <a:cs typeface="+mn-ea"/>
                          <a:sym typeface="+mn-ea"/>
                        </a:rPr>
                        <a:t>类：大芯板、石膏板及龙骨、多层板、阻燃板等</a:t>
                      </a:r>
                    </a:p>
                    <a:p>
                      <a:pPr>
                        <a:lnSpc>
                          <a:spcPct val="150000"/>
                        </a:lnSpc>
                      </a:pPr>
                      <a:r>
                        <a:rPr lang="zh-CN" altLang="en-US" sz="1400" dirty="0" smtClean="0">
                          <a:solidFill>
                            <a:srgbClr val="000000"/>
                          </a:solidFill>
                          <a:latin typeface="+mn-ea"/>
                          <a:cs typeface="+mn-ea"/>
                          <a:sym typeface="+mn-ea"/>
                        </a:rPr>
                        <a:t>瓷砖类：墙砖、地砖、石材等</a:t>
                      </a:r>
                    </a:p>
                    <a:p>
                      <a:pPr>
                        <a:lnSpc>
                          <a:spcPct val="150000"/>
                        </a:lnSpc>
                      </a:pPr>
                      <a:r>
                        <a:rPr lang="zh-CN" altLang="en-US" sz="1400" dirty="0" smtClean="0">
                          <a:solidFill>
                            <a:srgbClr val="000000"/>
                          </a:solidFill>
                          <a:latin typeface="+mn-ea"/>
                          <a:cs typeface="+mn-ea"/>
                          <a:sym typeface="+mn-ea"/>
                        </a:rPr>
                        <a:t>饰面材料：腻子、底漆、面漆、壁纸、扣板及龙骨等</a:t>
                      </a:r>
                    </a:p>
                    <a:p>
                      <a:pPr>
                        <a:lnSpc>
                          <a:spcPct val="150000"/>
                        </a:lnSpc>
                      </a:pPr>
                      <a:r>
                        <a:rPr lang="zh-CN" altLang="en-US" sz="1400" dirty="0" smtClean="0">
                          <a:solidFill>
                            <a:srgbClr val="000000"/>
                          </a:solidFill>
                          <a:latin typeface="+mn-ea"/>
                          <a:cs typeface="+mn-ea"/>
                          <a:sym typeface="+mn-ea"/>
                        </a:rPr>
                        <a:t>管材类：给水管、排水管、接驳管件、暖气管等</a:t>
                      </a:r>
                    </a:p>
                    <a:p>
                      <a:pPr>
                        <a:lnSpc>
                          <a:spcPct val="150000"/>
                        </a:lnSpc>
                      </a:pPr>
                      <a:r>
                        <a:rPr lang="zh-CN" altLang="en-US" sz="1400" dirty="0" smtClean="0">
                          <a:solidFill>
                            <a:srgbClr val="000000"/>
                          </a:solidFill>
                          <a:cs typeface="+mn-ea"/>
                          <a:sym typeface="+mn-ea"/>
                        </a:rPr>
                        <a:t>电气类：强电线、弱电线、底盒、电箱、开关、插座等</a:t>
                      </a:r>
                    </a:p>
                    <a:p>
                      <a:pPr lvl="0" algn="l">
                        <a:lnSpc>
                          <a:spcPct val="150000"/>
                        </a:lnSpc>
                      </a:pPr>
                      <a:r>
                        <a:rPr lang="en-US" altLang="zh-CN" sz="1000" b="1" dirty="0">
                          <a:solidFill>
                            <a:srgbClr val="000000"/>
                          </a:solidFill>
                          <a:latin typeface="+mn-ea"/>
                          <a:cs typeface="+mn-ea"/>
                          <a:sym typeface="+mn-ea"/>
                        </a:rPr>
                        <a:t>★</a:t>
                      </a:r>
                      <a:r>
                        <a:rPr lang="zh-CN" altLang="en-US" sz="1000" b="1" dirty="0" smtClean="0">
                          <a:solidFill>
                            <a:srgbClr val="000000"/>
                          </a:solidFill>
                          <a:latin typeface="+mn-ea"/>
                          <a:cs typeface="+mn-ea"/>
                          <a:sym typeface="+mn-ea"/>
                        </a:rPr>
                        <a:t>沙子：因铺贴所需，精装所用沙子要求相对较高，含金量高的沙子将会造成墙地砖黏贴不牢而造成严重质量风险。</a:t>
                      </a:r>
                    </a:p>
                    <a:p>
                      <a:pPr lvl="0" algn="l">
                        <a:lnSpc>
                          <a:spcPct val="150000"/>
                        </a:lnSpc>
                      </a:pPr>
                      <a:r>
                        <a:rPr lang="zh-CN" altLang="en-US" sz="1000" b="1" dirty="0" smtClean="0">
                          <a:solidFill>
                            <a:srgbClr val="000000"/>
                          </a:solidFill>
                          <a:latin typeface="+mn-ea"/>
                          <a:cs typeface="+mn-ea"/>
                          <a:sym typeface="+mn-ea"/>
                        </a:rPr>
                        <a:t>水泥沙子如果质量不合格将会对墙顶面基层找平层造成强度不够，发生空鼓或开裂等质量问题。</a:t>
                      </a:r>
                      <a:endParaRPr lang="en-US" altLang="en-US" sz="1000" b="0">
                        <a:solidFill>
                          <a:srgbClr val="000000"/>
                        </a:solidFill>
                        <a:latin typeface="+mn-ea"/>
                      </a:endParaRPr>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4800">
                <a:tc>
                  <a:txBody>
                    <a:bodyPr/>
                    <a:lstStyle/>
                    <a:p>
                      <a:pPr indent="0" algn="ctr">
                        <a:buNone/>
                      </a:pPr>
                      <a:r>
                        <a:rPr lang="en-US" sz="1400" b="0">
                          <a:solidFill>
                            <a:srgbClr val="000000"/>
                          </a:solidFill>
                          <a:latin typeface="+mn-ea"/>
                        </a:rPr>
                        <a:t>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304800">
                <a:tc>
                  <a:txBody>
                    <a:bodyPr/>
                    <a:lstStyle/>
                    <a:p>
                      <a:pPr indent="0" algn="ctr">
                        <a:buNone/>
                      </a:pPr>
                      <a:r>
                        <a:rPr lang="en-US" sz="1400" b="0">
                          <a:solidFill>
                            <a:srgbClr val="000000"/>
                          </a:solidFill>
                          <a:latin typeface="+mn-ea"/>
                        </a:rPr>
                        <a:t>3</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304800">
                <a:tc>
                  <a:txBody>
                    <a:bodyPr/>
                    <a:lstStyle/>
                    <a:p>
                      <a:pPr indent="0" algn="ctr">
                        <a:buNone/>
                      </a:pPr>
                      <a:r>
                        <a:rPr lang="en-US" sz="1400" b="0">
                          <a:solidFill>
                            <a:srgbClr val="000000"/>
                          </a:solidFill>
                          <a:latin typeface="+mn-ea"/>
                        </a:rPr>
                        <a:t>4</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04800">
                <a:tc>
                  <a:txBody>
                    <a:bodyPr/>
                    <a:lstStyle/>
                    <a:p>
                      <a:pPr indent="0" algn="ctr">
                        <a:buNone/>
                      </a:pPr>
                      <a:r>
                        <a:rPr lang="en-US" sz="1400" b="0">
                          <a:solidFill>
                            <a:srgbClr val="000000"/>
                          </a:solidFill>
                          <a:latin typeface="+mn-ea"/>
                        </a:rPr>
                        <a:t>5</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04800">
                <a:tc>
                  <a:txBody>
                    <a:bodyPr/>
                    <a:lstStyle/>
                    <a:p>
                      <a:pPr indent="0" algn="ctr">
                        <a:buNone/>
                      </a:pPr>
                      <a:r>
                        <a:rPr lang="en-US" sz="1400" b="0">
                          <a:solidFill>
                            <a:srgbClr val="000000"/>
                          </a:solidFill>
                          <a:latin typeface="+mn-ea"/>
                        </a:rPr>
                        <a:t>6</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04800">
                <a:tc>
                  <a:txBody>
                    <a:bodyPr/>
                    <a:lstStyle/>
                    <a:p>
                      <a:pPr indent="0" algn="ctr">
                        <a:buNone/>
                      </a:pPr>
                      <a:r>
                        <a:rPr lang="en-US" sz="1400" b="0">
                          <a:solidFill>
                            <a:srgbClr val="000000"/>
                          </a:solidFill>
                          <a:latin typeface="+mn-ea"/>
                        </a:rPr>
                        <a:t>7</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04800">
                <a:tc>
                  <a:txBody>
                    <a:bodyPr/>
                    <a:lstStyle/>
                    <a:p>
                      <a:pPr indent="0" algn="ctr">
                        <a:buNone/>
                      </a:pPr>
                      <a:r>
                        <a:rPr lang="en-US" sz="1400" b="0">
                          <a:solidFill>
                            <a:srgbClr val="000000"/>
                          </a:solidFill>
                          <a:latin typeface="+mn-ea"/>
                        </a:rPr>
                        <a:t>8</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304800">
                <a:tc>
                  <a:txBody>
                    <a:bodyPr/>
                    <a:lstStyle/>
                    <a:p>
                      <a:pPr indent="0" algn="ctr">
                        <a:buNone/>
                      </a:pPr>
                      <a:r>
                        <a:rPr lang="en-US" sz="1400" b="0">
                          <a:solidFill>
                            <a:srgbClr val="000000"/>
                          </a:solidFill>
                          <a:latin typeface="+mn-ea"/>
                        </a:rPr>
                        <a:t>9</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304800">
                <a:tc>
                  <a:txBody>
                    <a:bodyPr/>
                    <a:lstStyle/>
                    <a:p>
                      <a:pPr indent="0" algn="ctr">
                        <a:buNone/>
                      </a:pPr>
                      <a:r>
                        <a:rPr lang="en-US" sz="1400" b="0">
                          <a:solidFill>
                            <a:srgbClr val="000000"/>
                          </a:solidFill>
                          <a:latin typeface="+mn-ea"/>
                        </a:rPr>
                        <a:t>10</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304800">
                <a:tc>
                  <a:txBody>
                    <a:bodyPr/>
                    <a:lstStyle/>
                    <a:p>
                      <a:pPr indent="0" algn="ctr">
                        <a:buNone/>
                      </a:pPr>
                      <a:r>
                        <a:rPr lang="en-US" sz="1400" b="0">
                          <a:solidFill>
                            <a:srgbClr val="000000"/>
                          </a:solidFill>
                          <a:latin typeface="+mn-ea"/>
                        </a:rPr>
                        <a:t>11</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2"/>
                  </a:ext>
                </a:extLst>
              </a:tr>
              <a:tr h="314325">
                <a:tc>
                  <a:txBody>
                    <a:bodyPr/>
                    <a:lstStyle/>
                    <a:p>
                      <a:pPr indent="0" algn="ctr">
                        <a:buNone/>
                      </a:pPr>
                      <a:r>
                        <a:rPr lang="en-US" sz="1400" b="0">
                          <a:solidFill>
                            <a:srgbClr val="000000"/>
                          </a:solidFill>
                          <a:latin typeface="+mn-ea"/>
                        </a:rPr>
                        <a:t>12</a:t>
                      </a:r>
                      <a:endParaRPr lang="en-US" altLang="en-US" sz="14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13"/>
                  </a:ext>
                </a:extLst>
              </a:tr>
              <a:tr h="304800">
                <a:tc rowSpan="2">
                  <a:txBody>
                    <a:bodyPr/>
                    <a:lstStyle/>
                    <a:p>
                      <a:pPr indent="0" algn="ctr">
                        <a:buNone/>
                      </a:pPr>
                      <a:r>
                        <a:rPr lang="zh-CN" sz="1400" b="1">
                          <a:solidFill>
                            <a:srgbClr val="000000"/>
                          </a:solidFill>
                          <a:latin typeface="+mn-ea"/>
                        </a:rPr>
                        <a:t>验收</a:t>
                      </a:r>
                    </a:p>
                    <a:p>
                      <a:pPr indent="0" algn="ctr">
                        <a:buNone/>
                      </a:pPr>
                      <a:r>
                        <a:rPr lang="zh-CN" sz="1400" b="1">
                          <a:solidFill>
                            <a:srgbClr val="000000"/>
                          </a:solidFill>
                          <a:latin typeface="+mn-ea"/>
                        </a:rPr>
                        <a:t>会签</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400" b="0">
                          <a:solidFill>
                            <a:srgbClr val="000000"/>
                          </a:solidFill>
                          <a:latin typeface="+mn-ea"/>
                        </a:rPr>
                        <a:t>精装单位</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3">
                  <a:txBody>
                    <a:bodyPr/>
                    <a:lstStyle/>
                    <a:p>
                      <a:pPr indent="0" algn="ctr">
                        <a:buNone/>
                      </a:pPr>
                      <a:r>
                        <a:rPr lang="zh-CN" sz="1400" b="0">
                          <a:solidFill>
                            <a:srgbClr val="000000"/>
                          </a:solidFill>
                          <a:latin typeface="+mn-ea"/>
                        </a:rPr>
                        <a:t>甲方项目专业负责人</a:t>
                      </a:r>
                      <a:endParaRPr lang="zh-CN"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vMerge="1">
                  <a:txBody>
                    <a:bodyPr/>
                    <a:lstStyle/>
                    <a:p>
                      <a:endParaRPr lang="zh-CN"/>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554355">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2">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lgn="ctr">
                        <a:buNone/>
                      </a:pPr>
                      <a:endParaRPr lang="en-US" altLang="en-US" sz="14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bl>
          </a:graphicData>
        </a:graphic>
      </p:graphicFrame>
    </p:spTree>
  </p:cSld>
  <p:clrMapOvr>
    <a:masterClrMapping/>
  </p:clrMapOvr>
  <p:transition>
    <p:zoom dir="in"/>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p:cNvGraphicFramePr>
            <a:graphicFrameLocks noChangeAspect="1"/>
          </p:cNvGraphicFramePr>
          <p:nvPr/>
        </p:nvGraphicFramePr>
        <p:xfrm>
          <a:off x="684213" y="1350263"/>
          <a:ext cx="10791825" cy="5264150"/>
        </p:xfrm>
        <a:graphic>
          <a:graphicData uri="http://schemas.openxmlformats.org/presentationml/2006/ole">
            <mc:AlternateContent xmlns:mc="http://schemas.openxmlformats.org/markup-compatibility/2006">
              <mc:Choice xmlns:v="urn:schemas-microsoft-com:vml" Requires="v">
                <p:oleObj spid="_x0000_s37136" name="工作表" r:id="rId3" imgW="8191500" imgH="3530600" progId="Excel.Sheet.12">
                  <p:embed/>
                </p:oleObj>
              </mc:Choice>
              <mc:Fallback>
                <p:oleObj name="工作表" r:id="rId3" imgW="8191500" imgH="3530600" progId="Excel.Sheet.12">
                  <p:embed/>
                  <p:pic>
                    <p:nvPicPr>
                      <p:cNvPr id="0" name="图片 37106"/>
                      <p:cNvPicPr/>
                      <p:nvPr/>
                    </p:nvPicPr>
                    <p:blipFill>
                      <a:blip r:embed="rId4"/>
                      <a:stretch>
                        <a:fillRect/>
                      </a:stretch>
                    </p:blipFill>
                    <p:spPr>
                      <a:xfrm>
                        <a:off x="684213" y="1350263"/>
                        <a:ext cx="10791825" cy="5264150"/>
                      </a:xfrm>
                      <a:prstGeom prst="rect">
                        <a:avLst/>
                      </a:prstGeom>
                    </p:spPr>
                  </p:pic>
                </p:oleObj>
              </mc:Fallback>
            </mc:AlternateContent>
          </a:graphicData>
        </a:graphic>
      </p:graphicFrame>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5.3.2  现场材料抽验单</a:t>
            </a:r>
          </a:p>
        </p:txBody>
      </p:sp>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sym typeface="+mn-ea"/>
              </a:rPr>
              <a:t>五</a:t>
            </a:r>
            <a:r>
              <a:rPr lang="zh-CN" altLang="en-US" sz="2000" b="1" dirty="0" smtClean="0">
                <a:solidFill>
                  <a:srgbClr val="F64C31"/>
                </a:solidFill>
                <a:cs typeface="+mn-ea"/>
                <a:sym typeface="+mn-ea"/>
              </a:rPr>
              <a:t>、精装过程</a:t>
            </a:r>
            <a:endParaRPr lang="en-US" altLang="zh-CN" sz="2000" b="1" dirty="0">
              <a:cs typeface="+mn-ea"/>
            </a:endParaRPr>
          </a:p>
        </p:txBody>
      </p:sp>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1.2、</a:t>
            </a:r>
            <a:r>
              <a:rPr lang="zh-CN" altLang="en-US" sz="1800" b="1" dirty="0">
                <a:solidFill>
                  <a:srgbClr val="000000"/>
                </a:solidFill>
                <a:cs typeface="+mn-ea"/>
                <a:sym typeface="+mn-ea"/>
              </a:rPr>
              <a:t>结构</a:t>
            </a:r>
            <a:r>
              <a:rPr lang="en-US" altLang="zh-CN" sz="1800" b="1" dirty="0">
                <a:solidFill>
                  <a:srgbClr val="000000"/>
                </a:solidFill>
                <a:cs typeface="+mn-ea"/>
                <a:sym typeface="+mn-ea"/>
              </a:rPr>
              <a:t>规划</a:t>
            </a:r>
            <a:r>
              <a:rPr lang="zh-CN" altLang="en-US" sz="1800" b="1" dirty="0">
                <a:solidFill>
                  <a:srgbClr val="000000"/>
                </a:solidFill>
                <a:cs typeface="+mn-ea"/>
                <a:sym typeface="+mn-ea"/>
              </a:rPr>
              <a:t>（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8" name="文本框 7"/>
          <p:cNvSpPr txBox="1"/>
          <p:nvPr/>
        </p:nvSpPr>
        <p:spPr>
          <a:xfrm>
            <a:off x="1080756" y="5277376"/>
            <a:ext cx="4401771" cy="1154162"/>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前</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原设计卧室门向房间内凸起，使内外空间造成浪费</a:t>
            </a:r>
            <a:endParaRPr lang="en-US" altLang="zh-CN" sz="1400" dirty="0" smtClean="0">
              <a:solidFill>
                <a:srgbClr val="000000"/>
              </a:solidFill>
              <a:cs typeface="+mn-ea"/>
            </a:endParaRPr>
          </a:p>
          <a:p>
            <a:pPr>
              <a:lnSpc>
                <a:spcPct val="150000"/>
              </a:lnSpc>
            </a:pPr>
            <a:r>
              <a:rPr lang="zh-CN" altLang="en-US" sz="1400" dirty="0" smtClean="0">
                <a:solidFill>
                  <a:srgbClr val="000000"/>
                </a:solidFill>
                <a:cs typeface="+mn-ea"/>
              </a:rPr>
              <a:t>特别是空间较小家具无法搬运，严重影响使用</a:t>
            </a:r>
            <a:endParaRPr lang="en-US" altLang="zh-CN" sz="1400" dirty="0">
              <a:solidFill>
                <a:srgbClr val="000000"/>
              </a:solidFill>
              <a:cs typeface="+mn-ea"/>
            </a:endParaRPr>
          </a:p>
        </p:txBody>
      </p:sp>
      <p:sp>
        <p:nvSpPr>
          <p:cNvPr id="9" name="文本框 8"/>
          <p:cNvSpPr txBox="1"/>
          <p:nvPr/>
        </p:nvSpPr>
        <p:spPr>
          <a:xfrm>
            <a:off x="6520204" y="5277376"/>
            <a:ext cx="4244776" cy="1154162"/>
          </a:xfrm>
          <a:prstGeom prst="rect">
            <a:avLst/>
          </a:prstGeom>
          <a:solidFill>
            <a:schemeClr val="bg1"/>
          </a:solidFill>
        </p:spPr>
        <p:txBody>
          <a:bodyPr wrap="square" rtlCol="0">
            <a:spAutoFit/>
          </a:bodyPr>
          <a:lstStyle/>
          <a:p>
            <a:pPr algn="ctr">
              <a:lnSpc>
                <a:spcPct val="150000"/>
              </a:lnSpc>
            </a:pPr>
            <a:r>
              <a:rPr lang="zh-CN" altLang="en-US" sz="1800" b="1" dirty="0" smtClean="0">
                <a:solidFill>
                  <a:srgbClr val="000000"/>
                </a:solidFill>
                <a:cs typeface="+mn-ea"/>
              </a:rPr>
              <a:t>变更</a:t>
            </a:r>
            <a:r>
              <a:rPr lang="zh-CN" altLang="en-US" sz="1800" b="1" dirty="0">
                <a:solidFill>
                  <a:srgbClr val="000000"/>
                </a:solidFill>
                <a:cs typeface="+mn-ea"/>
              </a:rPr>
              <a:t>后</a:t>
            </a:r>
            <a:endParaRPr lang="en-US" altLang="zh-CN" sz="1800" b="1" dirty="0" smtClean="0">
              <a:solidFill>
                <a:srgbClr val="000000"/>
              </a:solidFill>
              <a:cs typeface="+mn-ea"/>
            </a:endParaRPr>
          </a:p>
          <a:p>
            <a:pPr>
              <a:lnSpc>
                <a:spcPct val="150000"/>
              </a:lnSpc>
            </a:pPr>
            <a:r>
              <a:rPr lang="zh-CN" altLang="en-US" sz="1400" dirty="0" smtClean="0">
                <a:solidFill>
                  <a:srgbClr val="000000"/>
                </a:solidFill>
                <a:cs typeface="+mn-ea"/>
              </a:rPr>
              <a:t>调整墙体结构及门的开启方向，保证正常使用功能</a:t>
            </a:r>
            <a:endParaRPr lang="en-US" altLang="zh-CN" sz="1400" dirty="0" smtClean="0">
              <a:solidFill>
                <a:srgbClr val="000000"/>
              </a:solidFill>
              <a:cs typeface="+mn-ea"/>
            </a:endParaRPr>
          </a:p>
          <a:p>
            <a:pPr>
              <a:lnSpc>
                <a:spcPct val="150000"/>
              </a:lnSpc>
            </a:pPr>
            <a:r>
              <a:rPr lang="zh-CN" altLang="en-US" sz="1400" dirty="0">
                <a:solidFill>
                  <a:srgbClr val="000000"/>
                </a:solidFill>
                <a:cs typeface="+mn-ea"/>
              </a:rPr>
              <a:t>保证</a:t>
            </a:r>
            <a:r>
              <a:rPr lang="zh-CN" altLang="en-US" sz="1400" dirty="0" smtClean="0">
                <a:solidFill>
                  <a:srgbClr val="000000"/>
                </a:solidFill>
                <a:cs typeface="+mn-ea"/>
              </a:rPr>
              <a:t>空间整洁宽敞</a:t>
            </a:r>
            <a:endParaRPr lang="en-US" altLang="zh-CN" sz="1400" dirty="0">
              <a:solidFill>
                <a:srgbClr val="000000"/>
              </a:solidFill>
              <a:cs typeface="+mn-ea"/>
            </a:endParaRPr>
          </a:p>
        </p:txBody>
      </p:sp>
      <p:pic>
        <p:nvPicPr>
          <p:cNvPr id="10" name="图片 9"/>
          <p:cNvPicPr>
            <a:picLocks noChangeAspect="1"/>
          </p:cNvPicPr>
          <p:nvPr/>
        </p:nvPicPr>
        <p:blipFill>
          <a:blip r:embed="rId2"/>
          <a:stretch>
            <a:fillRect/>
          </a:stretch>
        </p:blipFill>
        <p:spPr>
          <a:xfrm>
            <a:off x="6520204" y="1445378"/>
            <a:ext cx="4244776" cy="3831997"/>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1" name="图片 10"/>
          <p:cNvPicPr>
            <a:picLocks noChangeAspect="1"/>
          </p:cNvPicPr>
          <p:nvPr/>
        </p:nvPicPr>
        <p:blipFill>
          <a:blip r:embed="rId3"/>
          <a:stretch>
            <a:fillRect/>
          </a:stretch>
        </p:blipFill>
        <p:spPr>
          <a:xfrm>
            <a:off x="1188343" y="1445379"/>
            <a:ext cx="4117436" cy="3831997"/>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下箭头 5"/>
          <p:cNvSpPr/>
          <p:nvPr/>
        </p:nvSpPr>
        <p:spPr>
          <a:xfrm>
            <a:off x="3060551" y="3726780"/>
            <a:ext cx="216024" cy="6480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下箭头 11"/>
          <p:cNvSpPr/>
          <p:nvPr/>
        </p:nvSpPr>
        <p:spPr>
          <a:xfrm>
            <a:off x="8615963" y="3731338"/>
            <a:ext cx="216024" cy="6480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2</a:t>
            </a:r>
            <a:r>
              <a:rPr lang="zh-CN" altLang="en-US" sz="1800" b="1" dirty="0" smtClean="0">
                <a:solidFill>
                  <a:srgbClr val="000000"/>
                </a:solidFill>
                <a:cs typeface="+mn-ea"/>
              </a:rPr>
              <a:t>、隐蔽工程</a:t>
            </a:r>
            <a:endParaRPr lang="zh-CN" sz="1800" b="1" dirty="0" smtClean="0">
              <a:solidFill>
                <a:srgbClr val="000000"/>
              </a:solidFill>
              <a:cs typeface="+mn-ea"/>
              <a:sym typeface="+mn-ea"/>
            </a:endParaRPr>
          </a:p>
        </p:txBody>
      </p:sp>
      <p:sp>
        <p:nvSpPr>
          <p:cNvPr id="6" name="文本框 5"/>
          <p:cNvSpPr txBox="1"/>
          <p:nvPr/>
        </p:nvSpPr>
        <p:spPr>
          <a:xfrm>
            <a:off x="684530" y="1866900"/>
            <a:ext cx="4078605" cy="332295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p>
          <a:p>
            <a:pPr>
              <a:lnSpc>
                <a:spcPct val="150000"/>
              </a:lnSpc>
            </a:pPr>
            <a:r>
              <a:rPr lang="zh-CN" altLang="en-US" sz="1400" dirty="0">
                <a:solidFill>
                  <a:srgbClr val="000000"/>
                </a:solidFill>
                <a:latin typeface="+mn-ea"/>
                <a:cs typeface="+mn-ea"/>
              </a:rPr>
              <a:t>       排水管及地漏：需进行通球及水封试验。</a:t>
            </a:r>
          </a:p>
          <a:p>
            <a:pPr>
              <a:lnSpc>
                <a:spcPct val="150000"/>
              </a:lnSpc>
            </a:pPr>
            <a:r>
              <a:rPr lang="zh-CN" altLang="en-US" sz="1400" dirty="0">
                <a:solidFill>
                  <a:srgbClr val="000000"/>
                </a:solidFill>
                <a:latin typeface="+mn-ea"/>
                <a:cs typeface="+mn-ea"/>
              </a:rPr>
              <a:t>       给水管及暖气管：需进行打压试验，暖气管在施工过程中需进行全程带压施工。</a:t>
            </a:r>
          </a:p>
          <a:p>
            <a:pPr>
              <a:lnSpc>
                <a:spcPct val="150000"/>
              </a:lnSpc>
            </a:pPr>
            <a:r>
              <a:rPr lang="zh-CN" altLang="en-US" sz="1400" dirty="0">
                <a:solidFill>
                  <a:srgbClr val="000000"/>
                </a:solidFill>
                <a:latin typeface="+mn-ea"/>
                <a:cs typeface="+mn-ea"/>
              </a:rPr>
              <a:t>       电气管线：需有穿带丝及挂牌明确房间位置</a:t>
            </a:r>
          </a:p>
          <a:p>
            <a:pPr>
              <a:lnSpc>
                <a:spcPct val="150000"/>
              </a:lnSpc>
            </a:pPr>
            <a:r>
              <a:rPr lang="zh-CN" altLang="en-US" sz="1400" dirty="0">
                <a:solidFill>
                  <a:srgbClr val="000000"/>
                </a:solidFill>
                <a:latin typeface="+mn-ea"/>
                <a:cs typeface="+mn-ea"/>
              </a:rPr>
              <a:t>       强电线路：线头接驳需涮锡处理，防止虚连。</a:t>
            </a:r>
          </a:p>
          <a:p>
            <a:pPr>
              <a:lnSpc>
                <a:spcPct val="150000"/>
              </a:lnSpc>
            </a:pPr>
            <a:r>
              <a:rPr lang="zh-CN" altLang="en-US" sz="1400" dirty="0">
                <a:solidFill>
                  <a:srgbClr val="000000"/>
                </a:solidFill>
                <a:latin typeface="+mn-ea"/>
                <a:cs typeface="+mn-ea"/>
              </a:rPr>
              <a:t>       防水施工：图层需按规范要求涂刷，需进行闭水试验。</a:t>
            </a:r>
          </a:p>
          <a:p>
            <a:pPr>
              <a:lnSpc>
                <a:spcPct val="150000"/>
              </a:lnSpc>
            </a:pPr>
            <a:r>
              <a:rPr lang="zh-CN" altLang="en-US" sz="1400" dirty="0">
                <a:solidFill>
                  <a:srgbClr val="000000"/>
                </a:solidFill>
                <a:latin typeface="+mn-ea"/>
                <a:cs typeface="+mn-ea"/>
              </a:rPr>
              <a:t>       墙顶龙骨：封板前需进行隐蔽验收，确保无施工漏项。</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pic>
        <p:nvPicPr>
          <p:cNvPr id="4" name="图片 3" descr="E:\I,M\泰禾文件\精装管理标准\精装修工艺与常见质量问题防治【206P  255M】\精装修工艺与常见质量问题防治 【206P  255M】\【壹品下午茶】 (97).jpg【壹品下午茶】 (97)"/>
          <p:cNvPicPr>
            <a:picLocks noChangeAspect="1"/>
          </p:cNvPicPr>
          <p:nvPr/>
        </p:nvPicPr>
        <p:blipFill>
          <a:blip r:embed="rId2"/>
          <a:srcRect/>
          <a:stretch>
            <a:fillRect/>
          </a:stretch>
        </p:blipFill>
        <p:spPr>
          <a:xfrm>
            <a:off x="5012055" y="1447165"/>
            <a:ext cx="2633345" cy="180022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8" name="图片 7" descr="E:\金地品质管理\精装品质管控\工艺工法\泰禾照片\微信图片_20180302120443.jpg微信图片_20180302120443"/>
          <p:cNvPicPr>
            <a:picLocks noChangeAspect="1"/>
          </p:cNvPicPr>
          <p:nvPr/>
        </p:nvPicPr>
        <p:blipFill>
          <a:blip r:embed="rId3"/>
          <a:srcRect/>
          <a:stretch>
            <a:fillRect/>
          </a:stretch>
        </p:blipFill>
        <p:spPr>
          <a:xfrm>
            <a:off x="7920990" y="1447165"/>
            <a:ext cx="2632710" cy="179959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9" name="文本框 8"/>
          <p:cNvSpPr txBox="1"/>
          <p:nvPr/>
        </p:nvSpPr>
        <p:spPr>
          <a:xfrm>
            <a:off x="684530" y="5169535"/>
            <a:ext cx="11090275" cy="106045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目的：</a:t>
            </a:r>
            <a:r>
              <a:rPr lang="zh-CN" altLang="en-US" sz="1400" dirty="0" smtClean="0">
                <a:solidFill>
                  <a:srgbClr val="000000"/>
                </a:solidFill>
                <a:latin typeface="+mn-ea"/>
                <a:cs typeface="+mn-ea"/>
              </a:rPr>
              <a:t>        </a:t>
            </a:r>
            <a:endParaRPr lang="en-US" altLang="zh-CN" sz="1400" dirty="0" smtClean="0">
              <a:solidFill>
                <a:srgbClr val="000000"/>
              </a:solidFill>
              <a:latin typeface="+mn-ea"/>
              <a:cs typeface="+mn-ea"/>
            </a:endParaRPr>
          </a:p>
          <a:p>
            <a:pPr>
              <a:lnSpc>
                <a:spcPct val="150000"/>
              </a:lnSpc>
            </a:pPr>
            <a:r>
              <a:rPr lang="en-US" altLang="zh-CN" sz="1400" dirty="0">
                <a:solidFill>
                  <a:srgbClr val="000000"/>
                </a:solidFill>
                <a:latin typeface="+mn-ea"/>
                <a:cs typeface="+mn-ea"/>
              </a:rPr>
              <a:t> </a:t>
            </a:r>
            <a:r>
              <a:rPr lang="en-US" altLang="zh-CN" sz="1400" dirty="0" smtClean="0">
                <a:solidFill>
                  <a:srgbClr val="000000"/>
                </a:solidFill>
                <a:latin typeface="+mn-ea"/>
                <a:cs typeface="+mn-ea"/>
              </a:rPr>
              <a:t>      </a:t>
            </a:r>
            <a:r>
              <a:rPr lang="zh-CN" altLang="en-US" sz="1400" dirty="0" smtClean="0">
                <a:solidFill>
                  <a:srgbClr val="000000"/>
                </a:solidFill>
                <a:latin typeface="+mn-ea"/>
                <a:cs typeface="+mn-ea"/>
              </a:rPr>
              <a:t>精装过程中必须高度关注隐蔽施工项，严格控制施工质量及过程中的成品保护，严防后期发生水路管线及防水渗漏以及施工质量问题发生，避免二次拆除整改所发生的一切经济损失和工期延误。</a:t>
            </a:r>
            <a:endParaRPr lang="en-US" altLang="zh-CN" sz="1400" b="1" dirty="0">
              <a:solidFill>
                <a:srgbClr val="000000"/>
              </a:solidFill>
              <a:latin typeface="+mn-ea"/>
              <a:cs typeface="+mn-ea"/>
            </a:endParaRPr>
          </a:p>
        </p:txBody>
      </p:sp>
      <p:pic>
        <p:nvPicPr>
          <p:cNvPr id="3" name="图片 2" descr="E:\金地品质管理\精装品质管控\工艺工法\泰禾照片\微信图片_20180302115031.jpg微信图片_20180302115031"/>
          <p:cNvPicPr>
            <a:picLocks noChangeAspect="1"/>
          </p:cNvPicPr>
          <p:nvPr/>
        </p:nvPicPr>
        <p:blipFill>
          <a:blip r:embed="rId4"/>
          <a:srcRect/>
          <a:stretch>
            <a:fillRect/>
          </a:stretch>
        </p:blipFill>
        <p:spPr>
          <a:xfrm>
            <a:off x="7920990" y="3495993"/>
            <a:ext cx="2632710" cy="175450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0" name="图片 9" descr="E:\I,M\泰禾文件\精装管理标准\精装修工艺与常见质量问题防治【206P  255M】\精装修工艺与常见质量问题防治 【206P  255M】\【壹品下午茶】 (14).jpg【壹品下午茶】 (14)"/>
          <p:cNvPicPr>
            <a:picLocks noChangeAspect="1"/>
          </p:cNvPicPr>
          <p:nvPr/>
        </p:nvPicPr>
        <p:blipFill>
          <a:blip r:embed="rId5"/>
          <a:srcRect/>
          <a:stretch>
            <a:fillRect/>
          </a:stretch>
        </p:blipFill>
        <p:spPr>
          <a:xfrm>
            <a:off x="5012690" y="3556636"/>
            <a:ext cx="2632710" cy="1633220"/>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5.3-2-1</a:t>
            </a:r>
            <a:r>
              <a:rPr lang="zh-CN" altLang="en-US" sz="1800" b="1" dirty="0" smtClean="0">
                <a:solidFill>
                  <a:srgbClr val="000000"/>
                </a:solidFill>
                <a:cs typeface="+mn-ea"/>
                <a:sym typeface="+mn-ea"/>
              </a:rPr>
              <a:t>、隐蔽工程之</a:t>
            </a:r>
            <a:r>
              <a:rPr lang="en-US" altLang="zh-CN" sz="1800" b="1" dirty="0">
                <a:solidFill>
                  <a:srgbClr val="000000"/>
                </a:solidFill>
                <a:cs typeface="+mn-ea"/>
                <a:sym typeface="+mn-ea"/>
              </a:rPr>
              <a:t>防水施工</a:t>
            </a:r>
            <a:endParaRPr lang="zh-CN" altLang="en-US" sz="1800" b="1" dirty="0">
              <a:solidFill>
                <a:srgbClr val="000000"/>
              </a:solidFill>
              <a:cs typeface="+mn-ea"/>
              <a:sym typeface="+mn-ea"/>
            </a:endParaRPr>
          </a:p>
        </p:txBody>
      </p:sp>
      <p:sp>
        <p:nvSpPr>
          <p:cNvPr id="6" name="文本框 5"/>
          <p:cNvSpPr txBox="1"/>
          <p:nvPr/>
        </p:nvSpPr>
        <p:spPr>
          <a:xfrm>
            <a:off x="684287" y="1206500"/>
            <a:ext cx="11305256" cy="5262979"/>
          </a:xfrm>
          <a:prstGeom prst="rect">
            <a:avLst/>
          </a:prstGeom>
          <a:solidFill>
            <a:schemeClr val="bg1"/>
          </a:solidFill>
        </p:spPr>
        <p:txBody>
          <a:bodyPr wrap="square" rtlCol="0">
            <a:spAutoFit/>
          </a:bodyPr>
          <a:lstStyle/>
          <a:p>
            <a:pPr>
              <a:lnSpc>
                <a:spcPct val="150000"/>
              </a:lnSpc>
            </a:pPr>
            <a:r>
              <a:rPr lang="zh-CN" altLang="en-US" sz="1600" b="1" dirty="0" smtClean="0">
                <a:solidFill>
                  <a:srgbClr val="000000"/>
                </a:solidFill>
                <a:cs typeface="+mn-ea"/>
              </a:rPr>
              <a:t>精装施工过程中，严格控制卫生间、厨房以及阳台的部位的防水质量，严要求管根、地漏、防水找坡、墙根</a:t>
            </a:r>
            <a:r>
              <a:rPr lang="en-US" altLang="zh-CN" sz="1600" b="1" dirty="0" smtClean="0">
                <a:solidFill>
                  <a:srgbClr val="000000"/>
                </a:solidFill>
                <a:cs typeface="+mn-ea"/>
              </a:rPr>
              <a:t>R</a:t>
            </a:r>
            <a:r>
              <a:rPr lang="zh-CN" altLang="en-US" sz="1600" b="1" dirty="0" smtClean="0">
                <a:solidFill>
                  <a:srgbClr val="000000"/>
                </a:solidFill>
                <a:cs typeface="+mn-ea"/>
              </a:rPr>
              <a:t>角处理方式，严格控制止水钢板、防水反坎以及墙、地面防水层施工做法，必须保证防水质量。</a:t>
            </a: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r>
              <a:rPr lang="zh-CN" altLang="en-US" sz="1600" b="1" dirty="0" smtClean="0">
                <a:solidFill>
                  <a:srgbClr val="000000"/>
                </a:solidFill>
                <a:cs typeface="+mn-ea"/>
              </a:rPr>
              <a:t>工作目的</a:t>
            </a:r>
            <a:r>
              <a:rPr lang="zh-CN" altLang="en-US" sz="1600" b="1" dirty="0">
                <a:solidFill>
                  <a:srgbClr val="000000"/>
                </a:solidFill>
                <a:cs typeface="+mn-ea"/>
              </a:rPr>
              <a:t>：</a:t>
            </a:r>
            <a:r>
              <a:rPr lang="zh-CN" altLang="en-US" sz="1600" b="1" dirty="0" smtClean="0">
                <a:solidFill>
                  <a:srgbClr val="000000"/>
                </a:solidFill>
                <a:cs typeface="+mn-ea"/>
              </a:rPr>
              <a:t>控制防水工程品质，确保无渗漏，</a:t>
            </a:r>
            <a:r>
              <a:rPr lang="zh-CN" altLang="en-US" sz="1600" b="1" dirty="0">
                <a:solidFill>
                  <a:srgbClr val="000000"/>
                </a:solidFill>
                <a:cs typeface="+mn-ea"/>
              </a:rPr>
              <a:t>降低交付风险。</a:t>
            </a:r>
            <a:endParaRPr lang="en-US" altLang="zh-CN" sz="1600" b="1" dirty="0">
              <a:solidFill>
                <a:srgbClr val="000000"/>
              </a:solidFill>
              <a:cs typeface="+mn-ea"/>
            </a:endParaRPr>
          </a:p>
        </p:txBody>
      </p:sp>
      <p:pic>
        <p:nvPicPr>
          <p:cNvPr id="3" name="图片 2"/>
          <p:cNvPicPr>
            <a:picLocks noChangeAspect="1"/>
          </p:cNvPicPr>
          <p:nvPr/>
        </p:nvPicPr>
        <p:blipFill>
          <a:blip r:embed="rId2"/>
          <a:stretch>
            <a:fillRect/>
          </a:stretch>
        </p:blipFill>
        <p:spPr>
          <a:xfrm>
            <a:off x="3575685" y="4130675"/>
            <a:ext cx="2532380" cy="168846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7" name="图片 6"/>
          <p:cNvPicPr>
            <a:picLocks noChangeAspect="1"/>
          </p:cNvPicPr>
          <p:nvPr/>
        </p:nvPicPr>
        <p:blipFill>
          <a:blip r:embed="rId3"/>
          <a:stretch>
            <a:fillRect/>
          </a:stretch>
        </p:blipFill>
        <p:spPr>
          <a:xfrm>
            <a:off x="3575685" y="2145665"/>
            <a:ext cx="2533015" cy="168910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8" name="图片 7"/>
          <p:cNvPicPr>
            <a:picLocks noChangeAspect="1"/>
          </p:cNvPicPr>
          <p:nvPr/>
        </p:nvPicPr>
        <p:blipFill>
          <a:blip r:embed="rId4"/>
          <a:stretch>
            <a:fillRect/>
          </a:stretch>
        </p:blipFill>
        <p:spPr>
          <a:xfrm>
            <a:off x="816610" y="2145665"/>
            <a:ext cx="2534285" cy="1689735"/>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0" name="图片 9"/>
          <p:cNvPicPr>
            <a:picLocks noChangeAspect="1"/>
          </p:cNvPicPr>
          <p:nvPr/>
        </p:nvPicPr>
        <p:blipFill>
          <a:blip r:embed="rId5"/>
          <a:stretch>
            <a:fillRect/>
          </a:stretch>
        </p:blipFill>
        <p:spPr>
          <a:xfrm>
            <a:off x="6538595" y="2622550"/>
            <a:ext cx="4979670" cy="319659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Tree>
  </p:cSld>
  <p:clrMapOvr>
    <a:masterClrMapping/>
  </p:clrMapOvr>
  <p:transition>
    <p:zoom dir="in"/>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a:blip r:embed="rId2"/>
          <a:stretch>
            <a:fillRect/>
          </a:stretch>
        </p:blipFill>
        <p:spPr bwMode="auto">
          <a:xfrm>
            <a:off x="756285" y="2442210"/>
            <a:ext cx="5061585" cy="286956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3" name="文本框 2"/>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5.3-2-1</a:t>
            </a:r>
            <a:r>
              <a:rPr lang="zh-CN" altLang="en-US" sz="1800" b="1" dirty="0" smtClean="0">
                <a:solidFill>
                  <a:srgbClr val="000000"/>
                </a:solidFill>
                <a:cs typeface="+mn-ea"/>
                <a:sym typeface="+mn-ea"/>
              </a:rPr>
              <a:t>、隐蔽工程之</a:t>
            </a:r>
            <a:r>
              <a:rPr lang="en-US" altLang="zh-CN" sz="1800" b="1" dirty="0">
                <a:solidFill>
                  <a:srgbClr val="000000"/>
                </a:solidFill>
                <a:cs typeface="+mn-ea"/>
                <a:sym typeface="+mn-ea"/>
              </a:rPr>
              <a:t>防水施工</a:t>
            </a:r>
            <a:endParaRPr lang="zh-CN" altLang="en-US" sz="1800" b="1" dirty="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pic>
        <p:nvPicPr>
          <p:cNvPr id="8" name="Picture 2"/>
          <p:cNvPicPr>
            <a:picLocks noChangeAspect="1" noChangeArrowheads="1"/>
          </p:cNvPicPr>
          <p:nvPr/>
        </p:nvPicPr>
        <p:blipFill>
          <a:blip r:embed="rId3"/>
          <a:stretch>
            <a:fillRect/>
          </a:stretch>
        </p:blipFill>
        <p:spPr bwMode="auto">
          <a:xfrm>
            <a:off x="6087745" y="2441575"/>
            <a:ext cx="4928235" cy="2870200"/>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a:stretch>
            <a:fillRect/>
          </a:stretch>
        </p:blipFill>
        <p:spPr bwMode="auto">
          <a:xfrm>
            <a:off x="756285" y="2379345"/>
            <a:ext cx="5259705" cy="287020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3" name="文本框 2"/>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5.3-2-1</a:t>
            </a:r>
            <a:r>
              <a:rPr lang="zh-CN" altLang="en-US" sz="1800" b="1" dirty="0" smtClean="0">
                <a:solidFill>
                  <a:srgbClr val="000000"/>
                </a:solidFill>
                <a:cs typeface="+mn-ea"/>
                <a:sym typeface="+mn-ea"/>
              </a:rPr>
              <a:t>、隐蔽工程之</a:t>
            </a:r>
            <a:r>
              <a:rPr lang="en-US" altLang="zh-CN" sz="1800" b="1" dirty="0">
                <a:solidFill>
                  <a:srgbClr val="000000"/>
                </a:solidFill>
                <a:cs typeface="+mn-ea"/>
                <a:sym typeface="+mn-ea"/>
              </a:rPr>
              <a:t>防水施工</a:t>
            </a:r>
            <a:endParaRPr lang="zh-CN" altLang="en-US" sz="1800" b="1" dirty="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pic>
        <p:nvPicPr>
          <p:cNvPr id="9" name="Picture 2"/>
          <p:cNvPicPr>
            <a:picLocks noChangeAspect="1" noChangeArrowheads="1"/>
          </p:cNvPicPr>
          <p:nvPr/>
        </p:nvPicPr>
        <p:blipFill>
          <a:blip r:embed="rId3"/>
          <a:stretch>
            <a:fillRect/>
          </a:stretch>
        </p:blipFill>
        <p:spPr bwMode="auto">
          <a:xfrm>
            <a:off x="6235700" y="2379345"/>
            <a:ext cx="4949190" cy="2870835"/>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3" name="文本框 2"/>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5.3-2-1</a:t>
            </a:r>
            <a:r>
              <a:rPr lang="zh-CN" altLang="en-US" sz="1800" b="1" dirty="0" smtClean="0">
                <a:solidFill>
                  <a:srgbClr val="000000"/>
                </a:solidFill>
                <a:cs typeface="+mn-ea"/>
                <a:sym typeface="+mn-ea"/>
              </a:rPr>
              <a:t>、隐蔽工程之</a:t>
            </a:r>
            <a:r>
              <a:rPr lang="en-US" altLang="zh-CN" sz="1800" b="1" dirty="0">
                <a:solidFill>
                  <a:srgbClr val="000000"/>
                </a:solidFill>
                <a:cs typeface="+mn-ea"/>
                <a:sym typeface="+mn-ea"/>
              </a:rPr>
              <a:t>防水施工</a:t>
            </a:r>
            <a:endParaRPr lang="zh-CN" altLang="en-US" sz="1800" b="1" dirty="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pic>
        <p:nvPicPr>
          <p:cNvPr id="53250" name="图片 5" descr="卫生间门槛节点优化.jpg"/>
          <p:cNvPicPr>
            <a:picLocks noChangeAspect="1"/>
          </p:cNvPicPr>
          <p:nvPr/>
        </p:nvPicPr>
        <p:blipFill>
          <a:blip r:embed="rId2"/>
          <a:srcRect/>
          <a:stretch>
            <a:fillRect/>
          </a:stretch>
        </p:blipFill>
        <p:spPr bwMode="auto">
          <a:xfrm>
            <a:off x="4545330" y="1989455"/>
            <a:ext cx="6030595" cy="3600450"/>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53251" name="Picture 2" descr="C:\Users\Administrator\Desktop\2014项目资料\泰禾 北京院子\深化流程\G-项目照片\样板房照片\P50130-105932.jpg"/>
          <p:cNvPicPr>
            <a:picLocks noChangeAspect="1"/>
          </p:cNvPicPr>
          <p:nvPr/>
        </p:nvPicPr>
        <p:blipFill>
          <a:blip r:embed="rId3"/>
          <a:stretch>
            <a:fillRect/>
          </a:stretch>
        </p:blipFill>
        <p:spPr bwMode="auto">
          <a:xfrm>
            <a:off x="1591628" y="1989138"/>
            <a:ext cx="2700337" cy="3600450"/>
          </a:xfrm>
          <a:prstGeom prst="rect">
            <a:avLst/>
          </a:prstGeom>
          <a:ln w="88900" cap="sq" cmpd="thickThin">
            <a:solidFill>
              <a:srgbClr val="000000"/>
            </a:solidFill>
            <a:prstDash val="solid"/>
            <a:miter lim="800000"/>
            <a:headEnd/>
            <a:tailEnd/>
          </a:ln>
          <a:effectLst>
            <a:innerShdw blurRad="76200">
              <a:srgbClr val="000000"/>
            </a:innerShdw>
          </a:effectLst>
        </p:spPr>
      </p:pic>
      <p:cxnSp>
        <p:nvCxnSpPr>
          <p:cNvPr id="9" name="直接连接符 8"/>
          <p:cNvCxnSpPr/>
          <p:nvPr/>
        </p:nvCxnSpPr>
        <p:spPr>
          <a:xfrm>
            <a:off x="2967038" y="5006975"/>
            <a:ext cx="1785938" cy="1588"/>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rot="5400000" flipH="1" flipV="1">
            <a:off x="4142581" y="4412456"/>
            <a:ext cx="1247775" cy="1588"/>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a:off x="4767263" y="3744913"/>
            <a:ext cx="1828800" cy="1588"/>
          </a:xfrm>
          <a:prstGeom prst="straightConnector1">
            <a:avLst/>
          </a:prstGeom>
          <a:ln w="285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zoom dir="in"/>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3-2.1 防水施工验收单</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graphicFrame>
        <p:nvGraphicFramePr>
          <p:cNvPr id="8" name="表格 7"/>
          <p:cNvGraphicFramePr/>
          <p:nvPr/>
        </p:nvGraphicFramePr>
        <p:xfrm>
          <a:off x="684530" y="1397635"/>
          <a:ext cx="10971530" cy="4867275"/>
        </p:xfrm>
        <a:graphic>
          <a:graphicData uri="http://schemas.openxmlformats.org/drawingml/2006/table">
            <a:tbl>
              <a:tblPr firstRow="1" bandRow="1">
                <a:tableStyleId>{5C22544A-7EE6-4342-B048-85BDC9FD1C3A}</a:tableStyleId>
              </a:tblPr>
              <a:tblGrid>
                <a:gridCol w="941705">
                  <a:extLst>
                    <a:ext uri="{9D8B030D-6E8A-4147-A177-3AD203B41FA5}">
                      <a16:colId xmlns:a16="http://schemas.microsoft.com/office/drawing/2014/main" val="20000"/>
                    </a:ext>
                  </a:extLst>
                </a:gridCol>
                <a:gridCol w="592455">
                  <a:extLst>
                    <a:ext uri="{9D8B030D-6E8A-4147-A177-3AD203B41FA5}">
                      <a16:colId xmlns:a16="http://schemas.microsoft.com/office/drawing/2014/main" val="20001"/>
                    </a:ext>
                  </a:extLst>
                </a:gridCol>
                <a:gridCol w="673100">
                  <a:extLst>
                    <a:ext uri="{9D8B030D-6E8A-4147-A177-3AD203B41FA5}">
                      <a16:colId xmlns:a16="http://schemas.microsoft.com/office/drawing/2014/main" val="20002"/>
                    </a:ext>
                  </a:extLst>
                </a:gridCol>
                <a:gridCol w="681990">
                  <a:extLst>
                    <a:ext uri="{9D8B030D-6E8A-4147-A177-3AD203B41FA5}">
                      <a16:colId xmlns:a16="http://schemas.microsoft.com/office/drawing/2014/main" val="20003"/>
                    </a:ext>
                  </a:extLst>
                </a:gridCol>
                <a:gridCol w="767080">
                  <a:extLst>
                    <a:ext uri="{9D8B030D-6E8A-4147-A177-3AD203B41FA5}">
                      <a16:colId xmlns:a16="http://schemas.microsoft.com/office/drawing/2014/main" val="20004"/>
                    </a:ext>
                  </a:extLst>
                </a:gridCol>
                <a:gridCol w="728980">
                  <a:extLst>
                    <a:ext uri="{9D8B030D-6E8A-4147-A177-3AD203B41FA5}">
                      <a16:colId xmlns:a16="http://schemas.microsoft.com/office/drawing/2014/main" val="20005"/>
                    </a:ext>
                  </a:extLst>
                </a:gridCol>
                <a:gridCol w="791845">
                  <a:extLst>
                    <a:ext uri="{9D8B030D-6E8A-4147-A177-3AD203B41FA5}">
                      <a16:colId xmlns:a16="http://schemas.microsoft.com/office/drawing/2014/main" val="20006"/>
                    </a:ext>
                  </a:extLst>
                </a:gridCol>
                <a:gridCol w="861695">
                  <a:extLst>
                    <a:ext uri="{9D8B030D-6E8A-4147-A177-3AD203B41FA5}">
                      <a16:colId xmlns:a16="http://schemas.microsoft.com/office/drawing/2014/main" val="20007"/>
                    </a:ext>
                  </a:extLst>
                </a:gridCol>
                <a:gridCol w="871220">
                  <a:extLst>
                    <a:ext uri="{9D8B030D-6E8A-4147-A177-3AD203B41FA5}">
                      <a16:colId xmlns:a16="http://schemas.microsoft.com/office/drawing/2014/main" val="20008"/>
                    </a:ext>
                  </a:extLst>
                </a:gridCol>
                <a:gridCol w="929005">
                  <a:extLst>
                    <a:ext uri="{9D8B030D-6E8A-4147-A177-3AD203B41FA5}">
                      <a16:colId xmlns:a16="http://schemas.microsoft.com/office/drawing/2014/main" val="20009"/>
                    </a:ext>
                  </a:extLst>
                </a:gridCol>
                <a:gridCol w="904240">
                  <a:extLst>
                    <a:ext uri="{9D8B030D-6E8A-4147-A177-3AD203B41FA5}">
                      <a16:colId xmlns:a16="http://schemas.microsoft.com/office/drawing/2014/main" val="20010"/>
                    </a:ext>
                  </a:extLst>
                </a:gridCol>
                <a:gridCol w="744855">
                  <a:extLst>
                    <a:ext uri="{9D8B030D-6E8A-4147-A177-3AD203B41FA5}">
                      <a16:colId xmlns:a16="http://schemas.microsoft.com/office/drawing/2014/main" val="20011"/>
                    </a:ext>
                  </a:extLst>
                </a:gridCol>
                <a:gridCol w="1483360">
                  <a:extLst>
                    <a:ext uri="{9D8B030D-6E8A-4147-A177-3AD203B41FA5}">
                      <a16:colId xmlns:a16="http://schemas.microsoft.com/office/drawing/2014/main" val="20012"/>
                    </a:ext>
                  </a:extLst>
                </a:gridCol>
              </a:tblGrid>
              <a:tr h="280670">
                <a:tc gridSpan="3">
                  <a:txBody>
                    <a:bodyPr/>
                    <a:lstStyle/>
                    <a:p>
                      <a:pPr indent="0">
                        <a:buNone/>
                      </a:pPr>
                      <a:r>
                        <a:rPr lang="zh-CN" sz="1200" b="1">
                          <a:solidFill>
                            <a:srgbClr val="000000"/>
                          </a:solidFill>
                          <a:latin typeface="+mn-ea"/>
                        </a:rPr>
                        <a:t>工程名称：</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buNone/>
                      </a:pPr>
                      <a:r>
                        <a:rPr lang="zh-CN" sz="1200" b="1">
                          <a:solidFill>
                            <a:srgbClr val="000000"/>
                          </a:solidFill>
                          <a:latin typeface="+mn-ea"/>
                        </a:rPr>
                        <a:t>楼栋：</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sz="1200" b="1">
                          <a:solidFill>
                            <a:srgbClr val="000000"/>
                          </a:solidFill>
                          <a:latin typeface="+mn-ea"/>
                        </a:rPr>
                        <a:t>楼层：</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buNone/>
                      </a:pPr>
                      <a:r>
                        <a:rPr lang="zh-CN" sz="1200" b="1">
                          <a:solidFill>
                            <a:srgbClr val="000000"/>
                          </a:solidFill>
                          <a:latin typeface="+mn-ea"/>
                        </a:rPr>
                        <a:t>房间：</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sz="1200" b="1">
                          <a:solidFill>
                            <a:srgbClr val="000000"/>
                          </a:solidFill>
                          <a:latin typeface="+mn-ea"/>
                        </a:rPr>
                        <a:t>施工单位：</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280670">
                <a:tc rowSpan="2">
                  <a:txBody>
                    <a:bodyPr/>
                    <a:lstStyle/>
                    <a:p>
                      <a:pPr indent="0" algn="ctr">
                        <a:buNone/>
                      </a:pPr>
                      <a:r>
                        <a:rPr lang="zh-CN" sz="1200" b="1">
                          <a:solidFill>
                            <a:srgbClr val="000000"/>
                          </a:solidFill>
                          <a:latin typeface="+mn-ea"/>
                        </a:rPr>
                        <a:t>验收内容</a:t>
                      </a:r>
                      <a:endParaRPr lang="en-US" altLang="zh-CN"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3">
                  <a:txBody>
                    <a:bodyPr/>
                    <a:lstStyle/>
                    <a:p>
                      <a:pPr indent="0" algn="ctr">
                        <a:buNone/>
                      </a:pPr>
                      <a:r>
                        <a:rPr lang="zh-CN" sz="1200" b="1">
                          <a:solidFill>
                            <a:srgbClr val="000000"/>
                          </a:solidFill>
                          <a:latin typeface="+mn-ea"/>
                        </a:rPr>
                        <a:t>卫生间</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b="1">
                          <a:solidFill>
                            <a:srgbClr val="000000"/>
                          </a:solidFill>
                          <a:latin typeface="+mn-ea"/>
                        </a:rPr>
                        <a:t>厨房</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200" b="1">
                          <a:solidFill>
                            <a:srgbClr val="000000"/>
                          </a:solidFill>
                          <a:latin typeface="+mn-ea"/>
                        </a:rPr>
                        <a:t>闭水验收</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b="1">
                          <a:solidFill>
                            <a:srgbClr val="000000"/>
                          </a:solidFill>
                          <a:latin typeface="+mn-ea"/>
                        </a:rPr>
                        <a:t>验收结果</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200" b="1">
                          <a:solidFill>
                            <a:srgbClr val="000000"/>
                          </a:solidFill>
                          <a:latin typeface="+mn-ea"/>
                        </a:rPr>
                        <a:t>备注</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01345">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200" b="0">
                          <a:solidFill>
                            <a:srgbClr val="000000"/>
                          </a:solidFill>
                          <a:latin typeface="+mn-ea"/>
                        </a:rPr>
                        <a:t>材料规格</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施工</a:t>
                      </a:r>
                    </a:p>
                    <a:p>
                      <a:pPr indent="0" algn="ctr">
                        <a:buNone/>
                      </a:pPr>
                      <a:r>
                        <a:rPr lang="zh-CN" sz="1200" b="0">
                          <a:solidFill>
                            <a:srgbClr val="000000"/>
                          </a:solidFill>
                          <a:latin typeface="+mn-ea"/>
                        </a:rPr>
                        <a:t>做法</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防水</a:t>
                      </a:r>
                    </a:p>
                    <a:p>
                      <a:pPr indent="0" algn="ctr">
                        <a:buNone/>
                      </a:pPr>
                      <a:r>
                        <a:rPr lang="zh-CN" sz="1200" b="0">
                          <a:solidFill>
                            <a:srgbClr val="000000"/>
                          </a:solidFill>
                          <a:latin typeface="+mn-ea"/>
                        </a:rPr>
                        <a:t>厚度</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材料</a:t>
                      </a:r>
                    </a:p>
                    <a:p>
                      <a:pPr indent="0" algn="ctr">
                        <a:buNone/>
                      </a:pPr>
                      <a:r>
                        <a:rPr lang="zh-CN" sz="1200" b="0">
                          <a:solidFill>
                            <a:srgbClr val="000000"/>
                          </a:solidFill>
                          <a:latin typeface="+mn-ea"/>
                        </a:rPr>
                        <a:t>规格</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施工</a:t>
                      </a:r>
                    </a:p>
                    <a:p>
                      <a:pPr indent="0" algn="ctr">
                        <a:buNone/>
                      </a:pPr>
                      <a:r>
                        <a:rPr lang="zh-CN" sz="1200" b="0">
                          <a:solidFill>
                            <a:srgbClr val="000000"/>
                          </a:solidFill>
                          <a:latin typeface="+mn-ea"/>
                        </a:rPr>
                        <a:t>做法</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防水</a:t>
                      </a:r>
                    </a:p>
                    <a:p>
                      <a:pPr indent="0" algn="ctr">
                        <a:buNone/>
                      </a:pPr>
                      <a:r>
                        <a:rPr lang="zh-CN" sz="1200" b="0">
                          <a:solidFill>
                            <a:srgbClr val="000000"/>
                          </a:solidFill>
                          <a:latin typeface="+mn-ea"/>
                        </a:rPr>
                        <a:t>厚度</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放水时间</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检查时间</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合格</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不合格</a:t>
                      </a:r>
                    </a:p>
                    <a:p>
                      <a:pPr indent="0" algn="ctr">
                        <a:buNone/>
                      </a:pPr>
                      <a:r>
                        <a:rPr lang="zh-CN" sz="1200" b="0">
                          <a:solidFill>
                            <a:srgbClr val="000000"/>
                          </a:solidFill>
                          <a:latin typeface="+mn-ea"/>
                        </a:rPr>
                        <a:t>限期整改时间</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影像资料</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3">
                  <a:txBody>
                    <a:bodyPr/>
                    <a:lstStyle/>
                    <a:p>
                      <a:pPr indent="0">
                        <a:buNone/>
                      </a:pPr>
                      <a:r>
                        <a:rPr lang="en-US" sz="1200" b="0">
                          <a:solidFill>
                            <a:srgbClr val="000000"/>
                          </a:solidFill>
                          <a:latin typeface="+mn-ea"/>
                          <a:cs typeface="+mn-ea"/>
                        </a:rPr>
                        <a:t>精装施工过程中，严格控制卫生间、厨房以及阳台的部位的防水质量，严要求管根、地漏、防水找坡、墙根R角处理方式，严格控制止水钢板、防水反坎以及墙、地面防水层施工做法，必须保证防水质量。</a:t>
                      </a:r>
                    </a:p>
                    <a:p>
                      <a:pPr indent="0">
                        <a:buNone/>
                      </a:pPr>
                      <a:endParaRPr lang="en-US" sz="1200" b="0">
                        <a:solidFill>
                          <a:srgbClr val="000000"/>
                        </a:solidFill>
                        <a:latin typeface="+mn-ea"/>
                        <a:cs typeface="+mn-ea"/>
                      </a:endParaRPr>
                    </a:p>
                    <a:p>
                      <a:pPr indent="0">
                        <a:buNone/>
                      </a:pPr>
                      <a:endParaRPr lang="en-US" sz="1200" b="0">
                        <a:solidFill>
                          <a:srgbClr val="000000"/>
                        </a:solidFill>
                        <a:latin typeface="+mn-ea"/>
                        <a:cs typeface="+mn-ea"/>
                      </a:endParaRPr>
                    </a:p>
                    <a:p>
                      <a:pPr indent="0">
                        <a:buNone/>
                      </a:pPr>
                      <a:endParaRPr lang="en-US" sz="1200" b="0">
                        <a:solidFill>
                          <a:srgbClr val="000000"/>
                        </a:solidFill>
                        <a:latin typeface="+mn-ea"/>
                        <a:cs typeface="+mn-ea"/>
                      </a:endParaRPr>
                    </a:p>
                    <a:p>
                      <a:pPr indent="0">
                        <a:buNone/>
                      </a:pPr>
                      <a:endParaRPr lang="en-US" altLang="en-US" sz="1200" b="0">
                        <a:solidFill>
                          <a:srgbClr val="000000"/>
                        </a:solidFill>
                        <a:latin typeface="+mn-ea"/>
                        <a:cs typeface="+mn-ea"/>
                      </a:endParaRPr>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0670">
                <a:tc>
                  <a:txBody>
                    <a:bodyPr/>
                    <a:lstStyle/>
                    <a:p>
                      <a:pPr indent="0" algn="ctr">
                        <a:buNone/>
                      </a:pPr>
                      <a:r>
                        <a:rPr lang="zh-CN" sz="1200" b="0">
                          <a:solidFill>
                            <a:srgbClr val="000000"/>
                          </a:solidFill>
                          <a:latin typeface="+mn-ea"/>
                        </a:rPr>
                        <a:t>止水钢板</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280670">
                <a:tc>
                  <a:txBody>
                    <a:bodyPr/>
                    <a:lstStyle/>
                    <a:p>
                      <a:pPr indent="0" algn="ctr">
                        <a:buNone/>
                      </a:pPr>
                      <a:r>
                        <a:rPr lang="zh-CN" sz="1200" b="0">
                          <a:solidFill>
                            <a:srgbClr val="000000"/>
                          </a:solidFill>
                          <a:latin typeface="+mn-ea"/>
                        </a:rPr>
                        <a:t>防水反坎</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281305">
                <a:tc>
                  <a:txBody>
                    <a:bodyPr/>
                    <a:lstStyle/>
                    <a:p>
                      <a:pPr indent="0" algn="ctr">
                        <a:buNone/>
                      </a:pPr>
                      <a:r>
                        <a:rPr lang="zh-CN" sz="1200" b="0">
                          <a:solidFill>
                            <a:srgbClr val="000000"/>
                          </a:solidFill>
                          <a:latin typeface="+mn-ea"/>
                        </a:rPr>
                        <a:t>地漏</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280670">
                <a:tc>
                  <a:txBody>
                    <a:bodyPr/>
                    <a:lstStyle/>
                    <a:p>
                      <a:pPr indent="0" algn="ctr">
                        <a:buNone/>
                      </a:pPr>
                      <a:r>
                        <a:rPr lang="zh-CN" sz="1200" b="0">
                          <a:solidFill>
                            <a:srgbClr val="000000"/>
                          </a:solidFill>
                          <a:latin typeface="+mn-ea"/>
                        </a:rPr>
                        <a:t>管根</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280670">
                <a:tc>
                  <a:txBody>
                    <a:bodyPr/>
                    <a:lstStyle/>
                    <a:p>
                      <a:pPr indent="0" algn="ctr">
                        <a:buNone/>
                      </a:pPr>
                      <a:r>
                        <a:rPr lang="zh-CN" sz="1200" b="0">
                          <a:solidFill>
                            <a:srgbClr val="000000"/>
                          </a:solidFill>
                          <a:latin typeface="+mn-ea"/>
                          <a:cs typeface="+mn-ea"/>
                        </a:rPr>
                        <a:t>R角</a:t>
                      </a:r>
                      <a:endParaRPr lang="zh-CN" altLang="en-US" sz="1200" b="0">
                        <a:solidFill>
                          <a:srgbClr val="000000"/>
                        </a:solidFill>
                        <a:latin typeface="+mn-ea"/>
                        <a:cs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280670">
                <a:tc>
                  <a:txBody>
                    <a:bodyPr/>
                    <a:lstStyle/>
                    <a:p>
                      <a:pPr indent="0" algn="ctr">
                        <a:buNone/>
                      </a:pPr>
                      <a:r>
                        <a:rPr lang="zh-CN" sz="1200" b="0">
                          <a:solidFill>
                            <a:srgbClr val="000000"/>
                          </a:solidFill>
                          <a:latin typeface="+mn-ea"/>
                        </a:rPr>
                        <a:t>防水层</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280670">
                <a:tc>
                  <a:txBody>
                    <a:bodyPr/>
                    <a:lstStyle/>
                    <a:p>
                      <a:pPr indent="0" algn="ctr">
                        <a:buNone/>
                      </a:pPr>
                      <a:r>
                        <a:rPr lang="zh-CN" sz="1200" b="0">
                          <a:solidFill>
                            <a:srgbClr val="000000"/>
                          </a:solidFill>
                          <a:latin typeface="+mn-ea"/>
                        </a:rPr>
                        <a:t>过门石</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440690">
                <a:tc>
                  <a:txBody>
                    <a:bodyPr/>
                    <a:lstStyle/>
                    <a:p>
                      <a:pPr indent="0" algn="ctr">
                        <a:buNone/>
                      </a:pPr>
                      <a:r>
                        <a:rPr lang="zh-CN" sz="1200" b="0">
                          <a:solidFill>
                            <a:srgbClr val="000000"/>
                          </a:solidFill>
                          <a:latin typeface="+mn-ea"/>
                        </a:rPr>
                        <a:t>淋浴区挡水石</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280670">
                <a:tc>
                  <a:txBody>
                    <a:bodyPr/>
                    <a:lstStyle/>
                    <a:p>
                      <a:pPr indent="0" algn="ctr">
                        <a:buNone/>
                      </a:pPr>
                      <a:endParaRPr lang="en-US"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280670">
                <a:tc>
                  <a:txBody>
                    <a:bodyPr/>
                    <a:lstStyle/>
                    <a:p>
                      <a:pPr indent="0" algn="ctr">
                        <a:buNone/>
                      </a:pPr>
                      <a:endParaRPr lang="en-US"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2"/>
                  </a:ext>
                </a:extLst>
              </a:tr>
              <a:tr h="281305">
                <a:tc rowSpan="2">
                  <a:txBody>
                    <a:bodyPr/>
                    <a:lstStyle/>
                    <a:p>
                      <a:pPr indent="0" algn="ctr">
                        <a:buNone/>
                      </a:pPr>
                      <a:r>
                        <a:rPr lang="zh-CN" sz="1200" b="1">
                          <a:solidFill>
                            <a:srgbClr val="000000"/>
                          </a:solidFill>
                          <a:latin typeface="+mn-ea"/>
                        </a:rPr>
                        <a:t>验收</a:t>
                      </a:r>
                    </a:p>
                    <a:p>
                      <a:pPr indent="0" algn="ctr">
                        <a:buNone/>
                      </a:pPr>
                      <a:r>
                        <a:rPr lang="zh-CN" sz="1200" b="1">
                          <a:solidFill>
                            <a:srgbClr val="000000"/>
                          </a:solidFill>
                          <a:latin typeface="+mn-ea"/>
                        </a:rPr>
                        <a:t>会签</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6">
                  <a:txBody>
                    <a:bodyPr/>
                    <a:lstStyle/>
                    <a:p>
                      <a:pPr indent="0" algn="ctr">
                        <a:buNone/>
                      </a:pPr>
                      <a:r>
                        <a:rPr lang="zh-CN" sz="1200" b="0">
                          <a:solidFill>
                            <a:srgbClr val="000000"/>
                          </a:solidFill>
                          <a:latin typeface="+mn-ea"/>
                        </a:rPr>
                        <a:t>精装单位</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5">
                  <a:txBody>
                    <a:bodyPr/>
                    <a:lstStyle/>
                    <a:p>
                      <a:pPr indent="0" algn="ctr">
                        <a:buNone/>
                      </a:pPr>
                      <a:r>
                        <a:rPr lang="zh-CN" sz="1200" b="0">
                          <a:solidFill>
                            <a:srgbClr val="000000"/>
                          </a:solidFill>
                          <a:latin typeface="+mn-ea"/>
                        </a:rPr>
                        <a:t>甲方项目专业负责人</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3"/>
                  </a:ext>
                </a:extLst>
              </a:tr>
              <a:tr h="400685">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6">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5">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14"/>
                  </a:ext>
                </a:extLst>
              </a:tr>
            </a:tbl>
          </a:graphicData>
        </a:graphic>
      </p:graphicFrame>
    </p:spTree>
  </p:cSld>
  <p:clrMapOvr>
    <a:masterClrMapping/>
  </p:clrMapOvr>
  <p:transition>
    <p:zoom dir="in"/>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3-2.2 </a:t>
            </a:r>
            <a:r>
              <a:rPr lang="zh-CN" altLang="en-US" sz="1800" b="1" dirty="0">
                <a:solidFill>
                  <a:srgbClr val="000000"/>
                </a:solidFill>
                <a:cs typeface="+mn-ea"/>
                <a:sym typeface="+mn-ea"/>
              </a:rPr>
              <a:t>隐蔽工程通用</a:t>
            </a:r>
            <a:r>
              <a:rPr lang="en-US" altLang="zh-CN" sz="1800" b="1" dirty="0">
                <a:solidFill>
                  <a:srgbClr val="000000"/>
                </a:solidFill>
                <a:cs typeface="+mn-ea"/>
                <a:sym typeface="+mn-ea"/>
              </a:rPr>
              <a:t>验收单</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graphicFrame>
        <p:nvGraphicFramePr>
          <p:cNvPr id="8" name="表格 7"/>
          <p:cNvGraphicFramePr/>
          <p:nvPr/>
        </p:nvGraphicFramePr>
        <p:xfrm>
          <a:off x="684530" y="1397635"/>
          <a:ext cx="10855960" cy="5105400"/>
        </p:xfrm>
        <a:graphic>
          <a:graphicData uri="http://schemas.openxmlformats.org/drawingml/2006/table">
            <a:tbl>
              <a:tblPr firstRow="1" bandRow="1">
                <a:tableStyleId>{5C22544A-7EE6-4342-B048-85BDC9FD1C3A}</a:tableStyleId>
              </a:tblPr>
              <a:tblGrid>
                <a:gridCol w="1195070">
                  <a:extLst>
                    <a:ext uri="{9D8B030D-6E8A-4147-A177-3AD203B41FA5}">
                      <a16:colId xmlns:a16="http://schemas.microsoft.com/office/drawing/2014/main" val="20000"/>
                    </a:ext>
                  </a:extLst>
                </a:gridCol>
                <a:gridCol w="864870">
                  <a:extLst>
                    <a:ext uri="{9D8B030D-6E8A-4147-A177-3AD203B41FA5}">
                      <a16:colId xmlns:a16="http://schemas.microsoft.com/office/drawing/2014/main" val="20001"/>
                    </a:ext>
                  </a:extLst>
                </a:gridCol>
                <a:gridCol w="1061720">
                  <a:extLst>
                    <a:ext uri="{9D8B030D-6E8A-4147-A177-3AD203B41FA5}">
                      <a16:colId xmlns:a16="http://schemas.microsoft.com/office/drawing/2014/main" val="20002"/>
                    </a:ext>
                  </a:extLst>
                </a:gridCol>
                <a:gridCol w="983615">
                  <a:extLst>
                    <a:ext uri="{9D8B030D-6E8A-4147-A177-3AD203B41FA5}">
                      <a16:colId xmlns:a16="http://schemas.microsoft.com/office/drawing/2014/main" val="20003"/>
                    </a:ext>
                  </a:extLst>
                </a:gridCol>
                <a:gridCol w="1132840">
                  <a:extLst>
                    <a:ext uri="{9D8B030D-6E8A-4147-A177-3AD203B41FA5}">
                      <a16:colId xmlns:a16="http://schemas.microsoft.com/office/drawing/2014/main" val="20004"/>
                    </a:ext>
                  </a:extLst>
                </a:gridCol>
                <a:gridCol w="937895">
                  <a:extLst>
                    <a:ext uri="{9D8B030D-6E8A-4147-A177-3AD203B41FA5}">
                      <a16:colId xmlns:a16="http://schemas.microsoft.com/office/drawing/2014/main" val="20005"/>
                    </a:ext>
                  </a:extLst>
                </a:gridCol>
                <a:gridCol w="932815">
                  <a:extLst>
                    <a:ext uri="{9D8B030D-6E8A-4147-A177-3AD203B41FA5}">
                      <a16:colId xmlns:a16="http://schemas.microsoft.com/office/drawing/2014/main" val="20006"/>
                    </a:ext>
                  </a:extLst>
                </a:gridCol>
                <a:gridCol w="920115">
                  <a:extLst>
                    <a:ext uri="{9D8B030D-6E8A-4147-A177-3AD203B41FA5}">
                      <a16:colId xmlns:a16="http://schemas.microsoft.com/office/drawing/2014/main" val="20007"/>
                    </a:ext>
                  </a:extLst>
                </a:gridCol>
                <a:gridCol w="944880">
                  <a:extLst>
                    <a:ext uri="{9D8B030D-6E8A-4147-A177-3AD203B41FA5}">
                      <a16:colId xmlns:a16="http://schemas.microsoft.com/office/drawing/2014/main" val="20008"/>
                    </a:ext>
                  </a:extLst>
                </a:gridCol>
                <a:gridCol w="1882140">
                  <a:extLst>
                    <a:ext uri="{9D8B030D-6E8A-4147-A177-3AD203B41FA5}">
                      <a16:colId xmlns:a16="http://schemas.microsoft.com/office/drawing/2014/main" val="20009"/>
                    </a:ext>
                  </a:extLst>
                </a:gridCol>
              </a:tblGrid>
              <a:tr h="280670">
                <a:tc gridSpan="3">
                  <a:txBody>
                    <a:bodyPr/>
                    <a:lstStyle/>
                    <a:p>
                      <a:pPr indent="0">
                        <a:buNone/>
                      </a:pPr>
                      <a:r>
                        <a:rPr lang="zh-CN" sz="1200" b="1">
                          <a:solidFill>
                            <a:srgbClr val="000000"/>
                          </a:solidFill>
                          <a:latin typeface="+mn-ea"/>
                        </a:rPr>
                        <a:t>工程名称：</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sz="1200" b="1">
                          <a:solidFill>
                            <a:srgbClr val="000000"/>
                          </a:solidFill>
                          <a:latin typeface="+mn-ea"/>
                        </a:rPr>
                        <a:t>楼栋：</a:t>
                      </a:r>
                      <a:endParaRPr lang="zh-CN" altLang="en-US" sz="1200" b="1">
                        <a:solidFill>
                          <a:srgbClr val="000000"/>
                        </a:solidFill>
                        <a:latin typeface="+mn-ea"/>
                      </a:endParaRPr>
                    </a:p>
                  </a:txBody>
                  <a:tcPr anchor="ctr">
                    <a:lnL w="6350" cap="flat" cmpd="sng" algn="ctr">
                      <a:solidFill>
                        <a:srgbClr val="000000"/>
                      </a:solidFill>
                      <a:prstDash val="solid"/>
                      <a:round/>
                      <a:headEnd type="none" w="med" len="med"/>
                      <a:tailEnd type="none" w="med" len="med"/>
                    </a:lnL>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a:txBody>
                    <a:bodyPr/>
                    <a:lstStyle/>
                    <a:p>
                      <a:pPr indent="0">
                        <a:buNone/>
                      </a:pPr>
                      <a:r>
                        <a:rPr lang="zh-CN" sz="1200" b="1">
                          <a:solidFill>
                            <a:srgbClr val="000000"/>
                          </a:solidFill>
                          <a:latin typeface="+mn-ea"/>
                        </a:rPr>
                        <a:t>楼层：</a:t>
                      </a:r>
                      <a:endParaRPr lang="zh-CN" altLang="en-US" sz="1200" b="1">
                        <a:solidFill>
                          <a:srgbClr val="000000"/>
                        </a:solidFill>
                        <a:latin typeface="+mn-ea"/>
                      </a:endParaRPr>
                    </a:p>
                  </a:txBody>
                  <a:tcPr anchor="ct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r>
                        <a:rPr lang="zh-CN" sz="1200" b="1">
                          <a:solidFill>
                            <a:srgbClr val="000000"/>
                          </a:solidFill>
                          <a:latin typeface="+mn-ea"/>
                        </a:rPr>
                        <a:t>房间：</a:t>
                      </a:r>
                      <a:endParaRPr lang="zh-CN" altLang="en-US" sz="1200" b="1">
                        <a:solidFill>
                          <a:srgbClr val="000000"/>
                        </a:solidFill>
                        <a:latin typeface="+mn-ea"/>
                      </a:endParaRPr>
                    </a:p>
                  </a:txBody>
                  <a:tcPr anchor="ctr">
                    <a:lnL w="6350" cap="flat" cmpd="sng" algn="ctr">
                      <a:solidFill>
                        <a:srgbClr val="000000"/>
                      </a:solidFill>
                      <a:prstDash val="solid"/>
                      <a:round/>
                      <a:headEnd type="none" w="med" len="med"/>
                      <a:tailEnd type="none" w="med" len="med"/>
                    </a:lnL>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sz="1200" b="1">
                          <a:solidFill>
                            <a:srgbClr val="000000"/>
                          </a:solidFill>
                          <a:latin typeface="+mn-ea"/>
                        </a:rPr>
                        <a:t>施工单位：</a:t>
                      </a:r>
                      <a:endParaRPr lang="zh-CN" altLang="en-US" sz="1200" b="1">
                        <a:solidFill>
                          <a:srgbClr val="000000"/>
                        </a:solidFill>
                        <a:latin typeface="+mn-ea"/>
                      </a:endParaRPr>
                    </a:p>
                  </a:txBody>
                  <a:tcPr anchor="ct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280670">
                <a:tc rowSpan="2">
                  <a:txBody>
                    <a:bodyPr/>
                    <a:lstStyle/>
                    <a:p>
                      <a:pPr indent="0" algn="ctr">
                        <a:buNone/>
                      </a:pPr>
                      <a:r>
                        <a:rPr lang="zh-CN" sz="1200" b="1">
                          <a:solidFill>
                            <a:srgbClr val="000000"/>
                          </a:solidFill>
                          <a:latin typeface="+mn-ea"/>
                        </a:rPr>
                        <a:t>验收内容</a:t>
                      </a:r>
                      <a:endParaRPr lang="en-US" altLang="zh-CN"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200" b="1">
                          <a:solidFill>
                            <a:srgbClr val="000000"/>
                          </a:solidFill>
                          <a:latin typeface="+mn-ea"/>
                        </a:rPr>
                        <a:t>材料规范</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b="1">
                          <a:solidFill>
                            <a:srgbClr val="000000"/>
                          </a:solidFill>
                          <a:latin typeface="+mn-ea"/>
                        </a:rPr>
                        <a:t>施工质量</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b="1">
                          <a:solidFill>
                            <a:srgbClr val="000000"/>
                          </a:solidFill>
                          <a:latin typeface="+mn-ea"/>
                        </a:rPr>
                        <a:t>验收结果</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200" b="1">
                          <a:solidFill>
                            <a:srgbClr val="000000"/>
                          </a:solidFill>
                          <a:latin typeface="+mn-ea"/>
                        </a:rPr>
                        <a:t>备注</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9784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200" b="0">
                          <a:solidFill>
                            <a:srgbClr val="000000"/>
                          </a:solidFill>
                          <a:latin typeface="+mn-ea"/>
                        </a:rPr>
                        <a:t>品牌</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规格</a:t>
                      </a:r>
                    </a:p>
                    <a:p>
                      <a:pPr indent="0" algn="ctr">
                        <a:buNone/>
                      </a:pPr>
                      <a:r>
                        <a:rPr lang="zh-CN" sz="1200" b="0">
                          <a:solidFill>
                            <a:srgbClr val="000000"/>
                          </a:solidFill>
                          <a:latin typeface="+mn-ea"/>
                        </a:rPr>
                        <a:t>型号</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施工</a:t>
                      </a:r>
                    </a:p>
                    <a:p>
                      <a:pPr indent="0" algn="ctr">
                        <a:buNone/>
                      </a:pPr>
                      <a:r>
                        <a:rPr lang="zh-CN" sz="1200" b="0">
                          <a:solidFill>
                            <a:srgbClr val="000000"/>
                          </a:solidFill>
                          <a:latin typeface="+mn-ea"/>
                        </a:rPr>
                        <a:t>部位</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施工</a:t>
                      </a:r>
                    </a:p>
                    <a:p>
                      <a:pPr indent="0" algn="ctr">
                        <a:buNone/>
                      </a:pPr>
                      <a:r>
                        <a:rPr lang="zh-CN" sz="1200" b="0">
                          <a:solidFill>
                            <a:srgbClr val="000000"/>
                          </a:solidFill>
                          <a:latin typeface="+mn-ea"/>
                        </a:rPr>
                        <a:t>做法</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设计</a:t>
                      </a:r>
                    </a:p>
                    <a:p>
                      <a:pPr indent="0" algn="ctr">
                        <a:buNone/>
                      </a:pPr>
                      <a:r>
                        <a:rPr lang="zh-CN" sz="1200" b="0">
                          <a:solidFill>
                            <a:srgbClr val="000000"/>
                          </a:solidFill>
                          <a:latin typeface="+mn-ea"/>
                        </a:rPr>
                        <a:t>要求</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合格</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不合格</a:t>
                      </a:r>
                    </a:p>
                    <a:p>
                      <a:pPr indent="0" algn="ctr">
                        <a:buNone/>
                      </a:pPr>
                      <a:r>
                        <a:rPr lang="zh-CN" sz="1200" b="0">
                          <a:solidFill>
                            <a:srgbClr val="000000"/>
                          </a:solidFill>
                          <a:latin typeface="+mn-ea"/>
                        </a:rPr>
                        <a:t>限期整改</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影像资料</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1">
                  <a:txBody>
                    <a:bodyPr/>
                    <a:lstStyle/>
                    <a:p>
                      <a:pPr indent="0">
                        <a:buNone/>
                      </a:pPr>
                      <a:endParaRPr lang="en-US" sz="1200" b="0">
                        <a:solidFill>
                          <a:srgbClr val="000000"/>
                        </a:solidFill>
                        <a:latin typeface="+mn-ea"/>
                        <a:cs typeface="+mn-ea"/>
                      </a:endParaRPr>
                    </a:p>
                    <a:p>
                      <a:pPr indent="0">
                        <a:buNone/>
                      </a:pPr>
                      <a:endParaRPr lang="en-US" sz="1200" b="0">
                        <a:solidFill>
                          <a:srgbClr val="000000"/>
                        </a:solidFill>
                        <a:latin typeface="+mn-ea"/>
                        <a:cs typeface="+mn-ea"/>
                      </a:endParaRPr>
                    </a:p>
                    <a:p>
                      <a:pPr indent="0">
                        <a:buNone/>
                      </a:pPr>
                      <a:endParaRPr lang="en-US" sz="1200" b="0">
                        <a:solidFill>
                          <a:srgbClr val="000000"/>
                        </a:solidFill>
                        <a:latin typeface="+mn-ea"/>
                        <a:cs typeface="+mn-ea"/>
                      </a:endParaRPr>
                    </a:p>
                    <a:p>
                      <a:pPr indent="0">
                        <a:buNone/>
                      </a:pPr>
                      <a:endParaRPr lang="en-US" sz="1200" b="0">
                        <a:solidFill>
                          <a:srgbClr val="000000"/>
                        </a:solidFill>
                        <a:latin typeface="+mn-ea"/>
                        <a:cs typeface="+mn-ea"/>
                      </a:endParaRPr>
                    </a:p>
                    <a:p>
                      <a:pPr indent="0">
                        <a:buNone/>
                      </a:pPr>
                      <a:endParaRPr lang="en-US" altLang="en-US" sz="1200" b="0">
                        <a:solidFill>
                          <a:srgbClr val="000000"/>
                        </a:solidFill>
                        <a:latin typeface="+mn-ea"/>
                        <a:cs typeface="+mn-ea"/>
                      </a:endParaRPr>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5285">
                <a:tc>
                  <a:txBody>
                    <a:bodyPr/>
                    <a:lstStyle/>
                    <a:p>
                      <a:pPr indent="0" algn="ctr">
                        <a:buNone/>
                      </a:pPr>
                      <a:r>
                        <a:rPr lang="zh-CN" sz="1200" b="0">
                          <a:solidFill>
                            <a:srgbClr val="000000"/>
                          </a:solidFill>
                          <a:latin typeface="+mn-ea"/>
                        </a:rPr>
                        <a:t>电气管线</a:t>
                      </a:r>
                    </a:p>
                    <a:p>
                      <a:pPr indent="0" algn="ctr">
                        <a:buNone/>
                      </a:pPr>
                      <a:r>
                        <a:rPr lang="zh-CN" sz="1200" b="0">
                          <a:solidFill>
                            <a:srgbClr val="000000"/>
                          </a:solidFill>
                          <a:latin typeface="+mn-ea"/>
                        </a:rPr>
                        <a:t>敷设</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280670">
                <a:tc>
                  <a:txBody>
                    <a:bodyPr/>
                    <a:lstStyle/>
                    <a:p>
                      <a:pPr indent="0" algn="ctr">
                        <a:buNone/>
                      </a:pPr>
                      <a:r>
                        <a:rPr lang="zh-CN" sz="1200" b="0">
                          <a:solidFill>
                            <a:srgbClr val="000000"/>
                          </a:solidFill>
                          <a:latin typeface="+mn-ea"/>
                        </a:rPr>
                        <a:t>线盒</a:t>
                      </a:r>
                    </a:p>
                    <a:p>
                      <a:pPr indent="0" algn="ctr">
                        <a:buNone/>
                      </a:pPr>
                      <a:r>
                        <a:rPr lang="zh-CN" sz="1200" b="0">
                          <a:solidFill>
                            <a:srgbClr val="000000"/>
                          </a:solidFill>
                          <a:latin typeface="+mn-ea"/>
                        </a:rPr>
                        <a:t>高低差</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281305">
                <a:tc>
                  <a:txBody>
                    <a:bodyPr/>
                    <a:lstStyle/>
                    <a:p>
                      <a:pPr indent="0" algn="ctr">
                        <a:buNone/>
                      </a:pPr>
                      <a:r>
                        <a:rPr lang="zh-CN" sz="1200" b="0">
                          <a:solidFill>
                            <a:srgbClr val="000000"/>
                          </a:solidFill>
                          <a:latin typeface="+mn-ea"/>
                        </a:rPr>
                        <a:t>给水管线</a:t>
                      </a:r>
                    </a:p>
                    <a:p>
                      <a:pPr indent="0" algn="ctr">
                        <a:buNone/>
                      </a:pPr>
                      <a:r>
                        <a:rPr lang="zh-CN" sz="1200" b="0">
                          <a:solidFill>
                            <a:srgbClr val="000000"/>
                          </a:solidFill>
                          <a:latin typeface="+mn-ea"/>
                        </a:rPr>
                        <a:t>敷设</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280670">
                <a:tc>
                  <a:txBody>
                    <a:bodyPr/>
                    <a:lstStyle/>
                    <a:p>
                      <a:pPr indent="0" algn="ctr">
                        <a:buNone/>
                      </a:pPr>
                      <a:r>
                        <a:rPr lang="zh-CN" sz="1200" b="0">
                          <a:solidFill>
                            <a:srgbClr val="000000"/>
                          </a:solidFill>
                          <a:latin typeface="+mn-ea"/>
                        </a:rPr>
                        <a:t>暖气管线</a:t>
                      </a:r>
                    </a:p>
                    <a:p>
                      <a:pPr indent="0" algn="ctr">
                        <a:buNone/>
                      </a:pPr>
                      <a:r>
                        <a:rPr lang="zh-CN" sz="1200" b="0">
                          <a:solidFill>
                            <a:srgbClr val="000000"/>
                          </a:solidFill>
                          <a:latin typeface="+mn-ea"/>
                        </a:rPr>
                        <a:t>敷设</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280670">
                <a:tc>
                  <a:txBody>
                    <a:bodyPr/>
                    <a:lstStyle/>
                    <a:p>
                      <a:pPr indent="0" algn="ctr">
                        <a:buNone/>
                      </a:pPr>
                      <a:r>
                        <a:rPr lang="zh-CN" sz="1200" b="0">
                          <a:solidFill>
                            <a:srgbClr val="000000"/>
                          </a:solidFill>
                          <a:latin typeface="+mn-ea"/>
                          <a:cs typeface="+mn-ea"/>
                        </a:rPr>
                        <a:t>水管接驳口</a:t>
                      </a:r>
                    </a:p>
                    <a:p>
                      <a:pPr indent="0" algn="ctr">
                        <a:buNone/>
                      </a:pPr>
                      <a:r>
                        <a:rPr lang="zh-CN" sz="1200" b="0">
                          <a:solidFill>
                            <a:srgbClr val="000000"/>
                          </a:solidFill>
                          <a:latin typeface="+mn-ea"/>
                          <a:cs typeface="+mn-ea"/>
                        </a:rPr>
                        <a:t>高低差</a:t>
                      </a:r>
                      <a:endParaRPr lang="zh-CN" altLang="en-US" sz="1200" b="0">
                        <a:solidFill>
                          <a:srgbClr val="000000"/>
                        </a:solidFill>
                        <a:latin typeface="+mn-ea"/>
                        <a:cs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75920">
                <a:tc>
                  <a:txBody>
                    <a:bodyPr/>
                    <a:lstStyle/>
                    <a:p>
                      <a:pPr indent="0" algn="ctr">
                        <a:buNone/>
                      </a:pPr>
                      <a:r>
                        <a:rPr lang="zh-CN" sz="1200" b="0">
                          <a:solidFill>
                            <a:srgbClr val="000000"/>
                          </a:solidFill>
                          <a:latin typeface="+mn-ea"/>
                        </a:rPr>
                        <a:t>龙骨施工</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94335">
                <a:tc>
                  <a:txBody>
                    <a:bodyPr/>
                    <a:lstStyle/>
                    <a:p>
                      <a:pPr indent="0" algn="ctr">
                        <a:buNone/>
                      </a:pPr>
                      <a:r>
                        <a:rPr lang="zh-CN" sz="1200" b="0">
                          <a:solidFill>
                            <a:srgbClr val="000000"/>
                          </a:solidFill>
                          <a:latin typeface="+mn-ea"/>
                        </a:rPr>
                        <a:t>加固施工</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307975">
                <a:tc>
                  <a:txBody>
                    <a:bodyPr/>
                    <a:lstStyle/>
                    <a:p>
                      <a:pPr indent="0" algn="ctr">
                        <a:buNone/>
                      </a:pPr>
                      <a:r>
                        <a:rPr lang="zh-CN" sz="1200" b="0">
                          <a:solidFill>
                            <a:srgbClr val="000000"/>
                          </a:solidFill>
                          <a:latin typeface="+mn-ea"/>
                        </a:rPr>
                        <a:t>洞口基层</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281305">
                <a:tc rowSpan="2">
                  <a:txBody>
                    <a:bodyPr/>
                    <a:lstStyle/>
                    <a:p>
                      <a:pPr indent="0" algn="ctr">
                        <a:buNone/>
                      </a:pPr>
                      <a:r>
                        <a:rPr lang="zh-CN" sz="1200" b="1">
                          <a:solidFill>
                            <a:srgbClr val="000000"/>
                          </a:solidFill>
                          <a:latin typeface="+mn-ea"/>
                        </a:rPr>
                        <a:t>验收</a:t>
                      </a:r>
                    </a:p>
                    <a:p>
                      <a:pPr indent="0" algn="ctr">
                        <a:buNone/>
                      </a:pPr>
                      <a:r>
                        <a:rPr lang="zh-CN" sz="1200" b="1">
                          <a:solidFill>
                            <a:srgbClr val="000000"/>
                          </a:solidFill>
                          <a:latin typeface="+mn-ea"/>
                        </a:rPr>
                        <a:t>会签</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5">
                  <a:txBody>
                    <a:bodyPr/>
                    <a:lstStyle/>
                    <a:p>
                      <a:pPr indent="0" algn="ctr">
                        <a:buNone/>
                      </a:pPr>
                      <a:r>
                        <a:rPr lang="zh-CN" sz="1200">
                          <a:solidFill>
                            <a:srgbClr val="000000"/>
                          </a:solidFill>
                          <a:latin typeface="+mn-ea"/>
                          <a:sym typeface="+mn-ea"/>
                        </a:rPr>
                        <a:t>甲方项目专业负责人</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a:solidFill>
                            <a:srgbClr val="000000"/>
                          </a:solidFill>
                          <a:latin typeface="+mn-ea"/>
                          <a:sym typeface="+mn-ea"/>
                        </a:rPr>
                        <a:t>精装单位</a:t>
                      </a:r>
                      <a:endParaRPr lang="zh-CN" altLang="en-US" sz="1200" b="0">
                        <a:solidFill>
                          <a:srgbClr val="000000"/>
                        </a:solidFill>
                        <a:latin typeface="+mn-ea"/>
                      </a:endParaRPr>
                    </a:p>
                  </a:txBody>
                  <a:tcPr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400685">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5">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lgn="ctr">
                        <a:buNone/>
                      </a:pPr>
                      <a:endParaRPr lang="en-US" altLang="en-US" sz="1200" b="0">
                        <a:solidFill>
                          <a:srgbClr val="000000"/>
                        </a:solidFill>
                        <a:latin typeface="+mn-ea"/>
                      </a:endParaRPr>
                    </a:p>
                  </a:txBody>
                  <a:tcPr anchor="ctr">
                    <a:lnL w="6350" cap="flat" cmpd="sng" algn="ctr">
                      <a:solidFill>
                        <a:srgbClr val="000000"/>
                      </a:solidFill>
                      <a:prstDash val="solid"/>
                      <a:round/>
                      <a:headEnd type="none" w="med" len="med"/>
                      <a:tailEnd type="none" w="med" len="med"/>
                    </a:lnL>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12"/>
                  </a:ext>
                </a:extLst>
              </a:tr>
            </a:tbl>
          </a:graphicData>
        </a:graphic>
      </p:graphicFrame>
    </p:spTree>
  </p:cSld>
  <p:clrMapOvr>
    <a:masterClrMapping/>
  </p:clrMapOvr>
  <p:transition>
    <p:zoom dir="in"/>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3</a:t>
            </a:r>
            <a:r>
              <a:rPr lang="zh-CN" altLang="en-US" sz="1800" b="1" dirty="0" smtClean="0">
                <a:solidFill>
                  <a:srgbClr val="000000"/>
                </a:solidFill>
                <a:cs typeface="+mn-ea"/>
              </a:rPr>
              <a:t>、墙顶面基层</a:t>
            </a:r>
            <a:endParaRPr lang="zh-CN" sz="1800" b="1" dirty="0" smtClean="0">
              <a:solidFill>
                <a:srgbClr val="000000"/>
              </a:solidFill>
              <a:cs typeface="+mn-ea"/>
              <a:sym typeface="+mn-ea"/>
            </a:endParaRPr>
          </a:p>
        </p:txBody>
      </p:sp>
      <p:sp>
        <p:nvSpPr>
          <p:cNvPr id="6" name="文本框 5"/>
          <p:cNvSpPr txBox="1"/>
          <p:nvPr/>
        </p:nvSpPr>
        <p:spPr>
          <a:xfrm>
            <a:off x="684530" y="3196590"/>
            <a:ext cx="4655185" cy="170688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p>
          <a:p>
            <a:pPr>
              <a:lnSpc>
                <a:spcPct val="150000"/>
              </a:lnSpc>
            </a:pPr>
            <a:r>
              <a:rPr lang="zh-CN" altLang="en-US" sz="1400" dirty="0">
                <a:solidFill>
                  <a:srgbClr val="000000"/>
                </a:solidFill>
                <a:latin typeface="+mn-ea"/>
                <a:cs typeface="+mn-ea"/>
              </a:rPr>
              <a:t>       </a:t>
            </a:r>
            <a:r>
              <a:rPr lang="zh-CN" altLang="en-US" sz="1400" b="1" dirty="0" smtClean="0">
                <a:solidFill>
                  <a:srgbClr val="000000"/>
                </a:solidFill>
                <a:cs typeface="+mn-ea"/>
                <a:sym typeface="+mn-ea"/>
              </a:rPr>
              <a:t>严格控制精装基层施工质量，按公司管理标准依据相关规范要求，对现场的墙面、顶部、门窗洞口等部位使用</a:t>
            </a:r>
            <a:r>
              <a:rPr lang="en-US" altLang="zh-CN" sz="1400" b="1" dirty="0" smtClean="0">
                <a:solidFill>
                  <a:srgbClr val="000000"/>
                </a:solidFill>
                <a:cs typeface="+mn-ea"/>
                <a:sym typeface="+mn-ea"/>
              </a:rPr>
              <a:t>2m</a:t>
            </a:r>
            <a:r>
              <a:rPr lang="zh-CN" altLang="en-US" sz="1400" b="1" dirty="0" smtClean="0">
                <a:solidFill>
                  <a:srgbClr val="000000"/>
                </a:solidFill>
                <a:cs typeface="+mn-ea"/>
                <a:sym typeface="+mn-ea"/>
              </a:rPr>
              <a:t>靠尺、红外、测距仪、钢尺、卷尺等测量工具进行精装工作面的表观质量检查。</a:t>
            </a:r>
            <a:r>
              <a:rPr lang="zh-CN" altLang="en-US" sz="1400" dirty="0">
                <a:solidFill>
                  <a:srgbClr val="000000"/>
                </a:solidFill>
                <a:latin typeface="+mn-ea"/>
                <a:cs typeface="+mn-ea"/>
              </a:rPr>
              <a:t>            </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684530" y="5026025"/>
            <a:ext cx="4946650" cy="106045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目的：</a:t>
            </a:r>
            <a:r>
              <a:rPr lang="zh-CN" altLang="en-US" sz="1400" dirty="0" smtClean="0">
                <a:solidFill>
                  <a:srgbClr val="000000"/>
                </a:solidFill>
                <a:latin typeface="+mn-ea"/>
                <a:cs typeface="+mn-ea"/>
              </a:rPr>
              <a:t>        </a:t>
            </a:r>
            <a:endParaRPr lang="en-US" altLang="zh-CN" sz="1400" dirty="0" smtClean="0">
              <a:solidFill>
                <a:srgbClr val="000000"/>
              </a:solidFill>
              <a:latin typeface="+mn-ea"/>
              <a:cs typeface="+mn-ea"/>
            </a:endParaRPr>
          </a:p>
          <a:p>
            <a:pPr>
              <a:lnSpc>
                <a:spcPct val="150000"/>
              </a:lnSpc>
            </a:pPr>
            <a:r>
              <a:rPr lang="en-US" altLang="zh-CN" sz="1400" dirty="0">
                <a:solidFill>
                  <a:srgbClr val="000000"/>
                </a:solidFill>
                <a:latin typeface="+mn-ea"/>
                <a:cs typeface="+mn-ea"/>
              </a:rPr>
              <a:t> </a:t>
            </a:r>
            <a:r>
              <a:rPr lang="en-US" altLang="zh-CN" sz="1400" dirty="0" smtClean="0">
                <a:solidFill>
                  <a:srgbClr val="000000"/>
                </a:solidFill>
                <a:latin typeface="+mn-ea"/>
                <a:cs typeface="+mn-ea"/>
              </a:rPr>
              <a:t>      </a:t>
            </a:r>
            <a:r>
              <a:rPr lang="zh-CN" altLang="en-US" sz="1400" b="1" dirty="0" smtClean="0">
                <a:solidFill>
                  <a:srgbClr val="000000"/>
                </a:solidFill>
                <a:cs typeface="+mn-ea"/>
                <a:sym typeface="+mn-ea"/>
              </a:rPr>
              <a:t>控制基层品质，保证安装产品的尺寸契合，提升观感质量，降低交付风险。</a:t>
            </a:r>
            <a:endParaRPr lang="en-US" altLang="zh-CN" sz="1400" b="1" dirty="0">
              <a:solidFill>
                <a:srgbClr val="000000"/>
              </a:solidFill>
              <a:latin typeface="+mn-ea"/>
              <a:cs typeface="+mn-ea"/>
            </a:endParaRPr>
          </a:p>
        </p:txBody>
      </p:sp>
      <p:pic>
        <p:nvPicPr>
          <p:cNvPr id="11" name="内容占位符 4"/>
          <p:cNvPicPr>
            <a:picLocks noGrp="1" noChangeAspect="1"/>
          </p:cNvPicPr>
          <p:nvPr>
            <p:ph idx="1"/>
          </p:nvPr>
        </p:nvPicPr>
        <p:blipFill>
          <a:blip r:embed="rId2"/>
          <a:stretch>
            <a:fillRect/>
          </a:stretch>
        </p:blipFill>
        <p:spPr>
          <a:xfrm>
            <a:off x="5631572" y="1525668"/>
            <a:ext cx="3095980" cy="1814142"/>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2" name="内容占位符 4"/>
          <p:cNvPicPr>
            <a:picLocks noChangeAspect="1"/>
          </p:cNvPicPr>
          <p:nvPr/>
        </p:nvPicPr>
        <p:blipFill>
          <a:blip r:embed="rId3"/>
          <a:stretch>
            <a:fillRect/>
          </a:stretch>
        </p:blipFill>
        <p:spPr bwMode="auto">
          <a:xfrm>
            <a:off x="9080500" y="1525905"/>
            <a:ext cx="2402205" cy="181419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13" name="内容占位符 4"/>
          <p:cNvPicPr>
            <a:picLocks noChangeAspect="1"/>
          </p:cNvPicPr>
          <p:nvPr/>
        </p:nvPicPr>
        <p:blipFill>
          <a:blip r:embed="rId4"/>
          <a:srcRect/>
          <a:stretch>
            <a:fillRect/>
          </a:stretch>
        </p:blipFill>
        <p:spPr bwMode="auto">
          <a:xfrm>
            <a:off x="8385810" y="3641090"/>
            <a:ext cx="3096895" cy="261239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14" name="内容占位符 4"/>
          <p:cNvPicPr>
            <a:picLocks noChangeAspect="1"/>
          </p:cNvPicPr>
          <p:nvPr/>
        </p:nvPicPr>
        <p:blipFill>
          <a:blip r:embed="rId5"/>
          <a:stretch>
            <a:fillRect/>
          </a:stretch>
        </p:blipFill>
        <p:spPr bwMode="auto">
          <a:xfrm>
            <a:off x="6382385" y="3641090"/>
            <a:ext cx="1595120" cy="2612390"/>
          </a:xfrm>
          <a:prstGeom prst="rect">
            <a:avLst/>
          </a:prstGeom>
          <a:noFill/>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530" y="720725"/>
            <a:ext cx="429323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3</a:t>
            </a:r>
            <a:r>
              <a:rPr lang="zh-CN" altLang="en-US" sz="1800" b="1" dirty="0" smtClean="0">
                <a:solidFill>
                  <a:srgbClr val="000000"/>
                </a:solidFill>
                <a:cs typeface="+mn-ea"/>
              </a:rPr>
              <a:t>、墙顶面基层  检测标准及方法</a:t>
            </a:r>
            <a:endParaRPr 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graphicFrame>
        <p:nvGraphicFramePr>
          <p:cNvPr id="4" name="表格 3"/>
          <p:cNvGraphicFramePr>
            <a:graphicFrameLocks noGrp="1"/>
          </p:cNvGraphicFramePr>
          <p:nvPr/>
        </p:nvGraphicFramePr>
        <p:xfrm>
          <a:off x="954405" y="1735455"/>
          <a:ext cx="10288905" cy="4516755"/>
        </p:xfrm>
        <a:graphic>
          <a:graphicData uri="http://schemas.openxmlformats.org/drawingml/2006/table">
            <a:tbl>
              <a:tblPr/>
              <a:tblGrid>
                <a:gridCol w="790575">
                  <a:extLst>
                    <a:ext uri="{9D8B030D-6E8A-4147-A177-3AD203B41FA5}">
                      <a16:colId xmlns:a16="http://schemas.microsoft.com/office/drawing/2014/main" val="20000"/>
                    </a:ext>
                  </a:extLst>
                </a:gridCol>
                <a:gridCol w="1661795">
                  <a:extLst>
                    <a:ext uri="{9D8B030D-6E8A-4147-A177-3AD203B41FA5}">
                      <a16:colId xmlns:a16="http://schemas.microsoft.com/office/drawing/2014/main" val="20001"/>
                    </a:ext>
                  </a:extLst>
                </a:gridCol>
                <a:gridCol w="2191385">
                  <a:extLst>
                    <a:ext uri="{9D8B030D-6E8A-4147-A177-3AD203B41FA5}">
                      <a16:colId xmlns:a16="http://schemas.microsoft.com/office/drawing/2014/main" val="20002"/>
                    </a:ext>
                  </a:extLst>
                </a:gridCol>
                <a:gridCol w="2253615">
                  <a:extLst>
                    <a:ext uri="{9D8B030D-6E8A-4147-A177-3AD203B41FA5}">
                      <a16:colId xmlns:a16="http://schemas.microsoft.com/office/drawing/2014/main" val="20003"/>
                    </a:ext>
                  </a:extLst>
                </a:gridCol>
                <a:gridCol w="2223770">
                  <a:extLst>
                    <a:ext uri="{9D8B030D-6E8A-4147-A177-3AD203B41FA5}">
                      <a16:colId xmlns:a16="http://schemas.microsoft.com/office/drawing/2014/main" val="20004"/>
                    </a:ext>
                  </a:extLst>
                </a:gridCol>
                <a:gridCol w="1167765">
                  <a:extLst>
                    <a:ext uri="{9D8B030D-6E8A-4147-A177-3AD203B41FA5}">
                      <a16:colId xmlns:a16="http://schemas.microsoft.com/office/drawing/2014/main" val="20005"/>
                    </a:ext>
                  </a:extLst>
                </a:gridCol>
              </a:tblGrid>
              <a:tr h="558165">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序号</a:t>
                      </a:r>
                      <a:endParaRPr kumimoji="0" lang="zh-CN" sz="13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项目</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质量要求及允许偏差</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验收</a:t>
                      </a:r>
                      <a:r>
                        <a:rPr kumimoji="0" lang="zh-CN" altLang="en-US"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方法</a:t>
                      </a:r>
                      <a:r>
                        <a:rPr kumimoji="0" lang="en-US" alt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 </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说明</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7525">
                <a:tc vMerge="1">
                  <a:txBody>
                    <a:bodyPr/>
                    <a:lstStyle/>
                    <a:p>
                      <a:endParaRPr lang="zh-CN"/>
                    </a:p>
                  </a:txBody>
                  <a:tcPr/>
                </a:tc>
                <a:tc vMerge="1">
                  <a:txBody>
                    <a:bodyPr/>
                    <a:lstStyle/>
                    <a:p>
                      <a:endParaRPr lang="zh-CN"/>
                    </a:p>
                  </a:txBody>
                  <a:tcPr/>
                </a:tc>
                <a:tc vMerge="1">
                  <a:txBody>
                    <a:bodyPr/>
                    <a:lstStyle/>
                    <a:p>
                      <a:endParaRPr lang="zh-CN"/>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检验工具、方法</a:t>
                      </a:r>
                      <a:endParaRPr kumimoji="0" lang="zh-CN"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检验数量</a:t>
                      </a:r>
                      <a:endParaRPr kumimoji="0" lang="zh-CN"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extLst>
                  <a:ext uri="{0D108BD9-81ED-4DB2-BD59-A6C34878D82A}">
                    <a16:rowId xmlns:a16="http://schemas.microsoft.com/office/drawing/2014/main" val="10001"/>
                  </a:ext>
                </a:extLst>
              </a:tr>
              <a:tr h="49085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顶板极差</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lang="en-US" altLang="zh-CN" sz="1200" smtClean="0">
                          <a:ln>
                            <a:noFill/>
                          </a:ln>
                          <a:solidFill>
                            <a:srgbClr val="000000"/>
                          </a:solidFill>
                          <a:effectLst/>
                          <a:latin typeface="微软雅黑" panose="020B0503020204020204" pitchFamily="34" charset="-122"/>
                          <a:ea typeface="微软雅黑" panose="020B0503020204020204" pitchFamily="34" charset="-122"/>
                          <a:sym typeface="+mn-ea"/>
                        </a:rPr>
                        <a:t>≤3.0mm</a:t>
                      </a:r>
                      <a:endParaRPr kumimoji="0" lang="zh-CN" sz="1200" b="0" i="0" u="none" strike="noStrike" cap="none" normalizeH="0" baseline="0" smtClean="0">
                        <a:ln>
                          <a:noFill/>
                        </a:ln>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红外、卷尺或测距仪</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全检</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lang="zh-CN" altLang="en-US" sz="1200" smtClean="0">
                          <a:ln>
                            <a:noFill/>
                          </a:ln>
                          <a:solidFill>
                            <a:srgbClr val="000000"/>
                          </a:solidFill>
                          <a:effectLst/>
                          <a:latin typeface="微软雅黑" panose="020B0503020204020204" pitchFamily="34" charset="-122"/>
                          <a:ea typeface="微软雅黑" panose="020B0503020204020204" pitchFamily="34" charset="-122"/>
                          <a:sym typeface="+mn-ea"/>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767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2</a:t>
                      </a: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裂缝</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不允许</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目测观察</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观察</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9085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空鼓</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不允许</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小锤轻击</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4"/>
                  </a:ext>
                </a:extLst>
              </a:tr>
              <a:tr h="44958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4</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表面平整度</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2m</a:t>
                      </a: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靠尺</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和</a:t>
                      </a: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塞尺</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6">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每</a:t>
                      </a: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50</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个房间一个检验批，每个检验批抽检≥</a:t>
                      </a: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10%</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并不得少于三间，（抽中房间应全检）</a:t>
                      </a:r>
                    </a:p>
                    <a:p>
                      <a:pPr marL="0" marR="0" lvl="0" indent="0" algn="ctr" defTabSz="347345"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 </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5</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墙面</a:t>
                      </a: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垂直度</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2m</a:t>
                      </a:r>
                      <a:r>
                        <a:rPr kumimoji="0" lang="zh-CN"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靠尺</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和</a:t>
                      </a:r>
                      <a:r>
                        <a:rPr kumimoji="0" lang="zh-CN"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塞尺</a:t>
                      </a:r>
                      <a:endParaRPr kumimoji="0" lang="zh-CN"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6"/>
                  </a:ext>
                </a:extLst>
              </a:tr>
              <a:tr h="516890">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6</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阴阳角方正</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直角检测尺</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8"/>
                  </a:ext>
                </a:extLst>
              </a:tr>
              <a:tr h="483235">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51117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7</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洞口</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lang="zh-CN" sz="1200" smtClean="0">
                          <a:ln>
                            <a:noFill/>
                          </a:ln>
                          <a:solidFill>
                            <a:srgbClr val="000000"/>
                          </a:solidFill>
                          <a:effectLst/>
                          <a:latin typeface="微软雅黑" panose="020B0503020204020204" pitchFamily="34" charset="-122"/>
                          <a:ea typeface="微软雅黑" panose="020B0503020204020204" pitchFamily="34" charset="-122"/>
                          <a:sym typeface="+mn-ea"/>
                        </a:rPr>
                        <a:t>不允许</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a:p>
                      <a:pPr marL="0" marR="0" lvl="0" indent="0" algn="ctr" defTabSz="347345"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45</a:t>
                      </a: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度角测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lang="zh-CN" altLang="en-US" sz="1200" smtClean="0">
                          <a:ln>
                            <a:noFill/>
                          </a:ln>
                          <a:solidFill>
                            <a:srgbClr val="000000"/>
                          </a:solidFill>
                          <a:effectLst/>
                          <a:latin typeface="微软雅黑" panose="020B0503020204020204" pitchFamily="34" charset="-122"/>
                          <a:ea typeface="微软雅黑" panose="020B0503020204020204" pitchFamily="34" charset="-122"/>
                          <a:sym typeface="+mn-ea"/>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Tree>
  </p:cSld>
  <p:clrMapOvr>
    <a:masterClrMapping/>
  </p:clrMapOvr>
  <p:transition>
    <p:zoom dir="in"/>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sym typeface="+mn-ea"/>
              </a:rPr>
              <a:t>5.3-3.1  垂直平整验收单</a:t>
            </a:r>
          </a:p>
        </p:txBody>
      </p:sp>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graphicFrame>
        <p:nvGraphicFramePr>
          <p:cNvPr id="8" name="表格 7"/>
          <p:cNvGraphicFramePr/>
          <p:nvPr/>
        </p:nvGraphicFramePr>
        <p:xfrm>
          <a:off x="684530" y="1502410"/>
          <a:ext cx="10721975" cy="4821555"/>
        </p:xfrm>
        <a:graphic>
          <a:graphicData uri="http://schemas.openxmlformats.org/drawingml/2006/table">
            <a:tbl>
              <a:tblPr firstRow="1" bandRow="1">
                <a:tableStyleId>{5C22544A-7EE6-4342-B048-85BDC9FD1C3A}</a:tableStyleId>
              </a:tblPr>
              <a:tblGrid>
                <a:gridCol w="834390">
                  <a:extLst>
                    <a:ext uri="{9D8B030D-6E8A-4147-A177-3AD203B41FA5}">
                      <a16:colId xmlns:a16="http://schemas.microsoft.com/office/drawing/2014/main" val="20000"/>
                    </a:ext>
                  </a:extLst>
                </a:gridCol>
                <a:gridCol w="523875">
                  <a:extLst>
                    <a:ext uri="{9D8B030D-6E8A-4147-A177-3AD203B41FA5}">
                      <a16:colId xmlns:a16="http://schemas.microsoft.com/office/drawing/2014/main" val="20001"/>
                    </a:ext>
                  </a:extLst>
                </a:gridCol>
                <a:gridCol w="524510">
                  <a:extLst>
                    <a:ext uri="{9D8B030D-6E8A-4147-A177-3AD203B41FA5}">
                      <a16:colId xmlns:a16="http://schemas.microsoft.com/office/drawing/2014/main" val="20002"/>
                    </a:ext>
                  </a:extLst>
                </a:gridCol>
                <a:gridCol w="487680">
                  <a:extLst>
                    <a:ext uri="{9D8B030D-6E8A-4147-A177-3AD203B41FA5}">
                      <a16:colId xmlns:a16="http://schemas.microsoft.com/office/drawing/2014/main" val="20003"/>
                    </a:ext>
                  </a:extLst>
                </a:gridCol>
                <a:gridCol w="515620">
                  <a:extLst>
                    <a:ext uri="{9D8B030D-6E8A-4147-A177-3AD203B41FA5}">
                      <a16:colId xmlns:a16="http://schemas.microsoft.com/office/drawing/2014/main" val="20004"/>
                    </a:ext>
                  </a:extLst>
                </a:gridCol>
                <a:gridCol w="525145">
                  <a:extLst>
                    <a:ext uri="{9D8B030D-6E8A-4147-A177-3AD203B41FA5}">
                      <a16:colId xmlns:a16="http://schemas.microsoft.com/office/drawing/2014/main" val="20005"/>
                    </a:ext>
                  </a:extLst>
                </a:gridCol>
                <a:gridCol w="515620">
                  <a:extLst>
                    <a:ext uri="{9D8B030D-6E8A-4147-A177-3AD203B41FA5}">
                      <a16:colId xmlns:a16="http://schemas.microsoft.com/office/drawing/2014/main" val="20006"/>
                    </a:ext>
                  </a:extLst>
                </a:gridCol>
                <a:gridCol w="497205">
                  <a:extLst>
                    <a:ext uri="{9D8B030D-6E8A-4147-A177-3AD203B41FA5}">
                      <a16:colId xmlns:a16="http://schemas.microsoft.com/office/drawing/2014/main" val="20007"/>
                    </a:ext>
                  </a:extLst>
                </a:gridCol>
                <a:gridCol w="506730">
                  <a:extLst>
                    <a:ext uri="{9D8B030D-6E8A-4147-A177-3AD203B41FA5}">
                      <a16:colId xmlns:a16="http://schemas.microsoft.com/office/drawing/2014/main" val="20008"/>
                    </a:ext>
                  </a:extLst>
                </a:gridCol>
                <a:gridCol w="503555">
                  <a:extLst>
                    <a:ext uri="{9D8B030D-6E8A-4147-A177-3AD203B41FA5}">
                      <a16:colId xmlns:a16="http://schemas.microsoft.com/office/drawing/2014/main" val="20009"/>
                    </a:ext>
                  </a:extLst>
                </a:gridCol>
                <a:gridCol w="249555">
                  <a:extLst>
                    <a:ext uri="{9D8B030D-6E8A-4147-A177-3AD203B41FA5}">
                      <a16:colId xmlns:a16="http://schemas.microsoft.com/office/drawing/2014/main" val="20010"/>
                    </a:ext>
                  </a:extLst>
                </a:gridCol>
                <a:gridCol w="249555">
                  <a:extLst>
                    <a:ext uri="{9D8B030D-6E8A-4147-A177-3AD203B41FA5}">
                      <a16:colId xmlns:a16="http://schemas.microsoft.com/office/drawing/2014/main" val="20011"/>
                    </a:ext>
                  </a:extLst>
                </a:gridCol>
                <a:gridCol w="513715">
                  <a:extLst>
                    <a:ext uri="{9D8B030D-6E8A-4147-A177-3AD203B41FA5}">
                      <a16:colId xmlns:a16="http://schemas.microsoft.com/office/drawing/2014/main" val="20012"/>
                    </a:ext>
                  </a:extLst>
                </a:gridCol>
                <a:gridCol w="496570">
                  <a:extLst>
                    <a:ext uri="{9D8B030D-6E8A-4147-A177-3AD203B41FA5}">
                      <a16:colId xmlns:a16="http://schemas.microsoft.com/office/drawing/2014/main" val="20013"/>
                    </a:ext>
                  </a:extLst>
                </a:gridCol>
                <a:gridCol w="504190">
                  <a:extLst>
                    <a:ext uri="{9D8B030D-6E8A-4147-A177-3AD203B41FA5}">
                      <a16:colId xmlns:a16="http://schemas.microsoft.com/office/drawing/2014/main" val="20014"/>
                    </a:ext>
                  </a:extLst>
                </a:gridCol>
                <a:gridCol w="906780">
                  <a:extLst>
                    <a:ext uri="{9D8B030D-6E8A-4147-A177-3AD203B41FA5}">
                      <a16:colId xmlns:a16="http://schemas.microsoft.com/office/drawing/2014/main" val="20015"/>
                    </a:ext>
                  </a:extLst>
                </a:gridCol>
                <a:gridCol w="1188085">
                  <a:extLst>
                    <a:ext uri="{9D8B030D-6E8A-4147-A177-3AD203B41FA5}">
                      <a16:colId xmlns:a16="http://schemas.microsoft.com/office/drawing/2014/main" val="20016"/>
                    </a:ext>
                  </a:extLst>
                </a:gridCol>
                <a:gridCol w="1179195">
                  <a:extLst>
                    <a:ext uri="{9D8B030D-6E8A-4147-A177-3AD203B41FA5}">
                      <a16:colId xmlns:a16="http://schemas.microsoft.com/office/drawing/2014/main" val="20017"/>
                    </a:ext>
                  </a:extLst>
                </a:gridCol>
              </a:tblGrid>
              <a:tr h="302260">
                <a:tc gridSpan="5">
                  <a:txBody>
                    <a:bodyPr/>
                    <a:lstStyle/>
                    <a:p>
                      <a:pPr indent="0">
                        <a:buNone/>
                      </a:pPr>
                      <a:r>
                        <a:rPr lang="zh-CN" sz="1200" b="1">
                          <a:solidFill>
                            <a:srgbClr val="000000"/>
                          </a:solidFill>
                          <a:latin typeface="+mn-ea"/>
                        </a:rPr>
                        <a:t>工程名称：</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buNone/>
                      </a:pPr>
                      <a:r>
                        <a:rPr lang="zh-CN" sz="1200" b="1">
                          <a:solidFill>
                            <a:srgbClr val="000000"/>
                          </a:solidFill>
                          <a:latin typeface="+mn-ea"/>
                        </a:rPr>
                        <a:t>楼栋：</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buNone/>
                      </a:pPr>
                      <a:r>
                        <a:rPr lang="zh-CN" sz="1200" b="1">
                          <a:solidFill>
                            <a:srgbClr val="000000"/>
                          </a:solidFill>
                          <a:latin typeface="+mn-ea"/>
                        </a:rPr>
                        <a:t>楼层：</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3">
                  <a:txBody>
                    <a:bodyPr/>
                    <a:lstStyle/>
                    <a:p>
                      <a:pPr indent="0">
                        <a:buNone/>
                      </a:pPr>
                      <a:r>
                        <a:rPr lang="zh-CN" sz="1200">
                          <a:solidFill>
                            <a:srgbClr val="000000"/>
                          </a:solidFill>
                          <a:latin typeface="+mn-ea"/>
                          <a:sym typeface="+mn-ea"/>
                        </a:rPr>
                        <a:t>房间：</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4">
                  <a:txBody>
                    <a:bodyPr/>
                    <a:lstStyle/>
                    <a:p>
                      <a:pPr indent="0">
                        <a:buNone/>
                      </a:pPr>
                      <a:r>
                        <a:rPr lang="zh-CN" altLang="zh-CN" sz="1200" b="1">
                          <a:solidFill>
                            <a:srgbClr val="000000"/>
                          </a:solidFill>
                          <a:latin typeface="微软雅黑" panose="020B0503020204020204" pitchFamily="34" charset="-122"/>
                        </a:rPr>
                        <a:t>施工单位：</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302895">
                <a:tc rowSpan="2">
                  <a:txBody>
                    <a:bodyPr/>
                    <a:lstStyle/>
                    <a:p>
                      <a:pPr indent="0" algn="ctr">
                        <a:buNone/>
                      </a:pPr>
                      <a:r>
                        <a:rPr lang="zh-CN" sz="1200" b="1">
                          <a:solidFill>
                            <a:srgbClr val="000000"/>
                          </a:solidFill>
                          <a:latin typeface="+mn-ea"/>
                        </a:rPr>
                        <a:t>验收部位</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5">
                  <a:txBody>
                    <a:bodyPr/>
                    <a:lstStyle/>
                    <a:p>
                      <a:pPr indent="0" algn="ctr">
                        <a:buNone/>
                      </a:pPr>
                      <a:r>
                        <a:rPr lang="zh-CN" sz="1200" b="1">
                          <a:solidFill>
                            <a:srgbClr val="000000"/>
                          </a:solidFill>
                          <a:latin typeface="+mn-ea"/>
                        </a:rPr>
                        <a:t>平整度</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4">
                  <a:txBody>
                    <a:bodyPr/>
                    <a:lstStyle/>
                    <a:p>
                      <a:pPr indent="0" algn="ctr">
                        <a:buNone/>
                      </a:pPr>
                      <a:r>
                        <a:rPr lang="zh-CN" sz="1200" b="1">
                          <a:solidFill>
                            <a:srgbClr val="000000"/>
                          </a:solidFill>
                          <a:latin typeface="+mn-ea"/>
                        </a:rPr>
                        <a:t>垂直度</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b="1">
                          <a:solidFill>
                            <a:srgbClr val="000000"/>
                          </a:solidFill>
                          <a:latin typeface="+mn-ea"/>
                        </a:rPr>
                        <a:t>方正度</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200" b="1">
                          <a:solidFill>
                            <a:srgbClr val="000000"/>
                          </a:solidFill>
                          <a:latin typeface="+mn-ea"/>
                        </a:rPr>
                        <a:t>空鼓开裂</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200" b="1">
                          <a:solidFill>
                            <a:srgbClr val="000000"/>
                          </a:solidFill>
                          <a:latin typeface="+mn-ea"/>
                        </a:rPr>
                        <a:t>验收结果</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200" b="1">
                          <a:solidFill>
                            <a:srgbClr val="000000"/>
                          </a:solidFill>
                          <a:latin typeface="+mn-ea"/>
                        </a:rPr>
                        <a:t>备注</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862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200" b="0">
                          <a:solidFill>
                            <a:srgbClr val="000000"/>
                          </a:solidFill>
                          <a:latin typeface="+mn-ea"/>
                        </a:rPr>
                        <a:t>墙面</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顶面</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地面垫层</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踢脚线</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地砖</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墙面</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墙砖</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阳角</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阴角</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200" b="0">
                          <a:solidFill>
                            <a:srgbClr val="000000"/>
                          </a:solidFill>
                          <a:latin typeface="+mn-ea"/>
                        </a:rPr>
                        <a:t>空间</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洞口</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空鼓</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开裂</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影像资料</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限期整改时间</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3">
                  <a:txBody>
                    <a:bodyPr/>
                    <a:lstStyle/>
                    <a:p>
                      <a:pPr indent="0">
                        <a:buNone/>
                      </a:pPr>
                      <a:r>
                        <a:rPr lang="en-US" sz="1200" b="0">
                          <a:solidFill>
                            <a:srgbClr val="000000"/>
                          </a:solidFill>
                          <a:latin typeface="+mn-ea"/>
                          <a:cs typeface="+mn-ea"/>
                        </a:rPr>
                        <a:t>严格控制精装基层施工质量，按公司管理标准依据相关规范要求，对现场的墙面、顶部、地面、门窗洞口等部位使用2m靠尺、红外、测距仪、钢尺、卷尺等测量工具进行精装工作面的表观质量检查。</a:t>
                      </a:r>
                    </a:p>
                    <a:p>
                      <a:pPr indent="0">
                        <a:buNone/>
                      </a:pPr>
                      <a:endParaRPr lang="en-US" sz="1200" b="0">
                        <a:solidFill>
                          <a:srgbClr val="000000"/>
                        </a:solidFill>
                        <a:latin typeface="+mn-ea"/>
                        <a:cs typeface="+mn-ea"/>
                      </a:endParaRPr>
                    </a:p>
                    <a:p>
                      <a:pPr indent="0">
                        <a:buNone/>
                      </a:pPr>
                      <a:endParaRPr lang="en-US" altLang="en-US" sz="1200" b="0">
                        <a:solidFill>
                          <a:srgbClr val="000000"/>
                        </a:solidFill>
                        <a:latin typeface="+mn-ea"/>
                        <a:cs typeface="+mn-ea"/>
                      </a:endParaRPr>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2260">
                <a:tc>
                  <a:txBody>
                    <a:bodyPr/>
                    <a:lstStyle/>
                    <a:p>
                      <a:pPr indent="0" algn="ctr">
                        <a:buNone/>
                      </a:pPr>
                      <a:r>
                        <a:rPr lang="zh-CN" sz="1200" b="0">
                          <a:solidFill>
                            <a:srgbClr val="000000"/>
                          </a:solidFill>
                          <a:latin typeface="+mn-ea"/>
                        </a:rPr>
                        <a:t>客厅</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302895">
                <a:tc>
                  <a:txBody>
                    <a:bodyPr/>
                    <a:lstStyle/>
                    <a:p>
                      <a:pPr indent="0" algn="ctr">
                        <a:buNone/>
                      </a:pPr>
                      <a:r>
                        <a:rPr lang="zh-CN" sz="1200" b="0">
                          <a:solidFill>
                            <a:srgbClr val="000000"/>
                          </a:solidFill>
                          <a:latin typeface="+mn-ea"/>
                        </a:rPr>
                        <a:t>主卧室</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302260">
                <a:tc>
                  <a:txBody>
                    <a:bodyPr/>
                    <a:lstStyle/>
                    <a:p>
                      <a:pPr indent="0" algn="ctr">
                        <a:buNone/>
                      </a:pPr>
                      <a:r>
                        <a:rPr lang="zh-CN" sz="1200" b="0">
                          <a:solidFill>
                            <a:srgbClr val="000000"/>
                          </a:solidFill>
                          <a:latin typeface="+mn-ea"/>
                        </a:rPr>
                        <a:t>次卧室</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302260">
                <a:tc>
                  <a:txBody>
                    <a:bodyPr/>
                    <a:lstStyle/>
                    <a:p>
                      <a:pPr indent="0" algn="ctr">
                        <a:buNone/>
                      </a:pPr>
                      <a:r>
                        <a:rPr lang="zh-CN" sz="1200" b="0">
                          <a:solidFill>
                            <a:srgbClr val="000000"/>
                          </a:solidFill>
                          <a:latin typeface="+mn-ea"/>
                        </a:rPr>
                        <a:t>次卧室</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302895">
                <a:tc>
                  <a:txBody>
                    <a:bodyPr/>
                    <a:lstStyle/>
                    <a:p>
                      <a:pPr indent="0" algn="ctr">
                        <a:buNone/>
                      </a:pPr>
                      <a:r>
                        <a:rPr lang="zh-CN" sz="1200" b="0">
                          <a:solidFill>
                            <a:srgbClr val="000000"/>
                          </a:solidFill>
                          <a:latin typeface="+mn-ea"/>
                        </a:rPr>
                        <a:t>厨房</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02260">
                <a:tc>
                  <a:txBody>
                    <a:bodyPr/>
                    <a:lstStyle/>
                    <a:p>
                      <a:pPr indent="0" algn="ctr">
                        <a:buNone/>
                      </a:pPr>
                      <a:r>
                        <a:rPr lang="zh-CN" sz="1200" b="0">
                          <a:solidFill>
                            <a:srgbClr val="000000"/>
                          </a:solidFill>
                          <a:latin typeface="+mn-ea"/>
                          <a:cs typeface="+mn-ea"/>
                        </a:rPr>
                        <a:t>卫生间1</a:t>
                      </a:r>
                      <a:endParaRPr lang="zh-CN" altLang="en-US" sz="1200" b="0">
                        <a:solidFill>
                          <a:srgbClr val="000000"/>
                        </a:solidFill>
                        <a:latin typeface="+mn-ea"/>
                        <a:cs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02260">
                <a:tc>
                  <a:txBody>
                    <a:bodyPr/>
                    <a:lstStyle/>
                    <a:p>
                      <a:pPr indent="0" algn="ctr">
                        <a:buNone/>
                      </a:pPr>
                      <a:r>
                        <a:rPr lang="zh-CN" sz="1200" b="0">
                          <a:solidFill>
                            <a:srgbClr val="000000"/>
                          </a:solidFill>
                          <a:latin typeface="+mn-ea"/>
                          <a:cs typeface="+mn-ea"/>
                        </a:rPr>
                        <a:t>卫生间2</a:t>
                      </a:r>
                      <a:endParaRPr lang="zh-CN" altLang="en-US" sz="1200" b="0">
                        <a:solidFill>
                          <a:srgbClr val="000000"/>
                        </a:solidFill>
                        <a:latin typeface="+mn-ea"/>
                        <a:cs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302895">
                <a:tc>
                  <a:txBody>
                    <a:bodyPr/>
                    <a:lstStyle/>
                    <a:p>
                      <a:pPr indent="0" algn="ctr">
                        <a:buNone/>
                      </a:pPr>
                      <a:r>
                        <a:rPr lang="zh-CN" sz="1200" b="0">
                          <a:solidFill>
                            <a:srgbClr val="000000"/>
                          </a:solidFill>
                          <a:latin typeface="+mn-ea"/>
                        </a:rPr>
                        <a:t>书房</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302260">
                <a:tc>
                  <a:txBody>
                    <a:bodyPr/>
                    <a:lstStyle/>
                    <a:p>
                      <a:pPr indent="0" algn="ctr">
                        <a:buNone/>
                      </a:pPr>
                      <a:endParaRPr lang="en-US"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302260">
                <a:tc>
                  <a:txBody>
                    <a:bodyPr/>
                    <a:lstStyle/>
                    <a:p>
                      <a:pPr indent="0" algn="ctr">
                        <a:buNone/>
                      </a:pPr>
                      <a:endParaRPr lang="en-US"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2"/>
                  </a:ext>
                </a:extLst>
              </a:tr>
              <a:tr h="302895">
                <a:tc rowSpan="2">
                  <a:txBody>
                    <a:bodyPr/>
                    <a:lstStyle/>
                    <a:p>
                      <a:pPr indent="0" algn="ctr">
                        <a:buNone/>
                      </a:pPr>
                      <a:r>
                        <a:rPr lang="zh-CN" sz="1200" b="1">
                          <a:solidFill>
                            <a:srgbClr val="000000"/>
                          </a:solidFill>
                          <a:latin typeface="+mn-ea"/>
                        </a:rPr>
                        <a:t>验收</a:t>
                      </a:r>
                    </a:p>
                    <a:p>
                      <a:pPr indent="0" algn="ctr">
                        <a:buNone/>
                      </a:pPr>
                      <a:r>
                        <a:rPr lang="zh-CN" sz="1200" b="1">
                          <a:solidFill>
                            <a:srgbClr val="000000"/>
                          </a:solidFill>
                          <a:latin typeface="+mn-ea"/>
                        </a:rPr>
                        <a:t>会签</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9">
                  <a:txBody>
                    <a:bodyPr/>
                    <a:lstStyle/>
                    <a:p>
                      <a:pPr indent="0" algn="ctr">
                        <a:buNone/>
                      </a:pPr>
                      <a:r>
                        <a:rPr lang="zh-CN" sz="1200" b="0">
                          <a:solidFill>
                            <a:srgbClr val="000000"/>
                          </a:solidFill>
                          <a:latin typeface="+mn-ea"/>
                        </a:rPr>
                        <a:t>精装单位</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rowSpan="2" gridSpan="3">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rowSpan="2"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rowSpan="2"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tcPr>
                </a:tc>
                <a:tc gridSpan="4">
                  <a:txBody>
                    <a:bodyPr/>
                    <a:lstStyle/>
                    <a:p>
                      <a:pPr indent="0" algn="ctr">
                        <a:buNone/>
                      </a:pPr>
                      <a:r>
                        <a:rPr lang="zh-CN" sz="1200" b="0">
                          <a:solidFill>
                            <a:srgbClr val="000000"/>
                          </a:solidFill>
                          <a:latin typeface="+mn-ea"/>
                        </a:rPr>
                        <a:t>甲方项目专业负责人</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3"/>
                  </a:ext>
                </a:extLst>
              </a:tr>
              <a:tr h="43180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9">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vMerge="1">
                  <a:txBody>
                    <a:bodyPr/>
                    <a:lstStyle/>
                    <a:p>
                      <a:endParaRPr lang="zh-CN"/>
                    </a:p>
                  </a:txBody>
                  <a:tcPr>
                    <a:lnL w="6350" cap="flat" cmpd="sng">
                      <a:solidFill>
                        <a:srgbClr val="000000"/>
                      </a:solidFill>
                      <a:prstDash val="solid"/>
                      <a:headEnd type="none" w="med" len="med"/>
                      <a:tailEnd type="none" w="med" len="med"/>
                    </a:lnL>
                    <a:lnB w="15240" cap="flat" cmpd="sng">
                      <a:solidFill>
                        <a:srgbClr val="000000"/>
                      </a:solidFill>
                      <a:prstDash val="solid"/>
                      <a:headEnd type="none" w="med" len="med"/>
                      <a:tailEnd type="none" w="med" len="med"/>
                    </a:lnB>
                  </a:tcPr>
                </a:tc>
                <a:tc hMerge="1" vMerge="1">
                  <a:txBody>
                    <a:bodyPr/>
                    <a:lstStyle/>
                    <a:p>
                      <a:endParaRPr lang="zh-CN"/>
                    </a:p>
                  </a:txBody>
                  <a:tcPr>
                    <a:lnL w="6350" cap="flat" cmpd="sng">
                      <a:solidFill>
                        <a:srgbClr val="000000"/>
                      </a:solidFill>
                      <a:prstDash val="solid"/>
                      <a:headEnd type="none" w="med" len="med"/>
                      <a:tailEnd type="none" w="med" len="med"/>
                    </a:lnL>
                    <a:lnB w="15240" cap="flat" cmpd="sng">
                      <a:solidFill>
                        <a:srgbClr val="000000"/>
                      </a:solidFill>
                      <a:prstDash val="solid"/>
                      <a:headEnd type="none" w="med" len="med"/>
                      <a:tailEnd type="none" w="med" len="med"/>
                    </a:lnB>
                  </a:tcPr>
                </a:tc>
                <a:tc hMerge="1" vMerge="1">
                  <a:txBody>
                    <a:bodyPr/>
                    <a:lstStyle/>
                    <a:p>
                      <a:endParaRPr lang="zh-CN"/>
                    </a:p>
                  </a:txBody>
                  <a:tcPr>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4">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14"/>
                  </a:ext>
                </a:extLst>
              </a:tr>
            </a:tbl>
          </a:graphicData>
        </a:graphic>
      </p:graphicFrame>
    </p:spTree>
  </p:cSld>
  <p:clrMapOvr>
    <a:masterClrMapping/>
  </p:clrMapOvr>
  <p:transition>
    <p:zoom dir="in"/>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图片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4959" y="1480085"/>
            <a:ext cx="1992016" cy="2656022"/>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1.3、</a:t>
            </a:r>
            <a:r>
              <a:rPr lang="zh-CN" altLang="en-US" sz="1800" b="1" dirty="0" smtClean="0">
                <a:solidFill>
                  <a:srgbClr val="000000"/>
                </a:solidFill>
                <a:cs typeface="+mn-ea"/>
                <a:sym typeface="+mn-ea"/>
              </a:rPr>
              <a:t>结构</a:t>
            </a:r>
            <a:r>
              <a:rPr lang="en-US" altLang="zh-CN" sz="1800" b="1" dirty="0" err="1" smtClean="0">
                <a:solidFill>
                  <a:srgbClr val="000000"/>
                </a:solidFill>
                <a:cs typeface="+mn-ea"/>
                <a:sym typeface="+mn-ea"/>
              </a:rPr>
              <a:t>规划</a:t>
            </a:r>
            <a:r>
              <a:rPr lang="zh-CN" altLang="en-US" sz="1800" b="1" dirty="0">
                <a:solidFill>
                  <a:srgbClr val="000000"/>
                </a:solidFill>
                <a:cs typeface="+mn-ea"/>
                <a:sym typeface="+mn-ea"/>
              </a:rPr>
              <a:t>（实例）</a:t>
            </a:r>
            <a:endParaRPr lang="en-US" altLang="zh-CN" sz="1800" b="1" dirty="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4" name="文本框 13"/>
          <p:cNvSpPr txBox="1"/>
          <p:nvPr/>
        </p:nvSpPr>
        <p:spPr>
          <a:xfrm>
            <a:off x="684287" y="4841740"/>
            <a:ext cx="8424935" cy="1477328"/>
          </a:xfrm>
          <a:prstGeom prst="rect">
            <a:avLst/>
          </a:prstGeom>
          <a:noFill/>
        </p:spPr>
        <p:txBody>
          <a:bodyPr wrap="square" rtlCol="0">
            <a:spAutoFit/>
          </a:bodyPr>
          <a:lstStyle/>
          <a:p>
            <a:pPr algn="l">
              <a:lnSpc>
                <a:spcPct val="150000"/>
              </a:lnSpc>
            </a:pPr>
            <a:r>
              <a:rPr lang="zh-CN" altLang="en-US" sz="1800" b="1" dirty="0" smtClean="0">
                <a:solidFill>
                  <a:srgbClr val="000000"/>
                </a:solidFill>
                <a:cs typeface="+mn-ea"/>
              </a:rPr>
              <a:t>问题描述：</a:t>
            </a:r>
            <a:endParaRPr lang="en-US" altLang="zh-CN" sz="1800" b="1" dirty="0" smtClean="0">
              <a:solidFill>
                <a:srgbClr val="000000"/>
              </a:solidFill>
              <a:cs typeface="+mn-ea"/>
            </a:endParaRPr>
          </a:p>
          <a:p>
            <a:pPr>
              <a:lnSpc>
                <a:spcPct val="150000"/>
              </a:lnSpc>
            </a:pPr>
            <a:r>
              <a:rPr lang="zh-CN" sz="1400" dirty="0" smtClean="0">
                <a:solidFill>
                  <a:srgbClr val="000000"/>
                </a:solidFill>
                <a:cs typeface="+mn-ea"/>
              </a:rPr>
              <a:t>因结构设计，致使空调仓出现不可逆的置放条件，使现场发生同面积户型出现不同窗子的标准户型和特殊户型，以至于因窗子大小影响户内采光问题。</a:t>
            </a:r>
          </a:p>
          <a:p>
            <a:pPr>
              <a:lnSpc>
                <a:spcPct val="150000"/>
              </a:lnSpc>
            </a:pPr>
            <a:r>
              <a:rPr lang="zh-CN" sz="1400" b="1" dirty="0" smtClean="0">
                <a:solidFill>
                  <a:srgbClr val="000000"/>
                </a:solidFill>
                <a:cs typeface="+mn-ea"/>
              </a:rPr>
              <a:t>已经造成业主群诉风险，且在已经精装进行阶段在进行结构调整，已造成成本浪费及工期严重延期的风险。</a:t>
            </a:r>
          </a:p>
        </p:txBody>
      </p:sp>
      <p:sp>
        <p:nvSpPr>
          <p:cNvPr id="15" name="文本框 14"/>
          <p:cNvSpPr txBox="1"/>
          <p:nvPr/>
        </p:nvSpPr>
        <p:spPr>
          <a:xfrm>
            <a:off x="3108335" y="3798788"/>
            <a:ext cx="2088063" cy="507831"/>
          </a:xfrm>
          <a:prstGeom prst="rect">
            <a:avLst/>
          </a:prstGeom>
          <a:noFill/>
        </p:spPr>
        <p:txBody>
          <a:bodyPr wrap="square" rtlCol="0">
            <a:spAutoFit/>
          </a:bodyPr>
          <a:lstStyle/>
          <a:p>
            <a:pPr algn="ctr">
              <a:lnSpc>
                <a:spcPct val="150000"/>
              </a:lnSpc>
            </a:pPr>
            <a:r>
              <a:rPr lang="zh-CN" altLang="en-US" sz="1800" b="1" dirty="0" smtClean="0">
                <a:solidFill>
                  <a:srgbClr val="000000"/>
                </a:solidFill>
                <a:cs typeface="+mn-ea"/>
              </a:rPr>
              <a:t>特殊户型</a:t>
            </a:r>
            <a:endParaRPr lang="en-US" altLang="zh-CN" sz="1400" dirty="0">
              <a:solidFill>
                <a:srgbClr val="000000"/>
              </a:solidFill>
              <a:cs typeface="+mn-ea"/>
            </a:endParaRPr>
          </a:p>
        </p:txBody>
      </p:sp>
      <p:sp>
        <p:nvSpPr>
          <p:cNvPr id="17" name="下箭头 16"/>
          <p:cNvSpPr/>
          <p:nvPr/>
        </p:nvSpPr>
        <p:spPr>
          <a:xfrm rot="10800000">
            <a:off x="1692399" y="2934692"/>
            <a:ext cx="216024" cy="6480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图片 17"/>
          <p:cNvPicPr>
            <a:picLocks noChangeAspect="1"/>
          </p:cNvPicPr>
          <p:nvPr/>
        </p:nvPicPr>
        <p:blipFill>
          <a:blip r:embed="rId3"/>
          <a:stretch>
            <a:fillRect/>
          </a:stretch>
        </p:blipFill>
        <p:spPr>
          <a:xfrm>
            <a:off x="3021975" y="1445260"/>
            <a:ext cx="2174423" cy="2215813"/>
          </a:xfrm>
          <a:prstGeom prst="rect">
            <a:avLst/>
          </a:prstGeom>
          <a:ln w="88900" cap="sq" cmpd="thickThin">
            <a:solidFill>
              <a:srgbClr val="000000"/>
            </a:solidFill>
            <a:prstDash val="solid"/>
            <a:miter lim="800000"/>
            <a:headEnd/>
            <a:tailEnd/>
          </a:ln>
          <a:effectLst>
            <a:innerShdw blurRad="76200">
              <a:srgbClr val="000000"/>
            </a:innerShdw>
          </a:effectLst>
        </p:spPr>
      </p:pic>
      <p:pic>
        <p:nvPicPr>
          <p:cNvPr id="19" name="图片 18"/>
          <p:cNvPicPr>
            <a:picLocks noChangeAspect="1"/>
          </p:cNvPicPr>
          <p:nvPr/>
        </p:nvPicPr>
        <p:blipFill>
          <a:blip r:embed="rId4"/>
          <a:stretch>
            <a:fillRect/>
          </a:stretch>
        </p:blipFill>
        <p:spPr>
          <a:xfrm>
            <a:off x="5556438" y="1445260"/>
            <a:ext cx="1895281" cy="2215813"/>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20" name="文本框 19"/>
          <p:cNvSpPr txBox="1"/>
          <p:nvPr/>
        </p:nvSpPr>
        <p:spPr>
          <a:xfrm>
            <a:off x="5556437" y="3798788"/>
            <a:ext cx="1895281" cy="507831"/>
          </a:xfrm>
          <a:prstGeom prst="rect">
            <a:avLst/>
          </a:prstGeom>
          <a:noFill/>
        </p:spPr>
        <p:txBody>
          <a:bodyPr wrap="square" rtlCol="0">
            <a:spAutoFit/>
          </a:bodyPr>
          <a:lstStyle/>
          <a:p>
            <a:pPr algn="ctr">
              <a:lnSpc>
                <a:spcPct val="150000"/>
              </a:lnSpc>
            </a:pPr>
            <a:r>
              <a:rPr lang="zh-CN" altLang="en-US" sz="1800" b="1" dirty="0" smtClean="0">
                <a:solidFill>
                  <a:srgbClr val="000000"/>
                </a:solidFill>
                <a:cs typeface="+mn-ea"/>
              </a:rPr>
              <a:t>标准户型</a:t>
            </a:r>
            <a:endParaRPr lang="en-US" altLang="zh-CN" sz="1400" dirty="0">
              <a:solidFill>
                <a:srgbClr val="000000"/>
              </a:solidFill>
              <a:cs typeface="+mn-ea"/>
            </a:endParaRPr>
          </a:p>
        </p:txBody>
      </p:sp>
      <p:sp>
        <p:nvSpPr>
          <p:cNvPr id="21" name="矩形 20"/>
          <p:cNvSpPr/>
          <p:nvPr/>
        </p:nvSpPr>
        <p:spPr>
          <a:xfrm>
            <a:off x="3108335" y="1998588"/>
            <a:ext cx="491387" cy="631873"/>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5562303" y="1991638"/>
            <a:ext cx="466443" cy="655022"/>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下箭头 24"/>
          <p:cNvSpPr/>
          <p:nvPr/>
        </p:nvSpPr>
        <p:spPr>
          <a:xfrm rot="16200000">
            <a:off x="7642796" y="3448253"/>
            <a:ext cx="808850" cy="46828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7" name="图片 26"/>
          <p:cNvPicPr>
            <a:picLocks noChangeAspect="1"/>
          </p:cNvPicPr>
          <p:nvPr/>
        </p:nvPicPr>
        <p:blipFill rotWithShape="1">
          <a:blip r:embed="rId5" cstate="print">
            <a:extLst>
              <a:ext uri="{28A0092B-C50C-407E-A947-70E740481C1C}">
                <a14:useLocalDpi xmlns:a14="http://schemas.microsoft.com/office/drawing/2010/main" val="0"/>
              </a:ext>
            </a:extLst>
          </a:blip>
          <a:srcRect b="12135"/>
          <a:stretch/>
        </p:blipFill>
        <p:spPr>
          <a:xfrm flipH="1">
            <a:off x="8461151" y="1445260"/>
            <a:ext cx="2746506" cy="3217623"/>
          </a:xfrm>
          <a:prstGeom prst="rect">
            <a:avLst/>
          </a:prstGeom>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4</a:t>
            </a:r>
            <a:r>
              <a:rPr lang="zh-CN" altLang="en-US" sz="1800" b="1" dirty="0" smtClean="0">
                <a:solidFill>
                  <a:srgbClr val="000000"/>
                </a:solidFill>
                <a:cs typeface="+mn-ea"/>
              </a:rPr>
              <a:t>、湿作业施工</a:t>
            </a:r>
            <a:endParaRPr lang="zh-CN" sz="1800" b="1" dirty="0" smtClean="0">
              <a:solidFill>
                <a:srgbClr val="000000"/>
              </a:solidFill>
              <a:cs typeface="+mn-ea"/>
              <a:sym typeface="+mn-ea"/>
            </a:endParaRPr>
          </a:p>
        </p:txBody>
      </p:sp>
      <p:sp>
        <p:nvSpPr>
          <p:cNvPr id="6" name="文本框 5"/>
          <p:cNvSpPr txBox="1"/>
          <p:nvPr/>
        </p:nvSpPr>
        <p:spPr>
          <a:xfrm>
            <a:off x="684530" y="1569720"/>
            <a:ext cx="8023860" cy="429260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p>
          <a:p>
            <a:pPr>
              <a:lnSpc>
                <a:spcPct val="150000"/>
              </a:lnSpc>
            </a:pPr>
            <a:r>
              <a:rPr lang="zh-CN" altLang="en-US" sz="1400" dirty="0">
                <a:solidFill>
                  <a:srgbClr val="000000"/>
                </a:solidFill>
                <a:latin typeface="+mn-ea"/>
                <a:cs typeface="+mn-ea"/>
              </a:rPr>
              <a:t>       </a:t>
            </a:r>
            <a:r>
              <a:rPr lang="zh-CN" altLang="en-US" sz="1400" dirty="0" smtClean="0">
                <a:solidFill>
                  <a:srgbClr val="000000"/>
                </a:solidFill>
                <a:cs typeface="+mn-ea"/>
                <a:sym typeface="+mn-ea"/>
              </a:rPr>
              <a:t>严格控制</a:t>
            </a:r>
            <a:r>
              <a:rPr lang="zh-CN" sz="1400" dirty="0" smtClean="0">
                <a:solidFill>
                  <a:srgbClr val="000000"/>
                </a:solidFill>
                <a:cs typeface="+mn-ea"/>
                <a:sym typeface="+mn-ea"/>
              </a:rPr>
              <a:t>墙地砖铺装质量，</a:t>
            </a:r>
            <a:r>
              <a:rPr lang="zh-CN" sz="1400" dirty="0">
                <a:solidFill>
                  <a:srgbClr val="000000"/>
                </a:solidFill>
                <a:cs typeface="+mn-ea"/>
              </a:rPr>
              <a:t>辅材要求： 水泥砂浆： 贴砖应用1：3（水泥：砂）水泥砂浆，水泥砂浆拌和后必须在一小时内用完，逾时后的砂浆不得使用。 </a:t>
            </a:r>
          </a:p>
          <a:p>
            <a:pPr>
              <a:lnSpc>
                <a:spcPct val="150000"/>
              </a:lnSpc>
            </a:pPr>
            <a:r>
              <a:rPr lang="zh-CN" sz="1400" dirty="0">
                <a:solidFill>
                  <a:srgbClr val="000000"/>
                </a:solidFill>
                <a:cs typeface="+mn-ea"/>
              </a:rPr>
              <a:t>        所用水泥应为国家认可的厂家生产的425号普通硅酸盐水泥，每批到场的水泥必须具有出厂合格证及检测报告。 </a:t>
            </a:r>
          </a:p>
          <a:p>
            <a:pPr>
              <a:lnSpc>
                <a:spcPct val="150000"/>
              </a:lnSpc>
            </a:pPr>
            <a:r>
              <a:rPr lang="zh-CN" sz="1400" dirty="0">
                <a:solidFill>
                  <a:srgbClr val="000000"/>
                </a:solidFill>
                <a:cs typeface="+mn-ea"/>
              </a:rPr>
              <a:t>        所用砂应选用洁净、无有机杂质的中砂。所有中砂必须过筛后方可使用。 拌制砂浆的水应为不含有害物质的洁净水。</a:t>
            </a:r>
          </a:p>
          <a:p>
            <a:pPr>
              <a:lnSpc>
                <a:spcPct val="150000"/>
              </a:lnSpc>
            </a:pPr>
            <a:endParaRPr lang="zh-CN" sz="1400" b="1" dirty="0">
              <a:solidFill>
                <a:srgbClr val="000000"/>
              </a:solidFill>
              <a:cs typeface="+mn-ea"/>
            </a:endParaRPr>
          </a:p>
          <a:p>
            <a:pPr>
              <a:lnSpc>
                <a:spcPct val="150000"/>
              </a:lnSpc>
            </a:pPr>
            <a:endParaRPr lang="zh-CN" sz="1400" b="1" dirty="0">
              <a:solidFill>
                <a:srgbClr val="000000"/>
              </a:solidFill>
              <a:cs typeface="+mn-ea"/>
            </a:endParaRPr>
          </a:p>
          <a:p>
            <a:pPr>
              <a:lnSpc>
                <a:spcPct val="150000"/>
              </a:lnSpc>
            </a:pPr>
            <a:r>
              <a:rPr lang="zh-CN" sz="1400" b="1" dirty="0">
                <a:solidFill>
                  <a:srgbClr val="000000"/>
                </a:solidFill>
                <a:cs typeface="+mn-ea"/>
              </a:rPr>
              <a:t>施工要求：</a:t>
            </a:r>
            <a:endParaRPr lang="zh-CN" sz="1400" dirty="0">
              <a:solidFill>
                <a:srgbClr val="000000"/>
              </a:solidFill>
              <a:cs typeface="+mn-ea"/>
            </a:endParaRPr>
          </a:p>
          <a:p>
            <a:pPr algn="just">
              <a:lnSpc>
                <a:spcPct val="150000"/>
              </a:lnSpc>
            </a:pPr>
            <a:r>
              <a:rPr lang="en-US" altLang="zh-CN" sz="1400" dirty="0">
                <a:latin typeface="微软雅黑" panose="020B0503020204020204" pitchFamily="34" charset="-122"/>
                <a:ea typeface="微软雅黑" panose="020B0503020204020204" pitchFamily="34" charset="-122"/>
                <a:sym typeface="+mn-ea"/>
              </a:rPr>
              <a:t>( 1 )</a:t>
            </a:r>
            <a:r>
              <a:rPr lang="zh-CN" altLang="zh-CN" sz="1400" dirty="0">
                <a:latin typeface="微软雅黑" panose="020B0503020204020204" pitchFamily="34" charset="-122"/>
                <a:ea typeface="微软雅黑" panose="020B0503020204020204" pitchFamily="34" charset="-122"/>
                <a:sym typeface="+mn-ea"/>
              </a:rPr>
              <a:t>镶贴应牢固，表面色泽基本一致，平整干净，无漏贴错贴；墙面无空鼓，</a:t>
            </a:r>
            <a:r>
              <a:rPr lang="zh-CN" altLang="en-US" sz="1400" dirty="0">
                <a:latin typeface="微软雅黑" panose="020B0503020204020204" pitchFamily="34" charset="-122"/>
                <a:ea typeface="微软雅黑" panose="020B0503020204020204" pitchFamily="34" charset="-122"/>
                <a:sym typeface="+mn-ea"/>
              </a:rPr>
              <a:t>缝隙</a:t>
            </a:r>
            <a:r>
              <a:rPr lang="zh-CN" altLang="zh-CN" sz="1400" dirty="0">
                <a:latin typeface="微软雅黑" panose="020B0503020204020204" pitchFamily="34" charset="-122"/>
                <a:ea typeface="微软雅黑" panose="020B0503020204020204" pitchFamily="34" charset="-122"/>
                <a:sym typeface="+mn-ea"/>
              </a:rPr>
              <a:t>均匀，周边顺直，砖面无裂纹、掉角、缺楞等现象，每面墙不宜有两列非整砖，整砖不应小于原砖的三分之一。 </a:t>
            </a:r>
            <a:endParaRPr lang="en-US" altLang="zh-CN" sz="1400" b="0" dirty="0">
              <a:latin typeface="微软雅黑" panose="020B0503020204020204" pitchFamily="34" charset="-122"/>
              <a:ea typeface="微软雅黑" panose="020B0503020204020204" pitchFamily="34" charset="-122"/>
            </a:endParaRPr>
          </a:p>
          <a:p>
            <a:pPr algn="just">
              <a:lnSpc>
                <a:spcPct val="150000"/>
              </a:lnSpc>
            </a:pPr>
            <a:r>
              <a:rPr lang="en-US" altLang="zh-CN" sz="1400" dirty="0">
                <a:latin typeface="微软雅黑" panose="020B0503020204020204" pitchFamily="34" charset="-122"/>
                <a:ea typeface="微软雅黑" panose="020B0503020204020204" pitchFamily="34" charset="-122"/>
                <a:sym typeface="+mn-ea"/>
              </a:rPr>
              <a:t>( 2 )</a:t>
            </a:r>
            <a:r>
              <a:rPr lang="zh-CN" altLang="zh-CN" sz="1400" dirty="0">
                <a:latin typeface="微软雅黑" panose="020B0503020204020204" pitchFamily="34" charset="-122"/>
                <a:ea typeface="微软雅黑" panose="020B0503020204020204" pitchFamily="34" charset="-122"/>
                <a:sym typeface="+mn-ea"/>
              </a:rPr>
              <a:t>卫生间、厨房间</a:t>
            </a:r>
            <a:r>
              <a:rPr lang="zh-CN" altLang="en-US" sz="1400" dirty="0">
                <a:latin typeface="微软雅黑" panose="020B0503020204020204" pitchFamily="34" charset="-122"/>
                <a:ea typeface="微软雅黑" panose="020B0503020204020204" pitchFamily="34" charset="-122"/>
                <a:sym typeface="+mn-ea"/>
              </a:rPr>
              <a:t>与</a:t>
            </a:r>
            <a:r>
              <a:rPr lang="zh-CN" altLang="zh-CN" sz="1400" dirty="0">
                <a:latin typeface="微软雅黑" panose="020B0503020204020204" pitchFamily="34" charset="-122"/>
                <a:ea typeface="微软雅黑" panose="020B0503020204020204" pitchFamily="34" charset="-122"/>
                <a:sym typeface="+mn-ea"/>
              </a:rPr>
              <a:t>其它房间区域的交接面处应做好防水处理。</a:t>
            </a:r>
            <a:r>
              <a:rPr lang="zh-CN" altLang="en-US" sz="1400" dirty="0">
                <a:solidFill>
                  <a:srgbClr val="000000"/>
                </a:solidFill>
                <a:latin typeface="+mn-ea"/>
                <a:cs typeface="+mn-ea"/>
              </a:rPr>
              <a:t>      </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1445161" y="1520126"/>
          <a:ext cx="9355455" cy="4821555"/>
        </p:xfrm>
        <a:graphic>
          <a:graphicData uri="http://schemas.openxmlformats.org/drawingml/2006/table">
            <a:tbl>
              <a:tblPr/>
              <a:tblGrid>
                <a:gridCol w="576580">
                  <a:extLst>
                    <a:ext uri="{9D8B030D-6E8A-4147-A177-3AD203B41FA5}">
                      <a16:colId xmlns:a16="http://schemas.microsoft.com/office/drawing/2014/main" val="20000"/>
                    </a:ext>
                  </a:extLst>
                </a:gridCol>
                <a:gridCol w="1210945">
                  <a:extLst>
                    <a:ext uri="{9D8B030D-6E8A-4147-A177-3AD203B41FA5}">
                      <a16:colId xmlns:a16="http://schemas.microsoft.com/office/drawing/2014/main" val="20001"/>
                    </a:ext>
                  </a:extLst>
                </a:gridCol>
                <a:gridCol w="1597025">
                  <a:extLst>
                    <a:ext uri="{9D8B030D-6E8A-4147-A177-3AD203B41FA5}">
                      <a16:colId xmlns:a16="http://schemas.microsoft.com/office/drawing/2014/main" val="20002"/>
                    </a:ext>
                  </a:extLst>
                </a:gridCol>
                <a:gridCol w="1856105">
                  <a:extLst>
                    <a:ext uri="{9D8B030D-6E8A-4147-A177-3AD203B41FA5}">
                      <a16:colId xmlns:a16="http://schemas.microsoft.com/office/drawing/2014/main" val="20003"/>
                    </a:ext>
                  </a:extLst>
                </a:gridCol>
                <a:gridCol w="1642745">
                  <a:extLst>
                    <a:ext uri="{9D8B030D-6E8A-4147-A177-3AD203B41FA5}">
                      <a16:colId xmlns:a16="http://schemas.microsoft.com/office/drawing/2014/main" val="20004"/>
                    </a:ext>
                  </a:extLst>
                </a:gridCol>
                <a:gridCol w="1621155">
                  <a:extLst>
                    <a:ext uri="{9D8B030D-6E8A-4147-A177-3AD203B41FA5}">
                      <a16:colId xmlns:a16="http://schemas.microsoft.com/office/drawing/2014/main" val="20005"/>
                    </a:ext>
                  </a:extLst>
                </a:gridCol>
                <a:gridCol w="850900">
                  <a:extLst>
                    <a:ext uri="{9D8B030D-6E8A-4147-A177-3AD203B41FA5}">
                      <a16:colId xmlns:a16="http://schemas.microsoft.com/office/drawing/2014/main" val="20006"/>
                    </a:ext>
                  </a:extLst>
                </a:gridCol>
              </a:tblGrid>
              <a:tr h="49911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序号</a:t>
                      </a:r>
                      <a:endParaRPr kumimoji="0" lang="zh-CN" sz="13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项目</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质量要求及允许偏差</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验收</a:t>
                      </a:r>
                      <a:r>
                        <a:rPr kumimoji="0" lang="zh-CN" altLang="en-US"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方法</a:t>
                      </a:r>
                      <a:r>
                        <a:rPr kumimoji="0" lang="en-US" alt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 </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说明</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62280">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石材</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墙面转</a:t>
                      </a:r>
                      <a:endParaRPr kumimoji="0" lang="zh-CN" sz="1395"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检验工具、方法</a:t>
                      </a:r>
                      <a:endParaRPr kumimoji="0" lang="zh-CN"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检验数量</a:t>
                      </a:r>
                      <a:endParaRPr kumimoji="0" lang="zh-CN" sz="1395"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extLst>
                  <a:ext uri="{0D108BD9-81ED-4DB2-BD59-A6C34878D82A}">
                    <a16:rowId xmlns:a16="http://schemas.microsoft.com/office/drawing/2014/main" val="10001"/>
                  </a:ext>
                </a:extLst>
              </a:tr>
              <a:tr h="45529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外观</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347345" rtl="0" eaLnBrk="1" fontAlgn="base" latinLnBrk="0" hangingPunct="1">
                        <a:lnSpc>
                          <a:spcPct val="100000"/>
                        </a:lnSpc>
                        <a:spcBef>
                          <a:spcPct val="0"/>
                        </a:spcBef>
                        <a:spcAft>
                          <a:spcPct val="0"/>
                        </a:spcAft>
                        <a:buClrTx/>
                        <a:buSzTx/>
                        <a:buFontTx/>
                        <a:buNone/>
                      </a:pPr>
                      <a:r>
                        <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表面色泽一致</a:t>
                      </a: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a:t>
                      </a:r>
                      <a:r>
                        <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平整，无漏贴错贴</a:t>
                      </a: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a:t>
                      </a:r>
                      <a:r>
                        <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无空鼓，</a:t>
                      </a: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缝隙</a:t>
                      </a:r>
                      <a:r>
                        <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均匀，顺直，砖面无裂纹、掉角、缺楞等现象</a:t>
                      </a:r>
                      <a:endParaRPr kumimoji="0" lang="zh-CN" sz="1200" b="0" i="0" u="none" strike="noStrike" cap="none" normalizeH="0" baseline="0" smtClean="0">
                        <a:ln>
                          <a:noFill/>
                        </a:ln>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目测</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观察</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全检</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观察</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639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2</a:t>
                      </a: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裂缝</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不允许</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目测观察</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观察</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798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空鼓</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不允许</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小锤轻击</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4"/>
                  </a:ext>
                </a:extLst>
              </a:tr>
              <a:tr h="46164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4</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表面平整度</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2m</a:t>
                      </a: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靠尺</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和</a:t>
                      </a:r>
                      <a:r>
                        <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塞尺</a:t>
                      </a:r>
                      <a:endParaRPr kumimoji="0" 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9">
                  <a:txBody>
                    <a:bodyPr/>
                    <a:lstStyle/>
                    <a:p>
                      <a:pPr marL="0" marR="0" lvl="0" indent="0" algn="l"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每</a:t>
                      </a: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50</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个房间一个检验批，每个检验批抽检≥</a:t>
                      </a: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10%</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并不得少于三间，（抽中房间应全检）</a:t>
                      </a:r>
                    </a:p>
                    <a:p>
                      <a:pPr marL="0" marR="0" lvl="0" indent="0" algn="ctr" defTabSz="347345"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 </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5</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墙面</a:t>
                      </a: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垂直度</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2m</a:t>
                      </a:r>
                      <a:r>
                        <a:rPr kumimoji="0" lang="zh-CN"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靠尺</a:t>
                      </a:r>
                      <a:r>
                        <a:rPr kumimoji="0" lang="zh-CN" altLang="en-US"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和</a:t>
                      </a:r>
                      <a:r>
                        <a:rPr kumimoji="0" lang="zh-CN"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塞尺</a:t>
                      </a:r>
                      <a:endParaRPr kumimoji="0" lang="zh-CN" altLang="zh-CN" sz="12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6"/>
                  </a:ext>
                </a:extLst>
              </a:tr>
              <a:tr h="461645">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6</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阴阳角方正</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直角检测尺</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8"/>
                  </a:ext>
                </a:extLst>
              </a:tr>
              <a:tr h="431800">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7</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接缝高低差</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0.5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0.5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钢直尺</a:t>
                      </a: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和</a:t>
                      </a: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塞尺</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10"/>
                  </a:ext>
                </a:extLst>
              </a:tr>
              <a:tr h="405130">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40703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8</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墙砖</a:t>
                      </a: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接缝</a:t>
                      </a: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宽度</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钢直尺</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40703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9</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踢脚线出墙厚度</a:t>
                      </a:r>
                      <a:endPar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钢直尺</a:t>
                      </a:r>
                      <a:endParaRPr kumimoji="0" lang="zh-CN" altLang="zh-CN" sz="1200"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实测实量</a:t>
                      </a:r>
                      <a:endParaRPr kumimoji="0" lang="zh-CN" altLang="zh-CN" sz="1200"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bl>
          </a:graphicData>
        </a:graphic>
      </p:graphicFrame>
      <p:sp>
        <p:nvSpPr>
          <p:cNvPr id="3" name="文本框 2"/>
          <p:cNvSpPr txBox="1"/>
          <p:nvPr/>
        </p:nvSpPr>
        <p:spPr>
          <a:xfrm>
            <a:off x="684530" y="720725"/>
            <a:ext cx="393446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a:solidFill>
                  <a:srgbClr val="000000"/>
                </a:solidFill>
                <a:cs typeface="+mn-ea"/>
                <a:sym typeface="+mn-ea"/>
              </a:rPr>
              <a:t>5.3-4、湿作业施工  验收要求及方法</a:t>
            </a: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4</a:t>
            </a:r>
            <a:r>
              <a:rPr lang="zh-CN" altLang="en-US" sz="1800" b="1" dirty="0" smtClean="0">
                <a:solidFill>
                  <a:srgbClr val="000000"/>
                </a:solidFill>
                <a:cs typeface="+mn-ea"/>
              </a:rPr>
              <a:t>、湿作业施工（实例）</a:t>
            </a:r>
            <a:endParaRPr 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8161655" y="4445000"/>
            <a:ext cx="3148965" cy="73723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目的：</a:t>
            </a:r>
            <a:r>
              <a:rPr lang="zh-CN" altLang="en-US" sz="1400" dirty="0" smtClean="0">
                <a:solidFill>
                  <a:srgbClr val="000000"/>
                </a:solidFill>
                <a:latin typeface="+mn-ea"/>
                <a:cs typeface="+mn-ea"/>
              </a:rPr>
              <a:t>        </a:t>
            </a:r>
            <a:endParaRPr lang="en-US" altLang="zh-CN" sz="1400" dirty="0" smtClean="0">
              <a:solidFill>
                <a:srgbClr val="000000"/>
              </a:solidFill>
              <a:latin typeface="+mn-ea"/>
              <a:cs typeface="+mn-ea"/>
            </a:endParaRPr>
          </a:p>
          <a:p>
            <a:pPr>
              <a:lnSpc>
                <a:spcPct val="150000"/>
              </a:lnSpc>
            </a:pPr>
            <a:r>
              <a:rPr lang="en-US" altLang="zh-CN" sz="1400" dirty="0">
                <a:solidFill>
                  <a:srgbClr val="000000"/>
                </a:solidFill>
                <a:latin typeface="+mn-ea"/>
                <a:cs typeface="+mn-ea"/>
              </a:rPr>
              <a:t> </a:t>
            </a:r>
            <a:r>
              <a:rPr lang="en-US" altLang="zh-CN" sz="1400" dirty="0" smtClean="0">
                <a:solidFill>
                  <a:srgbClr val="000000"/>
                </a:solidFill>
                <a:latin typeface="+mn-ea"/>
                <a:cs typeface="+mn-ea"/>
              </a:rPr>
              <a:t>     </a:t>
            </a:r>
            <a:r>
              <a:rPr lang="zh-CN" sz="1400" dirty="0" smtClean="0">
                <a:solidFill>
                  <a:srgbClr val="000000"/>
                </a:solidFill>
                <a:latin typeface="+mn-ea"/>
                <a:cs typeface="+mn-ea"/>
              </a:rPr>
              <a:t>控制观感质量，提升观感品质</a:t>
            </a:r>
            <a:endParaRPr lang="zh-CN" sz="1400" b="1" dirty="0">
              <a:solidFill>
                <a:srgbClr val="000000"/>
              </a:solidFill>
              <a:latin typeface="+mn-ea"/>
              <a:cs typeface="+mn-ea"/>
            </a:endParaRPr>
          </a:p>
        </p:txBody>
      </p:sp>
      <p:pic>
        <p:nvPicPr>
          <p:cNvPr id="76805" name="图片 6"/>
          <p:cNvPicPr>
            <a:picLocks noChangeAspect="1"/>
          </p:cNvPicPr>
          <p:nvPr/>
        </p:nvPicPr>
        <p:blipFill>
          <a:blip r:embed="rId2"/>
          <a:srcRect/>
          <a:stretch>
            <a:fillRect/>
          </a:stretch>
        </p:blipFill>
        <p:spPr>
          <a:xfrm>
            <a:off x="756285" y="2302510"/>
            <a:ext cx="3070860" cy="287972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76806" name="图片 7" descr="13"/>
          <p:cNvPicPr>
            <a:picLocks noChangeAspect="1"/>
          </p:cNvPicPr>
          <p:nvPr/>
        </p:nvPicPr>
        <p:blipFill>
          <a:blip r:embed="rId3"/>
          <a:stretch>
            <a:fillRect/>
          </a:stretch>
        </p:blipFill>
        <p:spPr>
          <a:xfrm>
            <a:off x="4022090" y="2302510"/>
            <a:ext cx="3838575" cy="287655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6" name="文本框 5"/>
          <p:cNvSpPr txBox="1"/>
          <p:nvPr/>
        </p:nvSpPr>
        <p:spPr>
          <a:xfrm>
            <a:off x="8161655" y="2302510"/>
            <a:ext cx="3467735" cy="203009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p>
          <a:p>
            <a:pPr>
              <a:lnSpc>
                <a:spcPct val="150000"/>
              </a:lnSpc>
            </a:pPr>
            <a:r>
              <a:rPr lang="zh-CN" altLang="en-US" sz="1400" dirty="0">
                <a:solidFill>
                  <a:srgbClr val="000000"/>
                </a:solidFill>
                <a:latin typeface="+mn-ea"/>
                <a:cs typeface="+mn-ea"/>
              </a:rPr>
              <a:t>       </a:t>
            </a:r>
            <a:r>
              <a:rPr lang="zh-CN" sz="1400" dirty="0">
                <a:solidFill>
                  <a:srgbClr val="000000"/>
                </a:solidFill>
                <a:latin typeface="+mn-ea"/>
                <a:cs typeface="+mn-ea"/>
                <a:sym typeface="+mn-ea"/>
              </a:rPr>
              <a:t>瓷砖阳角采用小海棠角（1.5mm），瓷砖切割为42°，防止瓷砖崩角，保证拼缝严密，上下砖的阳角缝顺直；</a:t>
            </a:r>
          </a:p>
          <a:p>
            <a:pPr>
              <a:lnSpc>
                <a:spcPct val="150000"/>
              </a:lnSpc>
            </a:pPr>
            <a:r>
              <a:rPr lang="zh-CN" sz="1400" dirty="0">
                <a:solidFill>
                  <a:srgbClr val="000000"/>
                </a:solidFill>
                <a:latin typeface="+mn-ea"/>
                <a:cs typeface="+mn-ea"/>
                <a:sym typeface="+mn-ea"/>
              </a:rPr>
              <a:t>       瓷砖踢脚线阳角同样采用小海棠角（1.5mm），禁止采用原边收口。</a:t>
            </a:r>
            <a:endParaRPr lang="zh-CN" sz="1400" dirty="0">
              <a:solidFill>
                <a:srgbClr val="000000"/>
              </a:solidFill>
              <a:latin typeface="+mn-ea"/>
              <a:cs typeface="+mn-ea"/>
            </a:endParaRPr>
          </a:p>
        </p:txBody>
      </p:sp>
    </p:spTree>
  </p:cSld>
  <p:clrMapOvr>
    <a:masterClrMapping/>
  </p:clrMapOvr>
  <p:transition>
    <p:zoom dir="in"/>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4</a:t>
            </a:r>
            <a:r>
              <a:rPr lang="zh-CN" altLang="en-US" sz="1800" b="1" dirty="0" smtClean="0">
                <a:solidFill>
                  <a:srgbClr val="000000"/>
                </a:solidFill>
                <a:cs typeface="+mn-ea"/>
              </a:rPr>
              <a:t>、湿作业施工（实例）</a:t>
            </a:r>
            <a:endParaRPr lang="zh-CN" sz="1800" b="1" dirty="0" smtClean="0">
              <a:solidFill>
                <a:srgbClr val="000000"/>
              </a:solidFill>
              <a:cs typeface="+mn-ea"/>
              <a:sym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684530" y="5255260"/>
            <a:ext cx="3148965" cy="73723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目的：</a:t>
            </a:r>
            <a:r>
              <a:rPr lang="zh-CN" altLang="en-US" sz="1400" dirty="0" smtClean="0">
                <a:solidFill>
                  <a:srgbClr val="000000"/>
                </a:solidFill>
                <a:latin typeface="+mn-ea"/>
                <a:cs typeface="+mn-ea"/>
              </a:rPr>
              <a:t>        </a:t>
            </a:r>
            <a:endParaRPr lang="en-US" altLang="zh-CN" sz="1400" dirty="0" smtClean="0">
              <a:solidFill>
                <a:srgbClr val="000000"/>
              </a:solidFill>
              <a:latin typeface="+mn-ea"/>
              <a:cs typeface="+mn-ea"/>
            </a:endParaRPr>
          </a:p>
          <a:p>
            <a:pPr>
              <a:lnSpc>
                <a:spcPct val="150000"/>
              </a:lnSpc>
            </a:pPr>
            <a:r>
              <a:rPr lang="en-US" altLang="zh-CN" sz="1400" dirty="0">
                <a:solidFill>
                  <a:srgbClr val="000000"/>
                </a:solidFill>
                <a:latin typeface="+mn-ea"/>
                <a:cs typeface="+mn-ea"/>
              </a:rPr>
              <a:t> </a:t>
            </a:r>
            <a:r>
              <a:rPr lang="en-US" altLang="zh-CN" sz="1400" dirty="0" smtClean="0">
                <a:solidFill>
                  <a:srgbClr val="000000"/>
                </a:solidFill>
                <a:latin typeface="+mn-ea"/>
                <a:cs typeface="+mn-ea"/>
              </a:rPr>
              <a:t>     </a:t>
            </a:r>
            <a:r>
              <a:rPr lang="zh-CN" sz="1400" dirty="0" smtClean="0">
                <a:solidFill>
                  <a:srgbClr val="000000"/>
                </a:solidFill>
                <a:latin typeface="+mn-ea"/>
                <a:cs typeface="+mn-ea"/>
              </a:rPr>
              <a:t>从根本上严防空鼓问题发生。</a:t>
            </a:r>
            <a:endParaRPr lang="zh-CN" sz="1400" b="1" dirty="0">
              <a:solidFill>
                <a:srgbClr val="000000"/>
              </a:solidFill>
              <a:latin typeface="+mn-ea"/>
              <a:cs typeface="+mn-ea"/>
            </a:endParaRPr>
          </a:p>
        </p:txBody>
      </p:sp>
      <p:sp>
        <p:nvSpPr>
          <p:cNvPr id="6" name="文本框 5"/>
          <p:cNvSpPr txBox="1"/>
          <p:nvPr/>
        </p:nvSpPr>
        <p:spPr>
          <a:xfrm>
            <a:off x="678180" y="4194810"/>
            <a:ext cx="4627245" cy="106045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rgbClr val="000000"/>
                </a:solidFill>
                <a:latin typeface="+mn-ea"/>
                <a:cs typeface="+mn-ea"/>
              </a:rPr>
              <a:t>工作内容：</a:t>
            </a:r>
          </a:p>
          <a:p>
            <a:pPr>
              <a:lnSpc>
                <a:spcPct val="150000"/>
              </a:lnSpc>
            </a:pPr>
            <a:r>
              <a:rPr lang="zh-CN" altLang="en-US" sz="1400" dirty="0">
                <a:solidFill>
                  <a:srgbClr val="000000"/>
                </a:solidFill>
                <a:latin typeface="+mn-ea"/>
                <a:cs typeface="+mn-ea"/>
              </a:rPr>
              <a:t>       </a:t>
            </a:r>
            <a:r>
              <a:rPr lang="zh-CN" sz="1400" dirty="0">
                <a:solidFill>
                  <a:srgbClr val="000000"/>
                </a:solidFill>
                <a:latin typeface="+mn-ea"/>
                <a:cs typeface="+mn-ea"/>
                <a:sym typeface="+mn-ea"/>
              </a:rPr>
              <a:t>强化现场施工技术管理，严格要求精装单位对劳务进行技术交底，确保施工标准化。</a:t>
            </a:r>
            <a:endParaRPr lang="zh-CN" sz="1400" dirty="0">
              <a:solidFill>
                <a:srgbClr val="000000"/>
              </a:solidFill>
              <a:latin typeface="+mn-ea"/>
              <a:cs typeface="+mn-ea"/>
            </a:endParaRPr>
          </a:p>
        </p:txBody>
      </p:sp>
      <p:pic>
        <p:nvPicPr>
          <p:cNvPr id="10" name="Picture 2"/>
          <p:cNvPicPr>
            <a:picLocks noChangeAspect="1" noChangeArrowheads="1"/>
          </p:cNvPicPr>
          <p:nvPr/>
        </p:nvPicPr>
        <p:blipFill>
          <a:blip r:embed="rId2"/>
          <a:stretch>
            <a:fillRect/>
          </a:stretch>
        </p:blipFill>
        <p:spPr bwMode="auto">
          <a:xfrm>
            <a:off x="684530" y="1613535"/>
            <a:ext cx="4621530" cy="231076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3" name="Picture 2"/>
          <p:cNvPicPr>
            <a:picLocks noChangeAspect="1" noChangeArrowheads="1"/>
          </p:cNvPicPr>
          <p:nvPr/>
        </p:nvPicPr>
        <p:blipFill>
          <a:blip r:embed="rId3"/>
          <a:stretch>
            <a:fillRect/>
          </a:stretch>
        </p:blipFill>
        <p:spPr bwMode="auto">
          <a:xfrm>
            <a:off x="5628005" y="1613535"/>
            <a:ext cx="5682615" cy="3714115"/>
          </a:xfrm>
          <a:prstGeom prst="rect">
            <a:avLst/>
          </a:prstGeom>
          <a:noFill/>
          <a:ln w="88900" cap="sq" cmpd="thickThin">
            <a:solidFill>
              <a:srgbClr val="000000"/>
            </a:solidFill>
            <a:prstDash val="solid"/>
            <a:miter lim="800000"/>
            <a:headEnd/>
            <a:tailEnd/>
          </a:ln>
          <a:effectLst>
            <a:innerShdw blurRad="76200">
              <a:srgbClr val="000000"/>
            </a:innerShdw>
          </a:effectLst>
        </p:spPr>
      </p:pic>
    </p:spTree>
  </p:cSld>
  <p:clrMapOvr>
    <a:masterClrMapping/>
  </p:clrMapOvr>
  <p:transition>
    <p:zoom dir="in"/>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287" y="1780540"/>
            <a:ext cx="11305256" cy="4615815"/>
          </a:xfrm>
          <a:prstGeom prst="rect">
            <a:avLst/>
          </a:prstGeom>
          <a:solidFill>
            <a:schemeClr val="bg1"/>
          </a:solidFill>
        </p:spPr>
        <p:txBody>
          <a:bodyPr wrap="square" rtlCol="0">
            <a:spAutoFit/>
          </a:bodyPr>
          <a:lstStyle/>
          <a:p>
            <a:pPr>
              <a:lnSpc>
                <a:spcPct val="150000"/>
              </a:lnSpc>
            </a:pPr>
            <a:r>
              <a:rPr lang="en-US" altLang="zh-CN" sz="1600" b="1" dirty="0" smtClean="0">
                <a:solidFill>
                  <a:srgbClr val="000000"/>
                </a:solidFill>
                <a:cs typeface="+mn-ea"/>
              </a:rPr>
              <a:t>       </a:t>
            </a:r>
            <a:r>
              <a:rPr lang="en-US" altLang="zh-CN" sz="2000" b="1" dirty="0" smtClean="0">
                <a:solidFill>
                  <a:srgbClr val="000000"/>
                </a:solidFill>
                <a:cs typeface="+mn-ea"/>
              </a:rPr>
              <a:t>★</a:t>
            </a:r>
            <a:r>
              <a:rPr lang="zh-CN" altLang="en-US" sz="1600" dirty="0" smtClean="0">
                <a:solidFill>
                  <a:srgbClr val="000000"/>
                </a:solidFill>
                <a:cs typeface="+mn-ea"/>
              </a:rPr>
              <a:t>精装施工过程中，组织巡检小组使用空鼓锤对涂饰、壁纸墙面以及墙、地砖工作面进行空鼓检查，目测方法进行涂饰、壁纸基层及表观查看有无开裂质量问题，检查砖类工作面铺贴缝隙是否符合设计要求或规范要求。</a:t>
            </a:r>
            <a:endParaRPr lang="zh-CN" altLang="en-US" sz="1600" b="1" dirty="0" smtClean="0">
              <a:solidFill>
                <a:srgbClr val="000000"/>
              </a:solidFill>
              <a:cs typeface="+mn-ea"/>
            </a:endParaRPr>
          </a:p>
          <a:p>
            <a:pPr>
              <a:lnSpc>
                <a:spcPct val="150000"/>
              </a:lnSpc>
            </a:pPr>
            <a:r>
              <a:rPr lang="zh-CN" altLang="en-US" sz="1600" b="1" dirty="0" smtClean="0">
                <a:solidFill>
                  <a:srgbClr val="000000"/>
                </a:solidFill>
                <a:cs typeface="+mn-ea"/>
              </a:rPr>
              <a:t>       针对现场精装单位懈怠整改以及屡次整改不合格的墙地砖，巡检小组将采取强制敲砸手段进行质量管控。</a:t>
            </a: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endParaRPr lang="en-US" altLang="zh-CN" sz="1600" b="1" dirty="0" smtClean="0">
              <a:solidFill>
                <a:srgbClr val="000000"/>
              </a:solidFill>
              <a:cs typeface="+mn-ea"/>
            </a:endParaRPr>
          </a:p>
          <a:p>
            <a:pPr>
              <a:lnSpc>
                <a:spcPct val="150000"/>
              </a:lnSpc>
            </a:pPr>
            <a:r>
              <a:rPr lang="zh-CN" altLang="en-US" sz="1600" b="1" dirty="0" smtClean="0">
                <a:solidFill>
                  <a:srgbClr val="000000"/>
                </a:solidFill>
                <a:cs typeface="+mn-ea"/>
              </a:rPr>
              <a:t>工作目的</a:t>
            </a:r>
            <a:r>
              <a:rPr lang="zh-CN" altLang="en-US" sz="1600" b="1" dirty="0">
                <a:solidFill>
                  <a:srgbClr val="000000"/>
                </a:solidFill>
                <a:cs typeface="+mn-ea"/>
              </a:rPr>
              <a:t>：控制基层品质，降低交付风险。</a:t>
            </a:r>
            <a:endParaRPr lang="en-US" altLang="zh-CN" sz="1600" b="1" dirty="0">
              <a:solidFill>
                <a:srgbClr val="000000"/>
              </a:solidFill>
              <a:cs typeface="+mn-ea"/>
            </a:endParaRPr>
          </a:p>
        </p:txBody>
      </p:sp>
      <p:pic>
        <p:nvPicPr>
          <p:cNvPr id="3" name="图片 2"/>
          <p:cNvPicPr>
            <a:picLocks noChangeAspect="1"/>
          </p:cNvPicPr>
          <p:nvPr/>
        </p:nvPicPr>
        <p:blipFill>
          <a:blip r:embed="rId2"/>
          <a:stretch>
            <a:fillRect/>
          </a:stretch>
        </p:blipFill>
        <p:spPr bwMode="auto">
          <a:xfrm>
            <a:off x="3466074" y="3330373"/>
            <a:ext cx="2316524" cy="248469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4" name="图片 3"/>
          <p:cNvPicPr>
            <a:picLocks noChangeAspect="1"/>
          </p:cNvPicPr>
          <p:nvPr/>
        </p:nvPicPr>
        <p:blipFill>
          <a:blip r:embed="rId3"/>
          <a:stretch>
            <a:fillRect/>
          </a:stretch>
        </p:blipFill>
        <p:spPr bwMode="auto">
          <a:xfrm>
            <a:off x="1638051" y="3330374"/>
            <a:ext cx="1402754" cy="2484694"/>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7" name="图片 6"/>
          <p:cNvPicPr>
            <a:picLocks noChangeAspect="1"/>
          </p:cNvPicPr>
          <p:nvPr/>
        </p:nvPicPr>
        <p:blipFill>
          <a:blip r:embed="rId4"/>
          <a:stretch>
            <a:fillRect/>
          </a:stretch>
        </p:blipFill>
        <p:spPr bwMode="auto">
          <a:xfrm>
            <a:off x="6002140" y="3330373"/>
            <a:ext cx="2314636" cy="248469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8" name="图片 7"/>
          <p:cNvPicPr>
            <a:picLocks noChangeAspect="1"/>
          </p:cNvPicPr>
          <p:nvPr/>
        </p:nvPicPr>
        <p:blipFill>
          <a:blip r:embed="rId5"/>
          <a:stretch>
            <a:fillRect/>
          </a:stretch>
        </p:blipFill>
        <p:spPr bwMode="auto">
          <a:xfrm>
            <a:off x="8542678" y="3327054"/>
            <a:ext cx="2082002" cy="2488014"/>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0"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11"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2" name="文本框 1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4</a:t>
            </a:r>
            <a:r>
              <a:rPr lang="zh-CN" altLang="en-US" sz="1800" b="1" dirty="0" smtClean="0">
                <a:solidFill>
                  <a:srgbClr val="000000"/>
                </a:solidFill>
                <a:cs typeface="+mn-ea"/>
              </a:rPr>
              <a:t>、湿作业施工（管控措施）</a:t>
            </a:r>
            <a:endParaRPr lang="zh-CN" sz="1800" b="1" dirty="0" smtClean="0">
              <a:solidFill>
                <a:srgbClr val="000000"/>
              </a:solidFill>
              <a:cs typeface="+mn-ea"/>
              <a:sym typeface="+mn-ea"/>
            </a:endParaRPr>
          </a:p>
        </p:txBody>
      </p:sp>
    </p:spTree>
  </p:cSld>
  <p:clrMapOvr>
    <a:masterClrMapping/>
  </p:clrMapOvr>
  <p:transition>
    <p:zoom dir="in"/>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2"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3" name="文本框 2"/>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4.1</a:t>
            </a:r>
            <a:r>
              <a:rPr lang="zh-CN" altLang="en-US" sz="1800" b="1" dirty="0" smtClean="0">
                <a:solidFill>
                  <a:srgbClr val="000000"/>
                </a:solidFill>
                <a:cs typeface="+mn-ea"/>
              </a:rPr>
              <a:t>、</a:t>
            </a:r>
            <a:r>
              <a:rPr lang="zh-CN" altLang="en-US" sz="1800" b="1" dirty="0" smtClean="0">
                <a:solidFill>
                  <a:srgbClr val="000000"/>
                </a:solidFill>
                <a:cs typeface="+mn-ea"/>
                <a:sym typeface="+mn-ea"/>
              </a:rPr>
              <a:t>空鼓开裂验收单</a:t>
            </a:r>
            <a:endParaRPr lang="zh-CN" sz="1800" b="1" dirty="0" smtClean="0">
              <a:solidFill>
                <a:srgbClr val="000000"/>
              </a:solidFill>
              <a:cs typeface="+mn-ea"/>
              <a:sym typeface="+mn-ea"/>
            </a:endParaRPr>
          </a:p>
        </p:txBody>
      </p:sp>
      <p:graphicFrame>
        <p:nvGraphicFramePr>
          <p:cNvPr id="5" name="表格 4"/>
          <p:cNvGraphicFramePr/>
          <p:nvPr/>
        </p:nvGraphicFramePr>
        <p:xfrm>
          <a:off x="684530" y="1799590"/>
          <a:ext cx="10782300" cy="4384675"/>
        </p:xfrm>
        <a:graphic>
          <a:graphicData uri="http://schemas.openxmlformats.org/drawingml/2006/table">
            <a:tbl>
              <a:tblPr firstRow="1" bandRow="1">
                <a:tableStyleId>{5C22544A-7EE6-4342-B048-85BDC9FD1C3A}</a:tableStyleId>
              </a:tblPr>
              <a:tblGrid>
                <a:gridCol w="863600">
                  <a:extLst>
                    <a:ext uri="{9D8B030D-6E8A-4147-A177-3AD203B41FA5}">
                      <a16:colId xmlns:a16="http://schemas.microsoft.com/office/drawing/2014/main" val="20000"/>
                    </a:ext>
                  </a:extLst>
                </a:gridCol>
                <a:gridCol w="531495">
                  <a:extLst>
                    <a:ext uri="{9D8B030D-6E8A-4147-A177-3AD203B41FA5}">
                      <a16:colId xmlns:a16="http://schemas.microsoft.com/office/drawing/2014/main" val="20001"/>
                    </a:ext>
                  </a:extLst>
                </a:gridCol>
                <a:gridCol w="538480">
                  <a:extLst>
                    <a:ext uri="{9D8B030D-6E8A-4147-A177-3AD203B41FA5}">
                      <a16:colId xmlns:a16="http://schemas.microsoft.com/office/drawing/2014/main" val="20002"/>
                    </a:ext>
                  </a:extLst>
                </a:gridCol>
                <a:gridCol w="527685">
                  <a:extLst>
                    <a:ext uri="{9D8B030D-6E8A-4147-A177-3AD203B41FA5}">
                      <a16:colId xmlns:a16="http://schemas.microsoft.com/office/drawing/2014/main" val="20003"/>
                    </a:ext>
                  </a:extLst>
                </a:gridCol>
                <a:gridCol w="557530">
                  <a:extLst>
                    <a:ext uri="{9D8B030D-6E8A-4147-A177-3AD203B41FA5}">
                      <a16:colId xmlns:a16="http://schemas.microsoft.com/office/drawing/2014/main" val="20004"/>
                    </a:ext>
                  </a:extLst>
                </a:gridCol>
                <a:gridCol w="546735">
                  <a:extLst>
                    <a:ext uri="{9D8B030D-6E8A-4147-A177-3AD203B41FA5}">
                      <a16:colId xmlns:a16="http://schemas.microsoft.com/office/drawing/2014/main" val="20005"/>
                    </a:ext>
                  </a:extLst>
                </a:gridCol>
                <a:gridCol w="575945">
                  <a:extLst>
                    <a:ext uri="{9D8B030D-6E8A-4147-A177-3AD203B41FA5}">
                      <a16:colId xmlns:a16="http://schemas.microsoft.com/office/drawing/2014/main" val="20006"/>
                    </a:ext>
                  </a:extLst>
                </a:gridCol>
                <a:gridCol w="701675">
                  <a:extLst>
                    <a:ext uri="{9D8B030D-6E8A-4147-A177-3AD203B41FA5}">
                      <a16:colId xmlns:a16="http://schemas.microsoft.com/office/drawing/2014/main" val="20007"/>
                    </a:ext>
                  </a:extLst>
                </a:gridCol>
                <a:gridCol w="667385">
                  <a:extLst>
                    <a:ext uri="{9D8B030D-6E8A-4147-A177-3AD203B41FA5}">
                      <a16:colId xmlns:a16="http://schemas.microsoft.com/office/drawing/2014/main" val="20008"/>
                    </a:ext>
                  </a:extLst>
                </a:gridCol>
                <a:gridCol w="603885">
                  <a:extLst>
                    <a:ext uri="{9D8B030D-6E8A-4147-A177-3AD203B41FA5}">
                      <a16:colId xmlns:a16="http://schemas.microsoft.com/office/drawing/2014/main" val="20009"/>
                    </a:ext>
                  </a:extLst>
                </a:gridCol>
                <a:gridCol w="1461770">
                  <a:extLst>
                    <a:ext uri="{9D8B030D-6E8A-4147-A177-3AD203B41FA5}">
                      <a16:colId xmlns:a16="http://schemas.microsoft.com/office/drawing/2014/main" val="20010"/>
                    </a:ext>
                  </a:extLst>
                </a:gridCol>
                <a:gridCol w="1374140">
                  <a:extLst>
                    <a:ext uri="{9D8B030D-6E8A-4147-A177-3AD203B41FA5}">
                      <a16:colId xmlns:a16="http://schemas.microsoft.com/office/drawing/2014/main" val="20011"/>
                    </a:ext>
                  </a:extLst>
                </a:gridCol>
                <a:gridCol w="1831975">
                  <a:extLst>
                    <a:ext uri="{9D8B030D-6E8A-4147-A177-3AD203B41FA5}">
                      <a16:colId xmlns:a16="http://schemas.microsoft.com/office/drawing/2014/main" val="20012"/>
                    </a:ext>
                  </a:extLst>
                </a:gridCol>
              </a:tblGrid>
              <a:tr h="359410">
                <a:tc gridSpan="4">
                  <a:txBody>
                    <a:bodyPr/>
                    <a:lstStyle/>
                    <a:p>
                      <a:pPr indent="0">
                        <a:buNone/>
                      </a:pPr>
                      <a:r>
                        <a:rPr lang="zh-CN" sz="1400" b="1">
                          <a:solidFill>
                            <a:srgbClr val="000000"/>
                          </a:solidFill>
                          <a:latin typeface="+mn-ea"/>
                        </a:rPr>
                        <a:t>工程名称：</a:t>
                      </a:r>
                      <a:endParaRPr lang="zh-CN" altLang="en-US" sz="14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3">
                  <a:txBody>
                    <a:bodyPr/>
                    <a:lstStyle/>
                    <a:p>
                      <a:pPr indent="0">
                        <a:buNone/>
                      </a:pPr>
                      <a:r>
                        <a:rPr lang="zh-CN" sz="1400" b="1">
                          <a:solidFill>
                            <a:srgbClr val="000000"/>
                          </a:solidFill>
                          <a:latin typeface="+mn-ea"/>
                        </a:rPr>
                        <a:t>楼栋：</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altLang="en-US" sz="1400" b="1">
                          <a:solidFill>
                            <a:srgbClr val="000000"/>
                          </a:solidFill>
                          <a:latin typeface="+mn-ea"/>
                        </a:rPr>
                        <a:t>楼层：</a:t>
                      </a:r>
                    </a:p>
                  </a:txBody>
                  <a:tcPr anchor="ctr">
                    <a:lnL w="6350"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9525"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2">
                  <a:txBody>
                    <a:bodyPr/>
                    <a:lstStyle/>
                    <a:p>
                      <a:pPr indent="0">
                        <a:buNone/>
                      </a:pPr>
                      <a:r>
                        <a:rPr lang="zh-CN" altLang="en-US" sz="1400" b="1">
                          <a:solidFill>
                            <a:srgbClr val="000000"/>
                          </a:solidFill>
                          <a:latin typeface="+mn-ea"/>
                        </a:rPr>
                        <a:t>房间：</a:t>
                      </a:r>
                    </a:p>
                  </a:txBody>
                  <a:tcPr anchor="ctr">
                    <a:lnL w="9525"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2">
                  <a:txBody>
                    <a:bodyPr/>
                    <a:lstStyle/>
                    <a:p>
                      <a:pPr indent="0">
                        <a:buNone/>
                      </a:pPr>
                      <a:r>
                        <a:rPr lang="zh-CN" sz="1400" b="1">
                          <a:solidFill>
                            <a:srgbClr val="000000"/>
                          </a:solidFill>
                          <a:latin typeface="+mn-ea"/>
                        </a:rPr>
                        <a:t>施工单位：</a:t>
                      </a:r>
                      <a:endParaRPr lang="zh-CN" altLang="en-US" sz="14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416560">
                <a:tc rowSpan="2">
                  <a:txBody>
                    <a:bodyPr/>
                    <a:lstStyle/>
                    <a:p>
                      <a:pPr indent="0" algn="ctr">
                        <a:buNone/>
                      </a:pPr>
                      <a:r>
                        <a:rPr lang="zh-CN" sz="1200" b="1">
                          <a:solidFill>
                            <a:srgbClr val="000000"/>
                          </a:solidFill>
                          <a:latin typeface="+mn-ea"/>
                        </a:rPr>
                        <a:t>验收部位</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4">
                  <a:txBody>
                    <a:bodyPr/>
                    <a:lstStyle/>
                    <a:p>
                      <a:pPr indent="0" algn="ctr">
                        <a:buNone/>
                      </a:pPr>
                      <a:r>
                        <a:rPr lang="zh-CN" sz="1200" b="1">
                          <a:solidFill>
                            <a:srgbClr val="000000"/>
                          </a:solidFill>
                          <a:latin typeface="+mn-ea"/>
                        </a:rPr>
                        <a:t>基层空鼓开裂</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3">
                  <a:txBody>
                    <a:bodyPr/>
                    <a:lstStyle/>
                    <a:p>
                      <a:pPr indent="0" algn="ctr">
                        <a:buNone/>
                      </a:pPr>
                      <a:r>
                        <a:rPr lang="zh-CN" sz="1200" b="1">
                          <a:solidFill>
                            <a:srgbClr val="000000"/>
                          </a:solidFill>
                          <a:latin typeface="+mn-ea"/>
                        </a:rPr>
                        <a:t>墙地砖空鼓</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200" b="1">
                          <a:solidFill>
                            <a:srgbClr val="000000"/>
                          </a:solidFill>
                          <a:latin typeface="+mn-ea"/>
                        </a:rPr>
                        <a:t>缝隙</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200" b="1">
                          <a:solidFill>
                            <a:srgbClr val="000000"/>
                          </a:solidFill>
                          <a:latin typeface="+mn-ea"/>
                        </a:rPr>
                        <a:t>验收结果</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200" b="1">
                          <a:solidFill>
                            <a:srgbClr val="000000"/>
                          </a:solidFill>
                          <a:latin typeface="+mn-ea"/>
                        </a:rPr>
                        <a:t>备注</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01980">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200" b="0">
                          <a:solidFill>
                            <a:srgbClr val="000000"/>
                          </a:solidFill>
                          <a:latin typeface="+mn-ea"/>
                        </a:rPr>
                        <a:t>墙面</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顶面</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地面垫层</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起沙</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墙砖</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地砖</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过门石</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墙砖</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地砖</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影像资料</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mn-ea"/>
                        </a:rPr>
                        <a:t>限期整改时间</a:t>
                      </a:r>
                      <a:endParaRPr lang="zh-CN"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11">
                  <a:txBody>
                    <a:bodyPr/>
                    <a:lstStyle/>
                    <a:p>
                      <a:pPr indent="0">
                        <a:buNone/>
                      </a:pPr>
                      <a:r>
                        <a:rPr lang="en-US" sz="1200" b="0">
                          <a:solidFill>
                            <a:srgbClr val="000000"/>
                          </a:solidFill>
                          <a:latin typeface="+mn-ea"/>
                        </a:rPr>
                        <a:t>精装施工过程中，组织巡检小组使用空鼓锤对墙面</a:t>
                      </a:r>
                      <a:r>
                        <a:rPr lang="zh-CN" altLang="en-US" sz="1200" b="0">
                          <a:solidFill>
                            <a:srgbClr val="000000"/>
                          </a:solidFill>
                          <a:latin typeface="+mn-ea"/>
                        </a:rPr>
                        <a:t>、顶部基层</a:t>
                      </a:r>
                      <a:r>
                        <a:rPr lang="en-US" sz="1200" b="0">
                          <a:solidFill>
                            <a:srgbClr val="000000"/>
                          </a:solidFill>
                          <a:latin typeface="+mn-ea"/>
                        </a:rPr>
                        <a:t>以及墙、地砖工作面进行空鼓检查，检查砖类工作面铺贴缝隙是否符合设计要求或规范要求。</a:t>
                      </a:r>
                    </a:p>
                    <a:p>
                      <a:pPr indent="0">
                        <a:buNone/>
                      </a:pPr>
                      <a:endParaRPr lang="en-US" sz="1200" b="0">
                        <a:solidFill>
                          <a:srgbClr val="000000"/>
                        </a:solidFill>
                        <a:latin typeface="+mn-ea"/>
                      </a:endParaRPr>
                    </a:p>
                    <a:p>
                      <a:pPr indent="0">
                        <a:buNone/>
                      </a:pPr>
                      <a:endParaRPr lang="en-US" sz="1200" b="0">
                        <a:solidFill>
                          <a:srgbClr val="000000"/>
                        </a:solidFill>
                        <a:latin typeface="+mn-ea"/>
                      </a:endParaRPr>
                    </a:p>
                    <a:p>
                      <a:pPr indent="0">
                        <a:buNone/>
                      </a:pPr>
                      <a:endParaRPr lang="en-US" altLang="en-US" sz="1200" b="0">
                        <a:solidFill>
                          <a:srgbClr val="000000"/>
                        </a:solidFill>
                        <a:latin typeface="+mn-ea"/>
                      </a:endParaRPr>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4000">
                <a:tc>
                  <a:txBody>
                    <a:bodyPr/>
                    <a:lstStyle/>
                    <a:p>
                      <a:pPr indent="0" algn="ctr">
                        <a:buNone/>
                      </a:pPr>
                      <a:r>
                        <a:rPr lang="zh-CN" sz="1200" b="0">
                          <a:solidFill>
                            <a:srgbClr val="000000"/>
                          </a:solidFill>
                          <a:latin typeface="+mn-ea"/>
                        </a:rPr>
                        <a:t>客厅</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3"/>
                  </a:ext>
                </a:extLst>
              </a:tr>
              <a:tr h="254000">
                <a:tc>
                  <a:txBody>
                    <a:bodyPr/>
                    <a:lstStyle/>
                    <a:p>
                      <a:pPr indent="0" algn="ctr">
                        <a:buNone/>
                      </a:pPr>
                      <a:r>
                        <a:rPr lang="zh-CN" sz="1200" b="0">
                          <a:solidFill>
                            <a:srgbClr val="000000"/>
                          </a:solidFill>
                          <a:latin typeface="+mn-ea"/>
                        </a:rPr>
                        <a:t>主卧室</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4"/>
                  </a:ext>
                </a:extLst>
              </a:tr>
              <a:tr h="254000">
                <a:tc>
                  <a:txBody>
                    <a:bodyPr/>
                    <a:lstStyle/>
                    <a:p>
                      <a:pPr indent="0" algn="ctr">
                        <a:buNone/>
                      </a:pPr>
                      <a:r>
                        <a:rPr lang="zh-CN" sz="1200" b="0">
                          <a:solidFill>
                            <a:srgbClr val="000000"/>
                          </a:solidFill>
                          <a:latin typeface="+mn-ea"/>
                        </a:rPr>
                        <a:t>次卧室</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5"/>
                  </a:ext>
                </a:extLst>
              </a:tr>
              <a:tr h="254635">
                <a:tc>
                  <a:txBody>
                    <a:bodyPr/>
                    <a:lstStyle/>
                    <a:p>
                      <a:pPr indent="0" algn="ctr">
                        <a:buNone/>
                      </a:pPr>
                      <a:r>
                        <a:rPr lang="zh-CN" sz="1200" b="0">
                          <a:solidFill>
                            <a:srgbClr val="000000"/>
                          </a:solidFill>
                          <a:latin typeface="+mn-ea"/>
                        </a:rPr>
                        <a:t>次卧室</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6"/>
                  </a:ext>
                </a:extLst>
              </a:tr>
              <a:tr h="254000">
                <a:tc>
                  <a:txBody>
                    <a:bodyPr/>
                    <a:lstStyle/>
                    <a:p>
                      <a:pPr indent="0" algn="ctr">
                        <a:buNone/>
                      </a:pPr>
                      <a:r>
                        <a:rPr lang="zh-CN" sz="1200" b="0">
                          <a:solidFill>
                            <a:srgbClr val="000000"/>
                          </a:solidFill>
                          <a:latin typeface="+mn-ea"/>
                        </a:rPr>
                        <a:t>厨房</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7"/>
                  </a:ext>
                </a:extLst>
              </a:tr>
              <a:tr h="323850">
                <a:tc>
                  <a:txBody>
                    <a:bodyPr/>
                    <a:lstStyle/>
                    <a:p>
                      <a:pPr indent="0" algn="ctr">
                        <a:buNone/>
                      </a:pPr>
                      <a:r>
                        <a:rPr lang="zh-CN" sz="1200" b="0">
                          <a:solidFill>
                            <a:srgbClr val="000000"/>
                          </a:solidFill>
                          <a:latin typeface="+mn-ea"/>
                          <a:cs typeface="+mn-ea"/>
                        </a:rPr>
                        <a:t>卫生间1</a:t>
                      </a:r>
                      <a:endParaRPr lang="zh-CN" altLang="en-US" sz="1200" b="0">
                        <a:solidFill>
                          <a:srgbClr val="000000"/>
                        </a:solidFill>
                        <a:latin typeface="+mn-ea"/>
                        <a:cs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8"/>
                  </a:ext>
                </a:extLst>
              </a:tr>
              <a:tr h="304800">
                <a:tc>
                  <a:txBody>
                    <a:bodyPr/>
                    <a:lstStyle/>
                    <a:p>
                      <a:pPr indent="0" algn="ctr">
                        <a:buNone/>
                      </a:pPr>
                      <a:r>
                        <a:rPr lang="zh-CN" sz="1200" b="0">
                          <a:solidFill>
                            <a:srgbClr val="000000"/>
                          </a:solidFill>
                          <a:latin typeface="+mn-ea"/>
                          <a:cs typeface="+mn-ea"/>
                        </a:rPr>
                        <a:t>卫生间2</a:t>
                      </a:r>
                      <a:endParaRPr lang="zh-CN" altLang="en-US" sz="1200" b="0">
                        <a:solidFill>
                          <a:srgbClr val="000000"/>
                        </a:solidFill>
                        <a:latin typeface="+mn-ea"/>
                        <a:cs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09"/>
                  </a:ext>
                </a:extLst>
              </a:tr>
              <a:tr h="254000">
                <a:tc>
                  <a:txBody>
                    <a:bodyPr/>
                    <a:lstStyle/>
                    <a:p>
                      <a:pPr indent="0" algn="ctr">
                        <a:buNone/>
                      </a:pPr>
                      <a:r>
                        <a:rPr lang="zh-CN" sz="1200" b="0">
                          <a:solidFill>
                            <a:srgbClr val="000000"/>
                          </a:solidFill>
                          <a:latin typeface="+mn-ea"/>
                        </a:rPr>
                        <a:t>书房</a:t>
                      </a:r>
                      <a:endParaRPr lang="zh-CN" altLang="en-US" sz="1200" b="0">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524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0"/>
                  </a:ext>
                </a:extLst>
              </a:tr>
              <a:tr h="254000">
                <a:tc rowSpan="2">
                  <a:txBody>
                    <a:bodyPr/>
                    <a:lstStyle/>
                    <a:p>
                      <a:pPr indent="0" algn="ctr">
                        <a:buNone/>
                      </a:pPr>
                      <a:r>
                        <a:rPr lang="zh-CN" sz="1200" b="1">
                          <a:solidFill>
                            <a:srgbClr val="000000"/>
                          </a:solidFill>
                          <a:latin typeface="+mn-ea"/>
                        </a:rPr>
                        <a:t>验收</a:t>
                      </a:r>
                    </a:p>
                    <a:p>
                      <a:pPr indent="0" algn="ctr">
                        <a:buNone/>
                      </a:pPr>
                      <a:r>
                        <a:rPr lang="zh-CN" sz="1200" b="1">
                          <a:solidFill>
                            <a:srgbClr val="000000"/>
                          </a:solidFill>
                          <a:latin typeface="+mn-ea"/>
                        </a:rPr>
                        <a:t>会签</a:t>
                      </a:r>
                      <a:endParaRPr lang="zh-CN" altLang="en-US" sz="1200" b="1">
                        <a:solidFill>
                          <a:srgbClr val="000000"/>
                        </a:solidFill>
                        <a:latin typeface="+mn-ea"/>
                      </a:endParaRPr>
                    </a:p>
                  </a:txBody>
                  <a:tcPr anchor="ct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gridSpan="7">
                  <a:txBody>
                    <a:bodyPr/>
                    <a:lstStyle/>
                    <a:p>
                      <a:pPr indent="0" algn="ctr">
                        <a:buNone/>
                      </a:pPr>
                      <a:r>
                        <a:rPr lang="zh-CN" sz="1200" b="1">
                          <a:solidFill>
                            <a:srgbClr val="000000"/>
                          </a:solidFill>
                          <a:latin typeface="+mn-ea"/>
                        </a:rPr>
                        <a:t>精装单位</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4">
                  <a:txBody>
                    <a:bodyPr/>
                    <a:lstStyle/>
                    <a:p>
                      <a:pPr indent="0" algn="ctr">
                        <a:buNone/>
                      </a:pPr>
                      <a:r>
                        <a:rPr lang="zh-CN" sz="1200" b="1">
                          <a:solidFill>
                            <a:srgbClr val="000000"/>
                          </a:solidFill>
                          <a:latin typeface="+mn-ea"/>
                        </a:rPr>
                        <a:t>甲方项目专业负责人</a:t>
                      </a:r>
                      <a:endParaRPr lang="zh-CN" altLang="en-US" sz="1200" b="1">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1524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tcPr>
                </a:tc>
                <a:extLst>
                  <a:ext uri="{0D108BD9-81ED-4DB2-BD59-A6C34878D82A}">
                    <a16:rowId xmlns:a16="http://schemas.microsoft.com/office/drawing/2014/main" val="10011"/>
                  </a:ext>
                </a:extLst>
              </a:tr>
              <a:tr h="457835">
                <a:tc vMerge="1">
                  <a:txBody>
                    <a:bodyPr/>
                    <a:lstStyle/>
                    <a:p>
                      <a:endParaRPr lang="zh-CN"/>
                    </a:p>
                  </a:txBody>
                  <a:tcPr>
                    <a:lnL w="1524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tc gridSpan="7">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gridSpan="4">
                  <a:txBody>
                    <a:bodyPr/>
                    <a:lstStyle/>
                    <a:p>
                      <a:pPr indent="0" algn="ctr">
                        <a:buNone/>
                      </a:pPr>
                      <a:endParaRPr lang="en-US" altLang="en-US" sz="1200" b="0">
                        <a:solidFill>
                          <a:srgbClr val="000000"/>
                        </a:solidFill>
                        <a:latin typeface="+mn-ea"/>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1524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15240" cap="flat" cmpd="sng">
                      <a:solidFill>
                        <a:srgbClr val="000000"/>
                      </a:solidFill>
                      <a:prstDash val="solid"/>
                      <a:headEnd type="none" w="med" len="med"/>
                      <a:tailEnd type="none" w="med" len="med"/>
                    </a:lnR>
                    <a:lnB w="15240" cap="flat" cmpd="sng">
                      <a:solidFill>
                        <a:srgbClr val="000000"/>
                      </a:solidFill>
                      <a:prstDash val="solid"/>
                      <a:headEnd type="none" w="med" len="med"/>
                      <a:tailEnd type="none" w="med" len="med"/>
                    </a:lnB>
                  </a:tcPr>
                </a:tc>
                <a:extLst>
                  <a:ext uri="{0D108BD9-81ED-4DB2-BD59-A6C34878D82A}">
                    <a16:rowId xmlns:a16="http://schemas.microsoft.com/office/drawing/2014/main" val="10012"/>
                  </a:ext>
                </a:extLst>
              </a:tr>
            </a:tbl>
          </a:graphicData>
        </a:graphic>
      </p:graphicFrame>
    </p:spTree>
  </p:cSld>
  <p:clrMapOvr>
    <a:masterClrMapping/>
  </p:clrMapOvr>
  <p:transition>
    <p:zoom dir="in"/>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a:t>
            </a:r>
            <a:r>
              <a:rPr lang="zh-CN" altLang="en-US" sz="1800" b="1" dirty="0" smtClean="0">
                <a:solidFill>
                  <a:srgbClr val="000000"/>
                </a:solidFill>
                <a:cs typeface="+mn-ea"/>
              </a:rPr>
              <a:t>、涂饰质量</a:t>
            </a:r>
            <a:endParaRPr lang="zh-CN" sz="1800" b="1" dirty="0" smtClean="0">
              <a:solidFill>
                <a:srgbClr val="000000"/>
              </a:solidFill>
              <a:cs typeface="+mn-ea"/>
              <a:sym typeface="+mn-ea"/>
            </a:endParaRPr>
          </a:p>
        </p:txBody>
      </p:sp>
      <p:sp>
        <p:nvSpPr>
          <p:cNvPr id="6" name="文本框 5"/>
          <p:cNvSpPr txBox="1"/>
          <p:nvPr/>
        </p:nvSpPr>
        <p:spPr>
          <a:xfrm>
            <a:off x="684530" y="2287270"/>
            <a:ext cx="8023860" cy="3646170"/>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chemeClr val="tx1"/>
                </a:solidFill>
                <a:latin typeface="+mn-ea"/>
                <a:cs typeface="+mn-ea"/>
              </a:rPr>
              <a:t>工作内容：</a:t>
            </a:r>
          </a:p>
          <a:p>
            <a:pPr algn="just">
              <a:lnSpc>
                <a:spcPct val="150000"/>
              </a:lnSpc>
            </a:pPr>
            <a:r>
              <a:rPr lang="zh-CN" altLang="en-US" sz="1400" dirty="0">
                <a:solidFill>
                  <a:schemeClr val="tx1"/>
                </a:solidFill>
                <a:latin typeface="+mn-ea"/>
                <a:cs typeface="+mn-ea"/>
              </a:rPr>
              <a:t>      </a:t>
            </a:r>
            <a:r>
              <a:rPr lang="en-US" altLang="zh-CN" sz="1400" dirty="0">
                <a:solidFill>
                  <a:schemeClr val="tx1"/>
                </a:solidFill>
                <a:latin typeface="+mn-ea"/>
                <a:cs typeface="+mn-ea"/>
              </a:rPr>
              <a:t>1</a:t>
            </a:r>
            <a:r>
              <a:rPr lang="zh-CN" altLang="en-US" sz="1400" dirty="0">
                <a:solidFill>
                  <a:schemeClr val="tx1"/>
                </a:solidFill>
                <a:latin typeface="+mn-ea"/>
                <a:cs typeface="+mn-ea"/>
              </a:rPr>
              <a:t>、</a:t>
            </a:r>
            <a:r>
              <a:rPr lang="zh-CN" sz="1400" dirty="0">
                <a:solidFill>
                  <a:schemeClr val="tx1"/>
                </a:solidFill>
                <a:latin typeface="+mn-ea"/>
                <a:cs typeface="+mn-ea"/>
                <a:sym typeface="+mn-ea"/>
              </a:rPr>
              <a:t>乳胶漆作业</a:t>
            </a:r>
            <a:r>
              <a:rPr lang="zh-CN" altLang="zh-CN" sz="1400" dirty="0">
                <a:solidFill>
                  <a:schemeClr val="tx1"/>
                </a:solidFill>
                <a:latin typeface="+mn-ea"/>
                <a:cs typeface="+mn-ea"/>
                <a:sym typeface="+mn-ea"/>
              </a:rPr>
              <a:t> </a:t>
            </a:r>
            <a:endParaRPr lang="zh-CN" altLang="zh-CN" sz="1400" dirty="0">
              <a:solidFill>
                <a:schemeClr val="tx1"/>
              </a:solidFill>
              <a:latin typeface="+mn-ea"/>
              <a:cs typeface="+mn-ea"/>
            </a:endParaRPr>
          </a:p>
          <a:p>
            <a:pPr algn="just">
              <a:lnSpc>
                <a:spcPct val="150000"/>
              </a:lnSpc>
            </a:pPr>
            <a:r>
              <a:rPr lang="zh-CN" altLang="zh-CN" sz="1400" dirty="0">
                <a:solidFill>
                  <a:schemeClr val="tx1"/>
                </a:solidFill>
                <a:latin typeface="+mn-ea"/>
                <a:cs typeface="+mn-ea"/>
                <a:sym typeface="+mn-ea"/>
              </a:rPr>
              <a:t>      施涂时不</a:t>
            </a:r>
            <a:r>
              <a:rPr lang="zh-CN" altLang="en-US" sz="1400" dirty="0">
                <a:solidFill>
                  <a:schemeClr val="tx1"/>
                </a:solidFill>
                <a:latin typeface="+mn-ea"/>
                <a:cs typeface="+mn-ea"/>
                <a:sym typeface="+mn-ea"/>
              </a:rPr>
              <a:t>得</a:t>
            </a:r>
            <a:r>
              <a:rPr lang="zh-CN" altLang="zh-CN" sz="1400" dirty="0">
                <a:solidFill>
                  <a:schemeClr val="tx1"/>
                </a:solidFill>
                <a:latin typeface="+mn-ea"/>
                <a:cs typeface="+mn-ea"/>
                <a:sym typeface="+mn-ea"/>
              </a:rPr>
              <a:t>流坠</a:t>
            </a:r>
            <a:r>
              <a:rPr lang="zh-CN" altLang="en-US" sz="1400" dirty="0">
                <a:solidFill>
                  <a:schemeClr val="tx1"/>
                </a:solidFill>
                <a:latin typeface="+mn-ea"/>
                <a:cs typeface="+mn-ea"/>
                <a:sym typeface="+mn-ea"/>
              </a:rPr>
              <a:t>、</a:t>
            </a:r>
            <a:r>
              <a:rPr lang="zh-CN" altLang="zh-CN" sz="1400" dirty="0">
                <a:solidFill>
                  <a:schemeClr val="tx1"/>
                </a:solidFill>
                <a:latin typeface="+mn-ea"/>
                <a:cs typeface="+mn-ea"/>
                <a:sym typeface="+mn-ea"/>
              </a:rPr>
              <a:t>刷纹，涂刷或喷涂要均匀，无漏涂、露底，各层必须结合牢固。表面不能有鼓泡，脱皮，裂纹等缺陷。</a:t>
            </a:r>
          </a:p>
          <a:p>
            <a:pPr algn="just">
              <a:lnSpc>
                <a:spcPct val="150000"/>
              </a:lnSpc>
            </a:pPr>
            <a:r>
              <a:rPr lang="en-US" altLang="zh-CN" sz="1400" dirty="0">
                <a:solidFill>
                  <a:schemeClr val="tx1"/>
                </a:solidFill>
                <a:latin typeface="+mn-ea"/>
                <a:cs typeface="+mn-ea"/>
                <a:sym typeface="+mn-ea"/>
              </a:rPr>
              <a:t>      </a:t>
            </a:r>
          </a:p>
          <a:p>
            <a:pPr algn="just">
              <a:lnSpc>
                <a:spcPct val="150000"/>
              </a:lnSpc>
            </a:pPr>
            <a:r>
              <a:rPr lang="en-US" altLang="zh-CN" sz="1400" dirty="0">
                <a:solidFill>
                  <a:schemeClr val="tx1"/>
                </a:solidFill>
                <a:latin typeface="+mn-ea"/>
                <a:cs typeface="+mn-ea"/>
                <a:sym typeface="+mn-ea"/>
              </a:rPr>
              <a:t>       2</a:t>
            </a:r>
            <a:r>
              <a:rPr lang="zh-CN" altLang="en-US" sz="1400" dirty="0">
                <a:solidFill>
                  <a:schemeClr val="tx1"/>
                </a:solidFill>
                <a:latin typeface="+mn-ea"/>
                <a:cs typeface="+mn-ea"/>
                <a:sym typeface="+mn-ea"/>
              </a:rPr>
              <a:t>、壁纸裱糊</a:t>
            </a: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壁纸（布）的裱糊应粘贴牢固，表面应清洁，平整，色泽应一致，不得波纹起伏，气泡，裂纹，皱折及污斑</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翘曲。拼接处花纹图案吻合，不离缝，不搭接，不显拼缝。</a:t>
            </a:r>
          </a:p>
          <a:p>
            <a:pPr>
              <a:lnSpc>
                <a:spcPct val="150000"/>
              </a:lnSpc>
            </a:pPr>
            <a:r>
              <a:rPr lang="zh-CN" altLang="en-US" sz="1400" dirty="0" smtClean="0">
                <a:solidFill>
                  <a:srgbClr val="000000"/>
                </a:solidFill>
                <a:latin typeface="+mn-ea"/>
                <a:cs typeface="+mn-ea"/>
                <a:sym typeface="+mn-ea"/>
              </a:rPr>
              <a:t>     </a:t>
            </a:r>
            <a:r>
              <a:rPr lang="zh-CN" sz="1400" dirty="0" smtClean="0">
                <a:solidFill>
                  <a:srgbClr val="000000"/>
                </a:solidFill>
                <a:latin typeface="+mn-ea"/>
                <a:cs typeface="+mn-ea"/>
                <a:sym typeface="+mn-ea"/>
              </a:rPr>
              <a:t>   </a:t>
            </a:r>
          </a:p>
          <a:p>
            <a:pPr>
              <a:lnSpc>
                <a:spcPct val="150000"/>
              </a:lnSpc>
            </a:pPr>
            <a:r>
              <a:rPr lang="zh-CN" altLang="en-US" sz="1400" b="1" dirty="0" smtClean="0">
                <a:solidFill>
                  <a:srgbClr val="000000"/>
                </a:solidFill>
                <a:latin typeface="+mn-ea"/>
                <a:cs typeface="+mn-ea"/>
                <a:sym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sym typeface="+mn-ea"/>
              </a:rPr>
              <a:t>      提高观感质量，降低交付风险。</a:t>
            </a:r>
            <a:r>
              <a:rPr lang="en-US" altLang="zh-CN" sz="1400" dirty="0">
                <a:solidFill>
                  <a:srgbClr val="000000"/>
                </a:solidFill>
                <a:latin typeface="+mn-ea"/>
                <a:cs typeface="+mn-ea"/>
                <a:sym typeface="+mn-ea"/>
              </a:rPr>
              <a:t> </a:t>
            </a:r>
            <a:r>
              <a:rPr lang="zh-CN" altLang="zh-CN" sz="1400" dirty="0">
                <a:latin typeface="微软雅黑" panose="020B0503020204020204" pitchFamily="34" charset="-122"/>
                <a:ea typeface="微软雅黑" panose="020B0503020204020204" pitchFamily="34" charset="-122"/>
                <a:sym typeface="+mn-ea"/>
              </a:rPr>
              <a:t> </a:t>
            </a:r>
            <a:r>
              <a:rPr lang="zh-CN" altLang="en-US" sz="1400" dirty="0">
                <a:solidFill>
                  <a:schemeClr val="tx1"/>
                </a:solidFill>
                <a:latin typeface="+mn-ea"/>
                <a:cs typeface="+mn-ea"/>
              </a:rPr>
              <a:t>    </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1153795" y="1428115"/>
          <a:ext cx="9752965" cy="4792980"/>
        </p:xfrm>
        <a:graphic>
          <a:graphicData uri="http://schemas.openxmlformats.org/drawingml/2006/table">
            <a:tbl>
              <a:tblPr>
                <a:tableStyleId>{5C22544A-7EE6-4342-B048-85BDC9FD1C3A}</a:tableStyleId>
              </a:tblPr>
              <a:tblGrid>
                <a:gridCol w="778510">
                  <a:extLst>
                    <a:ext uri="{9D8B030D-6E8A-4147-A177-3AD203B41FA5}">
                      <a16:colId xmlns:a16="http://schemas.microsoft.com/office/drawing/2014/main" val="20000"/>
                    </a:ext>
                  </a:extLst>
                </a:gridCol>
                <a:gridCol w="2732405">
                  <a:extLst>
                    <a:ext uri="{9D8B030D-6E8A-4147-A177-3AD203B41FA5}">
                      <a16:colId xmlns:a16="http://schemas.microsoft.com/office/drawing/2014/main" val="20001"/>
                    </a:ext>
                  </a:extLst>
                </a:gridCol>
                <a:gridCol w="3142615">
                  <a:extLst>
                    <a:ext uri="{9D8B030D-6E8A-4147-A177-3AD203B41FA5}">
                      <a16:colId xmlns:a16="http://schemas.microsoft.com/office/drawing/2014/main" val="20002"/>
                    </a:ext>
                  </a:extLst>
                </a:gridCol>
                <a:gridCol w="2052320">
                  <a:extLst>
                    <a:ext uri="{9D8B030D-6E8A-4147-A177-3AD203B41FA5}">
                      <a16:colId xmlns:a16="http://schemas.microsoft.com/office/drawing/2014/main" val="20003"/>
                    </a:ext>
                  </a:extLst>
                </a:gridCol>
                <a:gridCol w="1047115">
                  <a:extLst>
                    <a:ext uri="{9D8B030D-6E8A-4147-A177-3AD203B41FA5}">
                      <a16:colId xmlns:a16="http://schemas.microsoft.com/office/drawing/2014/main" val="20004"/>
                    </a:ext>
                  </a:extLst>
                </a:gridCol>
              </a:tblGrid>
              <a:tr h="572135">
                <a:tc rowSpan="2">
                  <a:txBody>
                    <a:bodyPr/>
                    <a:lstStyle/>
                    <a:p>
                      <a:pPr algn="ctr">
                        <a:lnSpc>
                          <a:spcPct val="90000"/>
                        </a:lnSpc>
                        <a:spcAft>
                          <a:spcPts val="0"/>
                        </a:spcAft>
                      </a:pPr>
                      <a:r>
                        <a:rPr lang="zh-CN" sz="1400" b="1" kern="0" dirty="0">
                          <a:effectLst/>
                          <a:latin typeface="微软雅黑" panose="020B0503020204020204" pitchFamily="34" charset="-122"/>
                          <a:ea typeface="微软雅黑" panose="020B0503020204020204" pitchFamily="34" charset="-122"/>
                        </a:rPr>
                        <a:t>序号</a:t>
                      </a:r>
                      <a:endParaRPr lang="zh-CN" sz="1400" b="1" kern="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lnSpc>
                          <a:spcPct val="90000"/>
                        </a:lnSpc>
                        <a:spcAft>
                          <a:spcPts val="0"/>
                        </a:spcAft>
                      </a:pPr>
                      <a:r>
                        <a:rPr lang="zh-CN" sz="1400" b="1" kern="0" dirty="0" smtClean="0">
                          <a:effectLst/>
                          <a:latin typeface="微软雅黑" panose="020B0503020204020204" pitchFamily="34" charset="-122"/>
                          <a:ea typeface="微软雅黑" panose="020B0503020204020204" pitchFamily="34" charset="-122"/>
                        </a:rPr>
                        <a:t>要求</a:t>
                      </a:r>
                      <a:r>
                        <a:rPr lang="zh-CN" altLang="en-US" sz="1400" b="1" kern="0" dirty="0" smtClean="0">
                          <a:effectLst/>
                          <a:latin typeface="微软雅黑" panose="020B0503020204020204" pitchFamily="34" charset="-122"/>
                          <a:ea typeface="微软雅黑" panose="020B0503020204020204" pitchFamily="34" charset="-122"/>
                        </a:rPr>
                        <a:t>及允许偏差</a:t>
                      </a:r>
                      <a:endParaRPr lang="zh-CN" sz="1400" b="1" kern="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algn="ctr" defTabSz="348615" rtl="0" eaLnBrk="1" latinLnBrk="0" hangingPunct="1">
                        <a:spcAft>
                          <a:spcPts val="0"/>
                        </a:spcAft>
                      </a:pPr>
                      <a:r>
                        <a:rPr lang="zh-CN" sz="1400" b="1" kern="0" dirty="0">
                          <a:solidFill>
                            <a:schemeClr val="dk1"/>
                          </a:solidFill>
                          <a:effectLst/>
                          <a:latin typeface="微软雅黑" panose="020B0503020204020204" pitchFamily="34" charset="-122"/>
                          <a:ea typeface="微软雅黑" panose="020B0503020204020204" pitchFamily="34" charset="-122"/>
                          <a:cs typeface="+mn-cs"/>
                        </a:rPr>
                        <a:t>验收方法</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rowSpan="2">
                  <a:txBody>
                    <a:bodyPr/>
                    <a:lstStyle/>
                    <a:p>
                      <a:pPr algn="ctr">
                        <a:lnSpc>
                          <a:spcPct val="90000"/>
                        </a:lnSpc>
                        <a:spcAft>
                          <a:spcPts val="0"/>
                        </a:spcAft>
                      </a:pPr>
                      <a:r>
                        <a:rPr lang="zh-CN" altLang="en-US" sz="1400" b="1" kern="100" dirty="0" smtClean="0">
                          <a:effectLst/>
                          <a:latin typeface="微软雅黑" panose="020B0503020204020204" pitchFamily="34" charset="-122"/>
                          <a:ea typeface="微软雅黑" panose="020B0503020204020204" pitchFamily="34" charset="-122"/>
                          <a:cs typeface="Times New Roman" panose="02020603050405020304"/>
                        </a:rPr>
                        <a:t>说明</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590550">
                <a:tc vMerge="1">
                  <a:txBody>
                    <a:bodyPr/>
                    <a:lstStyle/>
                    <a:p>
                      <a:endParaRPr lang="zh-CN"/>
                    </a:p>
                  </a:txBody>
                  <a:tcPr/>
                </a:tc>
                <a:tc vMerge="1">
                  <a:txBody>
                    <a:bodyPr/>
                    <a:lstStyle/>
                    <a:p>
                      <a:endParaRPr lang="zh-CN"/>
                    </a:p>
                  </a:txBody>
                  <a:tcPr/>
                </a:tc>
                <a:tc>
                  <a:txBody>
                    <a:bodyPr/>
                    <a:lstStyle/>
                    <a:p>
                      <a:pPr algn="ctr">
                        <a:lnSpc>
                          <a:spcPct val="90000"/>
                        </a:lnSpc>
                        <a:spcAft>
                          <a:spcPts val="0"/>
                        </a:spcAft>
                      </a:pPr>
                      <a:r>
                        <a:rPr lang="zh-CN" altLang="en-US" sz="1400" b="1"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检验方法</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90000"/>
                        </a:lnSpc>
                        <a:spcAft>
                          <a:spcPts val="0"/>
                        </a:spcAft>
                      </a:pPr>
                      <a:r>
                        <a:rPr lang="zh-CN" altLang="en-US" sz="1400" b="1" kern="100" dirty="0" smtClean="0">
                          <a:effectLst/>
                          <a:latin typeface="微软雅黑" panose="020B0503020204020204" pitchFamily="34" charset="-122"/>
                          <a:ea typeface="微软雅黑" panose="020B0503020204020204" pitchFamily="34" charset="-122"/>
                          <a:cs typeface="Times New Roman" panose="02020603050405020304"/>
                        </a:rPr>
                        <a:t>检验数量</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extLst>
                  <a:ext uri="{0D108BD9-81ED-4DB2-BD59-A6C34878D82A}">
                    <a16:rowId xmlns:a16="http://schemas.microsoft.com/office/drawing/2014/main" val="10001"/>
                  </a:ext>
                </a:extLst>
              </a:tr>
              <a:tr h="1102360">
                <a:tc>
                  <a:txBody>
                    <a:bodyPr/>
                    <a:lstStyle/>
                    <a:p>
                      <a:pPr algn="ctr">
                        <a:lnSpc>
                          <a:spcPct val="90000"/>
                        </a:lnSpc>
                        <a:spcAft>
                          <a:spcPts val="0"/>
                        </a:spcAft>
                      </a:pPr>
                      <a:r>
                        <a:rPr lang="en-US" sz="1400" kern="0">
                          <a:effectLst/>
                          <a:latin typeface="微软雅黑" panose="020B0503020204020204" pitchFamily="34" charset="-122"/>
                          <a:ea typeface="微软雅黑" panose="020B0503020204020204" pitchFamily="34" charset="-122"/>
                        </a:rPr>
                        <a:t>1</a:t>
                      </a:r>
                      <a:endParaRPr lang="en-US" sz="1400" ker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90000"/>
                        </a:lnSpc>
                        <a:spcAft>
                          <a:spcPts val="0"/>
                        </a:spcAft>
                      </a:pPr>
                      <a:r>
                        <a:rPr lang="zh-CN" sz="1400" kern="0" dirty="0">
                          <a:effectLst/>
                          <a:latin typeface="微软雅黑" panose="020B0503020204020204" pitchFamily="34" charset="-122"/>
                          <a:ea typeface="微软雅黑" panose="020B0503020204020204" pitchFamily="34" charset="-122"/>
                        </a:rPr>
                        <a:t>表面无起皮，起壳，起泡，无明显透底，色差，泛碱，返色，无砂眼，流坠、粒子等。</a:t>
                      </a:r>
                      <a:endParaRPr lang="zh-CN" sz="1400" kern="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marL="342900" marR="0" indent="-342900" algn="l" defTabSz="348615" rtl="0" eaLnBrk="1" fontAlgn="auto" latinLnBrk="0" hangingPunct="1">
                        <a:lnSpc>
                          <a:spcPct val="90000"/>
                        </a:lnSpc>
                        <a:spcBef>
                          <a:spcPts val="0"/>
                        </a:spcBef>
                        <a:spcAft>
                          <a:spcPts val="0"/>
                        </a:spcAft>
                        <a:buClrTx/>
                        <a:buSzTx/>
                        <a:buFontTx/>
                        <a:buAutoNum type="arabicPeriod"/>
                        <a:defRPr/>
                      </a:pPr>
                      <a:r>
                        <a:rPr lang="zh-CN" altLang="en-US" sz="1400" kern="0" dirty="0" smtClean="0">
                          <a:solidFill>
                            <a:schemeClr val="tx1"/>
                          </a:solidFill>
                          <a:effectLst/>
                          <a:latin typeface="微软雅黑" panose="020B0503020204020204" pitchFamily="34" charset="-122"/>
                          <a:ea typeface="微软雅黑" panose="020B0503020204020204" pitchFamily="34" charset="-122"/>
                        </a:rPr>
                        <a:t>用</a:t>
                      </a:r>
                      <a:r>
                        <a:rPr lang="zh-CN" sz="1400" kern="0" dirty="0" smtClean="0">
                          <a:solidFill>
                            <a:schemeClr val="tx1"/>
                          </a:solidFill>
                          <a:effectLst/>
                          <a:latin typeface="微软雅黑" panose="020B0503020204020204" pitchFamily="34" charset="-122"/>
                          <a:ea typeface="微软雅黑" panose="020B0503020204020204" pitchFamily="34" charset="-122"/>
                        </a:rPr>
                        <a:t>目测</a:t>
                      </a:r>
                      <a:r>
                        <a:rPr lang="zh-CN" altLang="en-US" sz="1400" kern="0" dirty="0" smtClean="0">
                          <a:solidFill>
                            <a:schemeClr val="tx1"/>
                          </a:solidFill>
                          <a:effectLst/>
                          <a:latin typeface="微软雅黑" panose="020B0503020204020204" pitchFamily="34" charset="-122"/>
                          <a:ea typeface="微软雅黑" panose="020B0503020204020204" pitchFamily="34" charset="-122"/>
                        </a:rPr>
                        <a:t>观察（</a:t>
                      </a:r>
                      <a:r>
                        <a:rPr lang="zh-CN" altLang="zh-CN" sz="1400" kern="0" dirty="0" smtClean="0">
                          <a:solidFill>
                            <a:schemeClr val="tx1"/>
                          </a:solidFill>
                          <a:effectLst/>
                          <a:latin typeface="微软雅黑" panose="020B0503020204020204" pitchFamily="34" charset="-122"/>
                          <a:ea typeface="微软雅黑" panose="020B0503020204020204" pitchFamily="34" charset="-122"/>
                        </a:rPr>
                        <a:t>应在涂料实干后进行，距</a:t>
                      </a:r>
                      <a:r>
                        <a:rPr lang="en-US" altLang="zh-CN" sz="1400" kern="0" dirty="0" smtClean="0">
                          <a:solidFill>
                            <a:schemeClr val="tx1"/>
                          </a:solidFill>
                          <a:effectLst/>
                          <a:latin typeface="微软雅黑" panose="020B0503020204020204" pitchFamily="34" charset="-122"/>
                          <a:ea typeface="微软雅黑" panose="020B0503020204020204" pitchFamily="34" charset="-122"/>
                        </a:rPr>
                        <a:t>1.5m</a:t>
                      </a:r>
                      <a:r>
                        <a:rPr lang="zh-CN" altLang="zh-CN" sz="1400" kern="0" dirty="0" smtClean="0">
                          <a:solidFill>
                            <a:schemeClr val="tx1"/>
                          </a:solidFill>
                          <a:effectLst/>
                          <a:latin typeface="微软雅黑" panose="020B0503020204020204" pitchFamily="34" charset="-122"/>
                          <a:ea typeface="微软雅黑" panose="020B0503020204020204" pitchFamily="34" charset="-122"/>
                        </a:rPr>
                        <a:t>处正视</a:t>
                      </a:r>
                      <a:r>
                        <a:rPr lang="zh-CN" altLang="en-US" sz="1400" kern="0" dirty="0" smtClean="0">
                          <a:solidFill>
                            <a:schemeClr val="tx1"/>
                          </a:solidFill>
                          <a:effectLst/>
                          <a:latin typeface="微软雅黑" panose="020B0503020204020204" pitchFamily="34" charset="-122"/>
                          <a:ea typeface="微软雅黑" panose="020B0503020204020204" pitchFamily="34" charset="-122"/>
                        </a:rPr>
                        <a:t>）</a:t>
                      </a:r>
                      <a:endParaRPr lang="en-US" altLang="zh-CN" sz="1400" kern="0" dirty="0" smtClean="0">
                        <a:solidFill>
                          <a:schemeClr val="tx1"/>
                        </a:solidFill>
                        <a:effectLst/>
                        <a:latin typeface="微软雅黑" panose="020B0503020204020204" pitchFamily="34" charset="-122"/>
                        <a:ea typeface="微软雅黑" panose="020B0503020204020204" pitchFamily="34" charset="-122"/>
                      </a:endParaRPr>
                    </a:p>
                    <a:p>
                      <a:pPr marL="342900" marR="0" indent="-342900" algn="l" defTabSz="348615" rtl="0" eaLnBrk="1" fontAlgn="auto" latinLnBrk="0" hangingPunct="1">
                        <a:lnSpc>
                          <a:spcPct val="90000"/>
                        </a:lnSpc>
                        <a:spcBef>
                          <a:spcPts val="0"/>
                        </a:spcBef>
                        <a:spcAft>
                          <a:spcPts val="0"/>
                        </a:spcAft>
                        <a:buClrTx/>
                        <a:buSzTx/>
                        <a:buFontTx/>
                        <a:buAutoNum type="arabicPeriod"/>
                        <a:defRPr/>
                      </a:pPr>
                      <a:r>
                        <a:rPr lang="zh-CN" altLang="en-US" sz="1400" kern="0" dirty="0" smtClean="0">
                          <a:solidFill>
                            <a:schemeClr val="tx1"/>
                          </a:solidFill>
                          <a:effectLst/>
                          <a:latin typeface="微软雅黑" panose="020B0503020204020204" pitchFamily="34" charset="-122"/>
                          <a:ea typeface="微软雅黑" panose="020B0503020204020204" pitchFamily="34" charset="-122"/>
                        </a:rPr>
                        <a:t>用</a:t>
                      </a:r>
                      <a:r>
                        <a:rPr lang="zh-CN" sz="1400" kern="0" dirty="0" smtClean="0">
                          <a:solidFill>
                            <a:schemeClr val="tx1"/>
                          </a:solidFill>
                          <a:effectLst/>
                          <a:latin typeface="微软雅黑" panose="020B0503020204020204" pitchFamily="34" charset="-122"/>
                          <a:ea typeface="微软雅黑" panose="020B0503020204020204" pitchFamily="34" charset="-122"/>
                        </a:rPr>
                        <a:t>手</a:t>
                      </a:r>
                      <a:r>
                        <a:rPr lang="zh-CN" altLang="en-US" sz="1400" kern="0" dirty="0" smtClean="0">
                          <a:solidFill>
                            <a:schemeClr val="tx1"/>
                          </a:solidFill>
                          <a:effectLst/>
                          <a:latin typeface="微软雅黑" panose="020B0503020204020204" pitchFamily="34" charset="-122"/>
                          <a:ea typeface="微软雅黑" panose="020B0503020204020204" pitchFamily="34" charset="-122"/>
                        </a:rPr>
                        <a:t>摸基底颗粒物。</a:t>
                      </a:r>
                      <a:endParaRPr lang="en-US" altLang="zh-CN" sz="1400" kern="0" dirty="0" smtClean="0">
                        <a:solidFill>
                          <a:schemeClr val="tx1"/>
                        </a:solidFill>
                        <a:effectLst/>
                        <a:latin typeface="微软雅黑" panose="020B0503020204020204" pitchFamily="34" charset="-122"/>
                        <a:ea typeface="微软雅黑" panose="020B0503020204020204" pitchFamily="34" charset="-122"/>
                      </a:endParaRPr>
                    </a:p>
                    <a:p>
                      <a:pPr marL="342900" marR="0" indent="-342900" algn="l" defTabSz="348615" rtl="0" eaLnBrk="1" fontAlgn="auto" latinLnBrk="0" hangingPunct="1">
                        <a:lnSpc>
                          <a:spcPct val="90000"/>
                        </a:lnSpc>
                        <a:spcBef>
                          <a:spcPts val="0"/>
                        </a:spcBef>
                        <a:spcAft>
                          <a:spcPts val="0"/>
                        </a:spcAft>
                        <a:buClrTx/>
                        <a:buSzTx/>
                        <a:buFontTx/>
                        <a:buAutoNum type="arabicPeriod"/>
                        <a:defRPr/>
                      </a:pPr>
                      <a:r>
                        <a:rPr lang="zh-CN" altLang="en-US" sz="1400" kern="0" dirty="0" smtClean="0">
                          <a:solidFill>
                            <a:schemeClr val="tx1"/>
                          </a:solidFill>
                          <a:effectLst/>
                          <a:latin typeface="微软雅黑" panose="020B0503020204020204" pitchFamily="34" charset="-122"/>
                          <a:ea typeface="微软雅黑" panose="020B0503020204020204" pitchFamily="34" charset="-122"/>
                        </a:rPr>
                        <a:t>用</a:t>
                      </a:r>
                      <a:r>
                        <a:rPr lang="zh-CN" sz="1400" kern="0" dirty="0" smtClean="0">
                          <a:solidFill>
                            <a:schemeClr val="tx1"/>
                          </a:solidFill>
                          <a:effectLst/>
                          <a:latin typeface="微软雅黑" panose="020B0503020204020204" pitchFamily="34" charset="-122"/>
                          <a:ea typeface="微软雅黑" panose="020B0503020204020204" pitchFamily="34" charset="-122"/>
                        </a:rPr>
                        <a:t>精度</a:t>
                      </a:r>
                      <a:r>
                        <a:rPr lang="en-US" sz="1400" kern="0" dirty="0">
                          <a:solidFill>
                            <a:schemeClr val="tx1"/>
                          </a:solidFill>
                          <a:effectLst/>
                          <a:latin typeface="微软雅黑" panose="020B0503020204020204" pitchFamily="34" charset="-122"/>
                          <a:ea typeface="微软雅黑" panose="020B0503020204020204" pitchFamily="34" charset="-122"/>
                        </a:rPr>
                        <a:t>1mm</a:t>
                      </a:r>
                      <a:r>
                        <a:rPr lang="zh-CN" sz="1400" kern="0" dirty="0">
                          <a:solidFill>
                            <a:schemeClr val="tx1"/>
                          </a:solidFill>
                          <a:effectLst/>
                          <a:latin typeface="微软雅黑" panose="020B0503020204020204" pitchFamily="34" charset="-122"/>
                          <a:ea typeface="微软雅黑" panose="020B0503020204020204" pitchFamily="34" charset="-122"/>
                        </a:rPr>
                        <a:t>的钢</a:t>
                      </a:r>
                      <a:r>
                        <a:rPr lang="zh-CN" sz="1400" kern="0" dirty="0" smtClean="0">
                          <a:solidFill>
                            <a:schemeClr val="tx1"/>
                          </a:solidFill>
                          <a:effectLst/>
                          <a:latin typeface="微软雅黑" panose="020B0503020204020204" pitchFamily="34" charset="-122"/>
                          <a:ea typeface="微软雅黑" panose="020B0503020204020204" pitchFamily="34" charset="-122"/>
                        </a:rPr>
                        <a:t>直尺</a:t>
                      </a:r>
                      <a:r>
                        <a:rPr lang="zh-CN" altLang="en-US" sz="1400" kern="0" dirty="0" smtClean="0">
                          <a:solidFill>
                            <a:schemeClr val="tx1"/>
                          </a:solidFill>
                          <a:effectLst/>
                          <a:latin typeface="微软雅黑" panose="020B0503020204020204" pitchFamily="34" charset="-122"/>
                          <a:ea typeface="微软雅黑" panose="020B0503020204020204" pitchFamily="34" charset="-122"/>
                        </a:rPr>
                        <a:t>测量允许偏差值（</a:t>
                      </a:r>
                      <a:r>
                        <a:rPr lang="zh-CN" altLang="zh-CN" sz="1400" kern="0" dirty="0" smtClean="0">
                          <a:solidFill>
                            <a:schemeClr val="tx1"/>
                          </a:solidFill>
                          <a:effectLst/>
                          <a:latin typeface="微软雅黑" panose="020B0503020204020204" pitchFamily="34" charset="-122"/>
                          <a:ea typeface="微软雅黑" panose="020B0503020204020204" pitchFamily="34" charset="-122"/>
                        </a:rPr>
                        <a:t>分色线采用</a:t>
                      </a:r>
                      <a:r>
                        <a:rPr lang="en-US" altLang="zh-CN" sz="1400" kern="0" dirty="0" smtClean="0">
                          <a:solidFill>
                            <a:schemeClr val="tx1"/>
                          </a:solidFill>
                          <a:effectLst/>
                          <a:latin typeface="微软雅黑" panose="020B0503020204020204" pitchFamily="34" charset="-122"/>
                          <a:ea typeface="微软雅黑" panose="020B0503020204020204" pitchFamily="34" charset="-122"/>
                        </a:rPr>
                        <a:t>5m</a:t>
                      </a:r>
                      <a:r>
                        <a:rPr lang="zh-CN" altLang="en-US" sz="1400" kern="0" dirty="0" smtClean="0">
                          <a:solidFill>
                            <a:schemeClr val="tx1"/>
                          </a:solidFill>
                          <a:effectLst/>
                          <a:latin typeface="微软雅黑" panose="020B0503020204020204" pitchFamily="34" charset="-122"/>
                          <a:ea typeface="微软雅黑" panose="020B0503020204020204" pitchFamily="34" charset="-122"/>
                        </a:rPr>
                        <a:t>细线，不足</a:t>
                      </a:r>
                      <a:r>
                        <a:rPr lang="en-US" altLang="zh-CN" sz="1400" kern="0" dirty="0" smtClean="0">
                          <a:solidFill>
                            <a:schemeClr val="tx1"/>
                          </a:solidFill>
                          <a:effectLst/>
                          <a:latin typeface="微软雅黑" panose="020B0503020204020204" pitchFamily="34" charset="-122"/>
                          <a:ea typeface="微软雅黑" panose="020B0503020204020204" pitchFamily="34" charset="-122"/>
                        </a:rPr>
                        <a:t>5m</a:t>
                      </a:r>
                      <a:r>
                        <a:rPr lang="zh-CN" altLang="en-US" sz="1400" kern="0" dirty="0" smtClean="0">
                          <a:solidFill>
                            <a:schemeClr val="tx1"/>
                          </a:solidFill>
                          <a:effectLst/>
                          <a:latin typeface="微软雅黑" panose="020B0503020204020204" pitchFamily="34" charset="-122"/>
                          <a:ea typeface="微软雅黑" panose="020B0503020204020204" pitchFamily="34" charset="-122"/>
                        </a:rPr>
                        <a:t>拉通线）</a:t>
                      </a:r>
                      <a:endParaRPr lang="zh-CN" sz="1400" kern="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marL="0" marR="0" indent="0" algn="l" defTabSz="348615" rtl="0" eaLnBrk="1" fontAlgn="auto" latinLnBrk="0" hangingPunct="1">
                        <a:lnSpc>
                          <a:spcPct val="90000"/>
                        </a:lnSpc>
                        <a:spcBef>
                          <a:spcPts val="0"/>
                        </a:spcBef>
                        <a:spcAft>
                          <a:spcPts val="0"/>
                        </a:spcAft>
                        <a:buClrTx/>
                        <a:buSzTx/>
                        <a:buFontTx/>
                        <a:buNone/>
                        <a:defRPr/>
                      </a:pPr>
                      <a:r>
                        <a:rPr lang="zh-CN" altLang="en-US" sz="1400" kern="0" dirty="0" smtClean="0">
                          <a:effectLst/>
                          <a:latin typeface="微软雅黑" panose="020B0503020204020204" pitchFamily="34" charset="-122"/>
                          <a:ea typeface="微软雅黑" panose="020B0503020204020204" pitchFamily="34" charset="-122"/>
                        </a:rPr>
                        <a:t>每层一个检验批，每个检验批抽检不得少于三间，（抽中房间应全检）</a:t>
                      </a:r>
                    </a:p>
                    <a:p>
                      <a:pPr marL="0" marR="0" indent="0" algn="l" defTabSz="348615" rtl="0" eaLnBrk="1" fontAlgn="auto" latinLnBrk="0" hangingPunct="1">
                        <a:lnSpc>
                          <a:spcPct val="100000"/>
                        </a:lnSpc>
                        <a:spcBef>
                          <a:spcPts val="0"/>
                        </a:spcBef>
                        <a:spcAft>
                          <a:spcPts val="0"/>
                        </a:spcAft>
                        <a:buClrTx/>
                        <a:buSzTx/>
                        <a:buFontTx/>
                        <a:buNone/>
                        <a:defRPr/>
                      </a:pPr>
                      <a:endParaRPr lang="zh-CN" altLang="en-US" sz="1400" kern="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90000"/>
                        </a:lnSpc>
                        <a:spcAft>
                          <a:spcPts val="0"/>
                        </a:spcAft>
                      </a:pPr>
                      <a:r>
                        <a:rPr lang="zh-CN" altLang="en-US" sz="1400"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现场观察</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859155">
                <a:tc rowSpan="2">
                  <a:txBody>
                    <a:bodyPr/>
                    <a:lstStyle/>
                    <a:p>
                      <a:pPr algn="ctr">
                        <a:lnSpc>
                          <a:spcPct val="90000"/>
                        </a:lnSpc>
                        <a:spcAft>
                          <a:spcPts val="0"/>
                        </a:spcAft>
                      </a:pPr>
                      <a:r>
                        <a:rPr lang="en-US" sz="1400" kern="0" dirty="0">
                          <a:effectLst/>
                          <a:latin typeface="微软雅黑" panose="020B0503020204020204" pitchFamily="34" charset="-122"/>
                          <a:ea typeface="微软雅黑" panose="020B0503020204020204" pitchFamily="34" charset="-122"/>
                        </a:rPr>
                        <a:t>2</a:t>
                      </a:r>
                      <a:endParaRPr lang="en-US" sz="1400" kern="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a:lnSpc>
                          <a:spcPct val="90000"/>
                        </a:lnSpc>
                        <a:spcAft>
                          <a:spcPts val="0"/>
                        </a:spcAft>
                      </a:pPr>
                      <a:r>
                        <a:rPr lang="zh-CN" sz="1400" kern="0" dirty="0">
                          <a:effectLst/>
                          <a:latin typeface="微软雅黑" panose="020B0503020204020204" pitchFamily="34" charset="-122"/>
                          <a:ea typeface="微软雅黑" panose="020B0503020204020204" pitchFamily="34" charset="-122"/>
                        </a:rPr>
                        <a:t>涂装均匀、粘结牢固、无漏涂、掉</a:t>
                      </a:r>
                      <a:r>
                        <a:rPr lang="zh-CN" sz="1400" kern="0" dirty="0" smtClean="0">
                          <a:effectLst/>
                          <a:latin typeface="微软雅黑" panose="020B0503020204020204" pitchFamily="34" charset="-122"/>
                          <a:ea typeface="微软雅黑" panose="020B0503020204020204" pitchFamily="34" charset="-122"/>
                        </a:rPr>
                        <a:t>粉</a:t>
                      </a:r>
                      <a:r>
                        <a:rPr lang="zh-CN" altLang="en-US" sz="1400" kern="0" dirty="0" smtClean="0">
                          <a:effectLst/>
                          <a:latin typeface="微软雅黑" panose="020B0503020204020204" pitchFamily="34" charset="-122"/>
                          <a:ea typeface="微软雅黑" panose="020B0503020204020204" pitchFamily="34" charset="-122"/>
                        </a:rPr>
                        <a:t>、刷痕</a:t>
                      </a:r>
                      <a:endParaRPr lang="zh-CN" sz="1400" kern="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tc>
                  <a:txBody>
                    <a:bodyPr/>
                    <a:lstStyle/>
                    <a:p>
                      <a:pPr algn="ctr">
                        <a:lnSpc>
                          <a:spcPct val="90000"/>
                        </a:lnSpc>
                        <a:spcAft>
                          <a:spcPts val="0"/>
                        </a:spcAft>
                      </a:pPr>
                      <a:r>
                        <a:rPr lang="zh-CN" altLang="en-US" sz="1400"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现场观察</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0">
                <a:tc vMerge="1">
                  <a:txBody>
                    <a:bodyPr/>
                    <a:lstStyle/>
                    <a:p>
                      <a:endParaRPr lang="zh-CN"/>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tc rowSpan="2">
                  <a:txBody>
                    <a:bodyPr/>
                    <a:lstStyle/>
                    <a:p>
                      <a:pPr algn="ctr">
                        <a:lnSpc>
                          <a:spcPct val="90000"/>
                        </a:lnSpc>
                        <a:spcAft>
                          <a:spcPts val="0"/>
                        </a:spcAft>
                      </a:pPr>
                      <a:r>
                        <a:rPr lang="zh-CN" altLang="en-US" sz="1400" kern="0" dirty="0" smtClean="0">
                          <a:solidFill>
                            <a:schemeClr val="tx1"/>
                          </a:solidFill>
                          <a:effectLst/>
                          <a:latin typeface="微软雅黑" panose="020B0503020204020204" pitchFamily="34" charset="-122"/>
                          <a:ea typeface="微软雅黑" panose="020B0503020204020204" pitchFamily="34" charset="-122"/>
                          <a:cs typeface="+mn-cs"/>
                        </a:rPr>
                        <a:t>实测实量</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738505">
                <a:tc>
                  <a:txBody>
                    <a:bodyPr/>
                    <a:lstStyle/>
                    <a:p>
                      <a:pPr algn="ctr">
                        <a:lnSpc>
                          <a:spcPct val="90000"/>
                        </a:lnSpc>
                        <a:spcAft>
                          <a:spcPts val="0"/>
                        </a:spcAft>
                      </a:pPr>
                      <a:r>
                        <a:rPr lang="en-US" sz="1400" kern="0" dirty="0">
                          <a:effectLst/>
                          <a:latin typeface="微软雅黑" panose="020B0503020204020204" pitchFamily="34" charset="-122"/>
                          <a:ea typeface="微软雅黑" panose="020B0503020204020204" pitchFamily="34" charset="-122"/>
                        </a:rPr>
                        <a:t>3</a:t>
                      </a:r>
                      <a:endParaRPr lang="en-US" sz="1400" kern="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90000"/>
                        </a:lnSpc>
                        <a:spcBef>
                          <a:spcPts val="0"/>
                        </a:spcBef>
                        <a:spcAft>
                          <a:spcPts val="0"/>
                        </a:spcAft>
                        <a:buClrTx/>
                        <a:buSzTx/>
                        <a:buFontTx/>
                        <a:buNone/>
                        <a:defRPr/>
                      </a:pPr>
                      <a:r>
                        <a:rPr lang="zh-CN" altLang="en-US" sz="1400" kern="0" dirty="0" smtClean="0">
                          <a:effectLst/>
                          <a:latin typeface="微软雅黑" panose="020B0503020204020204" pitchFamily="34" charset="-122"/>
                          <a:ea typeface="微软雅黑" panose="020B0503020204020204" pitchFamily="34" charset="-122"/>
                          <a:cs typeface="+mn-cs"/>
                        </a:rPr>
                        <a:t>装饰线条、分色线直线度≤</a:t>
                      </a:r>
                      <a:r>
                        <a:rPr lang="en-US" altLang="zh-CN" sz="1400" kern="0" dirty="0" smtClean="0">
                          <a:effectLst/>
                          <a:latin typeface="微软雅黑" panose="020B0503020204020204" pitchFamily="34" charset="-122"/>
                          <a:ea typeface="微软雅黑" panose="020B0503020204020204" pitchFamily="34" charset="-122"/>
                        </a:rPr>
                        <a:t>1.0</a:t>
                      </a:r>
                      <a:r>
                        <a:rPr lang="en-US" altLang="zh-CN" sz="1400" kern="0" dirty="0" smtClean="0">
                          <a:effectLst/>
                          <a:latin typeface="微软雅黑" panose="020B0503020204020204" pitchFamily="34" charset="-122"/>
                          <a:ea typeface="微软雅黑" panose="020B0503020204020204" pitchFamily="34" charset="-122"/>
                          <a:cs typeface="+mn-cs"/>
                        </a:rPr>
                        <a:t>mm</a:t>
                      </a:r>
                      <a:endParaRPr lang="zh-CN" altLang="zh-CN" sz="1400" kern="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5"/>
                  </a:ext>
                </a:extLst>
              </a:tr>
              <a:tr h="904875">
                <a:tc>
                  <a:txBody>
                    <a:bodyPr/>
                    <a:lstStyle/>
                    <a:p>
                      <a:pPr algn="ctr">
                        <a:lnSpc>
                          <a:spcPct val="90000"/>
                        </a:lnSpc>
                        <a:spcAft>
                          <a:spcPts val="0"/>
                        </a:spcAft>
                        <a:buNone/>
                      </a:pPr>
                      <a:r>
                        <a:rPr lang="en-US" altLang="zh-CN" sz="1400" kern="100" dirty="0">
                          <a:effectLst/>
                          <a:latin typeface="微软雅黑" panose="020B0503020204020204" pitchFamily="34" charset="-122"/>
                          <a:ea typeface="微软雅黑" panose="020B0503020204020204" pitchFamily="34" charset="-122"/>
                          <a:cs typeface="Times New Roman" panose="02020603050405020304"/>
                        </a:rPr>
                        <a:t>4</a:t>
                      </a: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90000"/>
                        </a:lnSpc>
                        <a:spcBef>
                          <a:spcPts val="0"/>
                        </a:spcBef>
                        <a:spcAft>
                          <a:spcPts val="0"/>
                        </a:spcAft>
                        <a:buClrTx/>
                        <a:buSzTx/>
                        <a:buFontTx/>
                        <a:buNone/>
                        <a:defRPr/>
                      </a:pPr>
                      <a:r>
                        <a:rPr lang="zh-CN" altLang="en-US" sz="140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住宅吊顶起拱高度不小于房间短向跨度的</a:t>
                      </a:r>
                      <a:r>
                        <a:rPr lang="en-US" altLang="zh-CN" sz="140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0.5%</a:t>
                      </a:r>
                      <a:r>
                        <a:rPr lang="zh-CN" altLang="en-US" sz="140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非住宅吊顶起拱高度为房间短向跨度的</a:t>
                      </a:r>
                      <a:r>
                        <a:rPr lang="en-US" altLang="zh-CN" sz="140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1%~3%</a:t>
                      </a:r>
                      <a:endParaRPr lang="zh-CN" altLang="zh-CN" sz="1400" kern="10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68454" marR="684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pPr>
                      <a:r>
                        <a:rPr lang="zh-CN" altLang="en-US" sz="1400" dirty="0" smtClean="0">
                          <a:ln>
                            <a:noFill/>
                          </a:ln>
                          <a:solidFill>
                            <a:srgbClr val="000000"/>
                          </a:solidFill>
                          <a:effectLst/>
                          <a:latin typeface="微软雅黑" panose="020B0503020204020204" pitchFamily="34" charset="-122"/>
                          <a:ea typeface="微软雅黑" panose="020B0503020204020204" pitchFamily="34" charset="-122"/>
                          <a:sym typeface="+mn-ea"/>
                        </a:rPr>
                        <a:t>用</a:t>
                      </a:r>
                      <a:r>
                        <a:rPr lang="zh-CN" sz="1400" dirty="0" smtClean="0">
                          <a:ln>
                            <a:noFill/>
                          </a:ln>
                          <a:solidFill>
                            <a:srgbClr val="000000"/>
                          </a:solidFill>
                          <a:effectLst/>
                          <a:latin typeface="微软雅黑" panose="020B0503020204020204" pitchFamily="34" charset="-122"/>
                          <a:ea typeface="微软雅黑" panose="020B0503020204020204" pitchFamily="34" charset="-122"/>
                          <a:sym typeface="+mn-ea"/>
                        </a:rPr>
                        <a:t>目测、手感</a:t>
                      </a:r>
                      <a:endParaRPr kumimoji="0" lang="en-US" altLang="zh-CN" sz="1400"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sym typeface="+mn-ea"/>
                      </a:endParaRPr>
                    </a:p>
                    <a:p>
                      <a:pPr marL="0" marR="0" lvl="0" indent="0" algn="l" defTabSz="914400" rtl="0" eaLnBrk="1" fontAlgn="base" latinLnBrk="0" hangingPunct="1">
                        <a:lnSpc>
                          <a:spcPct val="90000"/>
                        </a:lnSpc>
                        <a:spcBef>
                          <a:spcPct val="0"/>
                        </a:spcBef>
                        <a:spcAft>
                          <a:spcPct val="0"/>
                        </a:spcAft>
                        <a:buClrTx/>
                        <a:buSzTx/>
                        <a:buFontTx/>
                        <a:buNone/>
                        <a:defRPr/>
                      </a:pPr>
                      <a:r>
                        <a:rPr lang="zh-CN" altLang="en-US" sz="1400" dirty="0" smtClean="0">
                          <a:ln>
                            <a:noFill/>
                          </a:ln>
                          <a:solidFill>
                            <a:srgbClr val="000000"/>
                          </a:solidFill>
                          <a:effectLst/>
                          <a:latin typeface="微软雅黑" panose="020B0503020204020204" pitchFamily="34" charset="-122"/>
                          <a:ea typeface="微软雅黑" panose="020B0503020204020204" pitchFamily="34" charset="-122"/>
                          <a:sym typeface="+mn-ea"/>
                        </a:rPr>
                        <a:t>（</a:t>
                      </a:r>
                      <a:r>
                        <a:rPr lang="zh-CN" altLang="zh-CN" sz="1400" dirty="0" smtClean="0">
                          <a:ln>
                            <a:noFill/>
                          </a:ln>
                          <a:solidFill>
                            <a:srgbClr val="000000"/>
                          </a:solidFill>
                          <a:effectLst/>
                          <a:latin typeface="微软雅黑" panose="020B0503020204020204" pitchFamily="34" charset="-122"/>
                          <a:ea typeface="微软雅黑" panose="020B0503020204020204" pitchFamily="34" charset="-122"/>
                          <a:sym typeface="+mn-ea"/>
                        </a:rPr>
                        <a:t>应在涂料实干后进行</a:t>
                      </a:r>
                      <a:r>
                        <a:rPr lang="zh-CN" altLang="en-US" sz="1400" dirty="0" smtClean="0">
                          <a:ln>
                            <a:noFill/>
                          </a:ln>
                          <a:solidFill>
                            <a:srgbClr val="000000"/>
                          </a:solidFill>
                          <a:effectLst/>
                          <a:latin typeface="微软雅黑" panose="020B0503020204020204" pitchFamily="34" charset="-122"/>
                          <a:ea typeface="微软雅黑" panose="020B0503020204020204" pitchFamily="34" charset="-122"/>
                          <a:sym typeface="+mn-ea"/>
                        </a:rPr>
                        <a:t>，采用</a:t>
                      </a:r>
                      <a:r>
                        <a:rPr lang="en-US" altLang="zh-CN" sz="1400" dirty="0" smtClean="0">
                          <a:ln>
                            <a:noFill/>
                          </a:ln>
                          <a:solidFill>
                            <a:srgbClr val="000000"/>
                          </a:solidFill>
                          <a:effectLst/>
                          <a:latin typeface="微软雅黑" panose="020B0503020204020204" pitchFamily="34" charset="-122"/>
                          <a:ea typeface="微软雅黑" panose="020B0503020204020204" pitchFamily="34" charset="-122"/>
                          <a:sym typeface="+mn-ea"/>
                        </a:rPr>
                        <a:t>2m</a:t>
                      </a:r>
                      <a:r>
                        <a:rPr lang="zh-CN" altLang="en-US" sz="1400" dirty="0" smtClean="0">
                          <a:ln>
                            <a:noFill/>
                          </a:ln>
                          <a:solidFill>
                            <a:srgbClr val="000000"/>
                          </a:solidFill>
                          <a:effectLst/>
                          <a:latin typeface="微软雅黑" panose="020B0503020204020204" pitchFamily="34" charset="-122"/>
                          <a:ea typeface="微软雅黑" panose="020B0503020204020204" pitchFamily="34" charset="-122"/>
                          <a:sym typeface="+mn-ea"/>
                        </a:rPr>
                        <a:t>靠尺和塞尺纵横交叉测量，取最大值）</a:t>
                      </a:r>
                      <a:endParaRPr lang="zh-CN" altLang="en-US" sz="1400" kern="10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a:sym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90000"/>
                        </a:lnSpc>
                        <a:spcAft>
                          <a:spcPts val="0"/>
                        </a:spcAft>
                        <a:buNone/>
                      </a:pPr>
                      <a:endPar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90000"/>
                        </a:lnSpc>
                        <a:spcAft>
                          <a:spcPts val="0"/>
                        </a:spcAft>
                        <a:buNone/>
                      </a:pPr>
                      <a:endPar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 name="文本框 1"/>
          <p:cNvSpPr txBox="1"/>
          <p:nvPr/>
        </p:nvSpPr>
        <p:spPr>
          <a:xfrm>
            <a:off x="684530" y="720725"/>
            <a:ext cx="495490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1</a:t>
            </a:r>
            <a:r>
              <a:rPr lang="zh-CN" altLang="en-US" sz="1800" b="1" dirty="0" smtClean="0">
                <a:solidFill>
                  <a:srgbClr val="000000"/>
                </a:solidFill>
                <a:cs typeface="+mn-ea"/>
              </a:rPr>
              <a:t>、涂饰质量</a:t>
            </a:r>
            <a:r>
              <a:rPr lang="en-US" altLang="zh-CN" sz="1800" b="1" dirty="0" smtClean="0">
                <a:solidFill>
                  <a:srgbClr val="000000"/>
                </a:solidFill>
                <a:cs typeface="+mn-ea"/>
              </a:rPr>
              <a:t>-</a:t>
            </a:r>
            <a:r>
              <a:rPr lang="zh-CN" altLang="en-US" sz="1800" b="1" dirty="0" smtClean="0">
                <a:solidFill>
                  <a:srgbClr val="000000"/>
                </a:solidFill>
                <a:cs typeface="+mn-ea"/>
              </a:rPr>
              <a:t>乳胶漆   </a:t>
            </a:r>
            <a:r>
              <a:rPr lang="zh-CN" altLang="en-US" sz="1800" dirty="0">
                <a:latin typeface="微软雅黑" panose="020B0503020204020204" pitchFamily="34" charset="-122"/>
                <a:ea typeface="微软雅黑" panose="020B0503020204020204" pitchFamily="34" charset="-122"/>
                <a:sym typeface="+mn-ea"/>
              </a:rPr>
              <a:t>验收要求及方法</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21" name="Picture 2"/>
          <p:cNvPicPr>
            <a:picLocks noChangeAspect="1"/>
          </p:cNvPicPr>
          <p:nvPr/>
        </p:nvPicPr>
        <p:blipFill>
          <a:blip r:embed="rId2"/>
          <a:stretch>
            <a:fillRect/>
          </a:stretch>
        </p:blipFill>
        <p:spPr bwMode="auto">
          <a:xfrm>
            <a:off x="1901527" y="1891130"/>
            <a:ext cx="4238822" cy="318030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4" name="矩形 2"/>
          <p:cNvSpPr>
            <a:spLocks noChangeArrowheads="1"/>
          </p:cNvSpPr>
          <p:nvPr/>
        </p:nvSpPr>
        <p:spPr bwMode="auto">
          <a:xfrm>
            <a:off x="3650933" y="5299618"/>
            <a:ext cx="5248215"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just" defTabSz="914400" rtl="0" eaLnBrk="0" fontAlgn="base" latinLnBrk="0" hangingPunct="0">
              <a:lnSpc>
                <a:spcPct val="100000"/>
              </a:lnSpc>
              <a:spcBef>
                <a:spcPct val="0"/>
              </a:spcBef>
              <a:spcAft>
                <a:spcPct val="0"/>
              </a:spcAft>
              <a:buClrTx/>
              <a:buSzTx/>
              <a:buFontTx/>
              <a:buNone/>
              <a:defRPr/>
            </a:pPr>
            <a:r>
              <a:rPr kumimoji="0" lang="zh-CN" altLang="en-US" sz="1795"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目测：</a:t>
            </a:r>
            <a:r>
              <a:rPr kumimoji="0" lang="zh-CN" altLang="zh-CN"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涂刷均匀，无</a:t>
            </a:r>
            <a:r>
              <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刷纹、</a:t>
            </a:r>
            <a:r>
              <a:rPr kumimoji="0" lang="zh-CN" altLang="zh-CN"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漏涂、露底，各层结合牢固。表面</a:t>
            </a:r>
            <a:r>
              <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无</a:t>
            </a:r>
            <a:r>
              <a:rPr kumimoji="0" lang="zh-CN" altLang="zh-CN"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鼓泡，脱皮，裂纹等缺陷</a:t>
            </a:r>
            <a:r>
              <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en-US" sz="1795"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34823" name="Picture 2"/>
          <p:cNvPicPr>
            <a:picLocks noChangeAspect="1"/>
          </p:cNvPicPr>
          <p:nvPr/>
        </p:nvPicPr>
        <p:blipFill>
          <a:blip r:embed="rId3"/>
          <a:stretch>
            <a:fillRect/>
          </a:stretch>
        </p:blipFill>
        <p:spPr bwMode="auto">
          <a:xfrm>
            <a:off x="6444594" y="1891130"/>
            <a:ext cx="4127898" cy="318030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34824" name="椭圆 15"/>
          <p:cNvSpPr/>
          <p:nvPr/>
        </p:nvSpPr>
        <p:spPr>
          <a:xfrm>
            <a:off x="7745555" y="3545459"/>
            <a:ext cx="2155064" cy="1400792"/>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grpSp>
        <p:nvGrpSpPr>
          <p:cNvPr id="34825" name="组合 19"/>
          <p:cNvGrpSpPr/>
          <p:nvPr/>
        </p:nvGrpSpPr>
        <p:grpSpPr>
          <a:xfrm>
            <a:off x="5211770" y="2211220"/>
            <a:ext cx="928579" cy="484889"/>
            <a:chOff x="624359" y="2918833"/>
            <a:chExt cx="929460" cy="485735"/>
          </a:xfrm>
        </p:grpSpPr>
        <p:sp>
          <p:nvSpPr>
            <p:cNvPr id="34827" name="矩形 20"/>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34828" name="矩形 21"/>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23" name="乘号 22"/>
          <p:cNvSpPr/>
          <p:nvPr/>
        </p:nvSpPr>
        <p:spPr bwMode="auto">
          <a:xfrm>
            <a:off x="9735820" y="1705732"/>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2" name="文本框 1"/>
          <p:cNvSpPr txBox="1"/>
          <p:nvPr/>
        </p:nvSpPr>
        <p:spPr>
          <a:xfrm>
            <a:off x="684530" y="720725"/>
            <a:ext cx="495490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1-1</a:t>
            </a:r>
            <a:r>
              <a:rPr lang="zh-CN" altLang="en-US" sz="1800" b="1" dirty="0" smtClean="0">
                <a:solidFill>
                  <a:srgbClr val="000000"/>
                </a:solidFill>
                <a:cs typeface="+mn-ea"/>
              </a:rPr>
              <a:t>、涂饰质量</a:t>
            </a:r>
            <a:r>
              <a:rPr lang="en-US" altLang="zh-CN" sz="1800" b="1" dirty="0" smtClean="0">
                <a:solidFill>
                  <a:srgbClr val="000000"/>
                </a:solidFill>
                <a:cs typeface="+mn-ea"/>
              </a:rPr>
              <a:t>-</a:t>
            </a:r>
            <a:r>
              <a:rPr lang="zh-CN" altLang="en-US" sz="1800" b="1" dirty="0" smtClean="0">
                <a:solidFill>
                  <a:srgbClr val="000000"/>
                </a:solidFill>
                <a:cs typeface="+mn-ea"/>
              </a:rPr>
              <a:t>墙面乳胶漆（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2"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60" name="Picture 2"/>
          <p:cNvPicPr>
            <a:picLocks noChangeAspect="1"/>
          </p:cNvPicPr>
          <p:nvPr/>
        </p:nvPicPr>
        <p:blipFill>
          <a:blip r:embed="rId2"/>
          <a:stretch>
            <a:fillRect/>
          </a:stretch>
        </p:blipFill>
        <p:spPr bwMode="auto">
          <a:xfrm>
            <a:off x="3126428" y="2127237"/>
            <a:ext cx="2426031" cy="3636671"/>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7" name="矩形 2"/>
          <p:cNvSpPr>
            <a:spLocks noChangeArrowheads="1"/>
          </p:cNvSpPr>
          <p:nvPr/>
        </p:nvSpPr>
        <p:spPr bwMode="auto">
          <a:xfrm>
            <a:off x="1749405" y="6027400"/>
            <a:ext cx="9127331"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目测：</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吊顶乳胶漆有</a:t>
            </a:r>
            <a:r>
              <a:rPr kumimoji="0" lang="zh-CN"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明显</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刷纹，不合格。</a:t>
            </a:r>
          </a:p>
        </p:txBody>
      </p:sp>
      <p:pic>
        <p:nvPicPr>
          <p:cNvPr id="45062" name="Picture 2"/>
          <p:cNvPicPr>
            <a:picLocks noChangeAspect="1"/>
          </p:cNvPicPr>
          <p:nvPr/>
        </p:nvPicPr>
        <p:blipFill>
          <a:blip r:embed="rId3"/>
          <a:stretch>
            <a:fillRect/>
          </a:stretch>
        </p:blipFill>
        <p:spPr bwMode="auto">
          <a:xfrm>
            <a:off x="6723484" y="2157344"/>
            <a:ext cx="2403847" cy="360181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45063" name="椭圆 15"/>
          <p:cNvSpPr/>
          <p:nvPr/>
        </p:nvSpPr>
        <p:spPr>
          <a:xfrm>
            <a:off x="7606109" y="3261815"/>
            <a:ext cx="923826" cy="1400792"/>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24" name="乘号 23"/>
          <p:cNvSpPr/>
          <p:nvPr/>
        </p:nvSpPr>
        <p:spPr bwMode="auto">
          <a:xfrm>
            <a:off x="8184491" y="1989376"/>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grpSp>
        <p:nvGrpSpPr>
          <p:cNvPr id="45065" name="组合 25"/>
          <p:cNvGrpSpPr/>
          <p:nvPr/>
        </p:nvGrpSpPr>
        <p:grpSpPr>
          <a:xfrm>
            <a:off x="4673004" y="2504373"/>
            <a:ext cx="926994" cy="484889"/>
            <a:chOff x="624359" y="2918833"/>
            <a:chExt cx="929460" cy="485735"/>
          </a:xfrm>
        </p:grpSpPr>
        <p:sp>
          <p:nvSpPr>
            <p:cNvPr id="45067" name="矩形 26"/>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45068" name="矩形 27"/>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2" name="文本框 1"/>
          <p:cNvSpPr txBox="1"/>
          <p:nvPr/>
        </p:nvSpPr>
        <p:spPr>
          <a:xfrm>
            <a:off x="684530" y="720725"/>
            <a:ext cx="495490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1-2</a:t>
            </a:r>
            <a:r>
              <a:rPr lang="zh-CN" altLang="en-US" sz="1800" b="1" dirty="0" smtClean="0">
                <a:solidFill>
                  <a:srgbClr val="000000"/>
                </a:solidFill>
                <a:cs typeface="+mn-ea"/>
              </a:rPr>
              <a:t>、涂饰质量</a:t>
            </a:r>
            <a:r>
              <a:rPr lang="en-US" altLang="zh-CN" sz="1800" b="1" dirty="0" smtClean="0">
                <a:solidFill>
                  <a:srgbClr val="000000"/>
                </a:solidFill>
                <a:cs typeface="+mn-ea"/>
              </a:rPr>
              <a:t>-</a:t>
            </a:r>
            <a:r>
              <a:rPr lang="zh-CN" altLang="en-US" sz="1800" b="1" dirty="0" smtClean="0">
                <a:solidFill>
                  <a:srgbClr val="000000"/>
                </a:solidFill>
                <a:cs typeface="+mn-ea"/>
              </a:rPr>
              <a:t>顶部乳胶漆（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2"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微信图片_20180712154417"/>
          <p:cNvPicPr>
            <a:picLocks noChangeAspect="1"/>
          </p:cNvPicPr>
          <p:nvPr/>
        </p:nvPicPr>
        <p:blipFill>
          <a:blip r:embed="rId2"/>
          <a:srcRect/>
          <a:stretch>
            <a:fillRect/>
          </a:stretch>
        </p:blipFill>
        <p:spPr>
          <a:xfrm>
            <a:off x="1374140" y="1544955"/>
            <a:ext cx="3827780" cy="4556125"/>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1.4、</a:t>
            </a:r>
            <a:r>
              <a:rPr lang="zh-CN" altLang="en-US" sz="1800" b="1" dirty="0">
                <a:solidFill>
                  <a:srgbClr val="000000"/>
                </a:solidFill>
                <a:cs typeface="+mn-ea"/>
                <a:sym typeface="+mn-ea"/>
              </a:rPr>
              <a:t>结构</a:t>
            </a:r>
            <a:r>
              <a:rPr lang="en-US" altLang="zh-CN" sz="1800" b="1" dirty="0">
                <a:solidFill>
                  <a:srgbClr val="000000"/>
                </a:solidFill>
                <a:cs typeface="+mn-ea"/>
                <a:sym typeface="+mn-ea"/>
              </a:rPr>
              <a:t>规划</a:t>
            </a:r>
            <a:r>
              <a:rPr lang="zh-CN" altLang="en-US" sz="1800" b="1" dirty="0">
                <a:solidFill>
                  <a:srgbClr val="000000"/>
                </a:solidFill>
                <a:cs typeface="+mn-ea"/>
                <a:sym typeface="+mn-ea"/>
              </a:rPr>
              <a:t>（实例）</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8" name="文本框 7"/>
          <p:cNvSpPr txBox="1"/>
          <p:nvPr/>
        </p:nvSpPr>
        <p:spPr>
          <a:xfrm>
            <a:off x="5794375" y="4624705"/>
            <a:ext cx="5528945" cy="1476375"/>
          </a:xfrm>
          <a:prstGeom prst="rect">
            <a:avLst/>
          </a:prstGeom>
          <a:solidFill>
            <a:schemeClr val="bg1"/>
          </a:solidFill>
        </p:spPr>
        <p:txBody>
          <a:bodyPr wrap="square" rtlCol="0">
            <a:spAutoFit/>
          </a:bodyPr>
          <a:lstStyle/>
          <a:p>
            <a:pPr algn="l">
              <a:lnSpc>
                <a:spcPct val="150000"/>
              </a:lnSpc>
            </a:pPr>
            <a:r>
              <a:rPr lang="zh-CN" altLang="en-US" sz="1800" b="1" dirty="0" smtClean="0">
                <a:solidFill>
                  <a:srgbClr val="000000"/>
                </a:solidFill>
                <a:cs typeface="+mn-ea"/>
              </a:rPr>
              <a:t>问题描述：</a:t>
            </a:r>
            <a:endParaRPr lang="en-US" altLang="zh-CN" sz="1800" b="1" dirty="0" smtClean="0">
              <a:solidFill>
                <a:srgbClr val="000000"/>
              </a:solidFill>
              <a:cs typeface="+mn-ea"/>
            </a:endParaRPr>
          </a:p>
          <a:p>
            <a:pPr>
              <a:lnSpc>
                <a:spcPct val="150000"/>
              </a:lnSpc>
            </a:pPr>
            <a:r>
              <a:rPr lang="zh-CN" sz="1400" dirty="0" smtClean="0">
                <a:solidFill>
                  <a:srgbClr val="000000"/>
                </a:solidFill>
                <a:cs typeface="+mn-ea"/>
              </a:rPr>
              <a:t>结构设计过程中未考虑到空间合理利用，致使此户型空间浪费约</a:t>
            </a:r>
            <a:r>
              <a:rPr lang="en-US" altLang="zh-CN" sz="1400" dirty="0" smtClean="0">
                <a:solidFill>
                  <a:srgbClr val="000000"/>
                </a:solidFill>
                <a:cs typeface="+mn-ea"/>
              </a:rPr>
              <a:t>0.5</a:t>
            </a:r>
            <a:r>
              <a:rPr lang="zh-CN" altLang="en-US" sz="1400" dirty="0" smtClean="0">
                <a:solidFill>
                  <a:srgbClr val="000000"/>
                </a:solidFill>
                <a:cs typeface="+mn-ea"/>
              </a:rPr>
              <a:t>平米</a:t>
            </a:r>
            <a:r>
              <a:rPr lang="zh-CN" sz="1400" dirty="0" smtClean="0">
                <a:solidFill>
                  <a:srgbClr val="000000"/>
                </a:solidFill>
                <a:cs typeface="+mn-ea"/>
              </a:rPr>
              <a:t>。</a:t>
            </a:r>
          </a:p>
          <a:p>
            <a:pPr>
              <a:lnSpc>
                <a:spcPct val="150000"/>
              </a:lnSpc>
            </a:pPr>
            <a:r>
              <a:rPr lang="zh-CN" sz="1400" b="1" dirty="0" smtClean="0">
                <a:solidFill>
                  <a:srgbClr val="000000"/>
                </a:solidFill>
                <a:cs typeface="+mn-ea"/>
              </a:rPr>
              <a:t>已经造成业主群诉风险，亦不符合科学筑家理念。</a:t>
            </a:r>
          </a:p>
        </p:txBody>
      </p:sp>
      <p:sp>
        <p:nvSpPr>
          <p:cNvPr id="6" name="下箭头 5"/>
          <p:cNvSpPr/>
          <p:nvPr/>
        </p:nvSpPr>
        <p:spPr>
          <a:xfrm rot="10800000">
            <a:off x="3284220" y="5134610"/>
            <a:ext cx="130810" cy="44005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zoom dir="in"/>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84530" y="720725"/>
            <a:ext cx="495490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2</a:t>
            </a:r>
            <a:r>
              <a:rPr lang="zh-CN" altLang="en-US" sz="1800" b="1" dirty="0" smtClean="0">
                <a:solidFill>
                  <a:srgbClr val="000000"/>
                </a:solidFill>
                <a:cs typeface="+mn-ea"/>
              </a:rPr>
              <a:t>、涂饰质量</a:t>
            </a:r>
            <a:r>
              <a:rPr lang="en-US" altLang="zh-CN" sz="1800" b="1" dirty="0" smtClean="0">
                <a:solidFill>
                  <a:srgbClr val="000000"/>
                </a:solidFill>
                <a:cs typeface="+mn-ea"/>
              </a:rPr>
              <a:t>-</a:t>
            </a:r>
            <a:r>
              <a:rPr lang="zh-CN" altLang="en-US" sz="1800" b="1" dirty="0" smtClean="0">
                <a:solidFill>
                  <a:srgbClr val="000000"/>
                </a:solidFill>
                <a:cs typeface="+mn-ea"/>
              </a:rPr>
              <a:t>墙面裱糊   </a:t>
            </a:r>
            <a:r>
              <a:rPr lang="zh-CN" altLang="en-US" sz="1800" dirty="0">
                <a:latin typeface="微软雅黑" panose="020B0503020204020204" pitchFamily="34" charset="-122"/>
                <a:ea typeface="微软雅黑" panose="020B0503020204020204" pitchFamily="34" charset="-122"/>
                <a:sym typeface="+mn-ea"/>
              </a:rPr>
              <a:t>验收要求及方法</a:t>
            </a:r>
            <a:endParaRPr lang="zh-CN" altLang="en-US" sz="1800" b="1" dirty="0" smtClean="0">
              <a:solidFill>
                <a:srgbClr val="000000"/>
              </a:solidFill>
              <a:cs typeface="+mn-ea"/>
              <a:sym typeface="+mn-ea"/>
            </a:endParaRPr>
          </a:p>
        </p:txBody>
      </p:sp>
      <p:graphicFrame>
        <p:nvGraphicFramePr>
          <p:cNvPr id="3" name="表格 2"/>
          <p:cNvGraphicFramePr>
            <a:graphicFrameLocks noGrp="1"/>
          </p:cNvGraphicFramePr>
          <p:nvPr/>
        </p:nvGraphicFramePr>
        <p:xfrm>
          <a:off x="684530" y="1546225"/>
          <a:ext cx="10814685" cy="4632325"/>
        </p:xfrm>
        <a:graphic>
          <a:graphicData uri="http://schemas.openxmlformats.org/drawingml/2006/table">
            <a:tbl>
              <a:tblPr/>
              <a:tblGrid>
                <a:gridCol w="798195">
                  <a:extLst>
                    <a:ext uri="{9D8B030D-6E8A-4147-A177-3AD203B41FA5}">
                      <a16:colId xmlns:a16="http://schemas.microsoft.com/office/drawing/2014/main" val="20000"/>
                    </a:ext>
                  </a:extLst>
                </a:gridCol>
                <a:gridCol w="4097020">
                  <a:extLst>
                    <a:ext uri="{9D8B030D-6E8A-4147-A177-3AD203B41FA5}">
                      <a16:colId xmlns:a16="http://schemas.microsoft.com/office/drawing/2014/main" val="20001"/>
                    </a:ext>
                  </a:extLst>
                </a:gridCol>
                <a:gridCol w="1912620">
                  <a:extLst>
                    <a:ext uri="{9D8B030D-6E8A-4147-A177-3AD203B41FA5}">
                      <a16:colId xmlns:a16="http://schemas.microsoft.com/office/drawing/2014/main" val="20002"/>
                    </a:ext>
                  </a:extLst>
                </a:gridCol>
                <a:gridCol w="2499995">
                  <a:extLst>
                    <a:ext uri="{9D8B030D-6E8A-4147-A177-3AD203B41FA5}">
                      <a16:colId xmlns:a16="http://schemas.microsoft.com/office/drawing/2014/main" val="20003"/>
                    </a:ext>
                  </a:extLst>
                </a:gridCol>
                <a:gridCol w="1506855">
                  <a:extLst>
                    <a:ext uri="{9D8B030D-6E8A-4147-A177-3AD203B41FA5}">
                      <a16:colId xmlns:a16="http://schemas.microsoft.com/office/drawing/2014/main" val="20004"/>
                    </a:ext>
                  </a:extLst>
                </a:gridCol>
              </a:tblGrid>
              <a:tr h="49276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序号</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要求</a:t>
                      </a: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及允许偏差</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1273" marR="91273" marT="45636" marB="45636"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验收方法</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说明</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24815">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检验方法、工具</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检验数量</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extLst>
                  <a:ext uri="{0D108BD9-81ED-4DB2-BD59-A6C34878D82A}">
                    <a16:rowId xmlns:a16="http://schemas.microsoft.com/office/drawing/2014/main" val="10001"/>
                  </a:ext>
                </a:extLst>
              </a:tr>
              <a:tr h="45085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色泽一致无明显色差</a:t>
                      </a: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无气泡、无露底</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5">
                  <a:txBody>
                    <a:bodyPr/>
                    <a:lstStyle/>
                    <a:p>
                      <a:pPr marL="0" marR="0" lvl="0" indent="0" algn="l" defTabSz="347345" rtl="0" eaLnBrk="1" fontAlgn="base" latinLnBrk="0" hangingPunct="1">
                        <a:lnSpc>
                          <a:spcPct val="100000"/>
                        </a:lnSpc>
                        <a:spcBef>
                          <a:spcPct val="0"/>
                        </a:spcBef>
                        <a:spcAft>
                          <a:spcPct val="0"/>
                        </a:spcAft>
                        <a:buClrTx/>
                        <a:buSzTx/>
                        <a:buFontTx/>
                        <a:buNone/>
                        <a:defRPr/>
                      </a:pPr>
                      <a:r>
                        <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目测</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观察（</a:t>
                      </a: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应在裱糊干燥后进行，距</a:t>
                      </a: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1.5m</a:t>
                      </a: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处正视</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5">
                  <a:txBody>
                    <a:bodyPr/>
                    <a:lstStyle/>
                    <a:p>
                      <a:pPr marL="0" marR="0" lvl="0" indent="0" algn="l"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全数检查</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5085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表面无皱褶、污斑、翘边、波纹起伏</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5148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花纹图案吻合适当</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085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4</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与顶角线、踢脚板拼接紧密无缝隙</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5085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5</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粘贴牢固，不得漏贴、补贴、脱层</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5085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7</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墙面</a:t>
                      </a:r>
                      <a:r>
                        <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垂直度</a:t>
                      </a: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a:t>
                      </a: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0mm</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2m</a:t>
                      </a: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靠尺</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和</a:t>
                      </a: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塞尺</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4">
                  <a:txBody>
                    <a:bodyPr/>
                    <a:lstStyle/>
                    <a:p>
                      <a:pPr algn="l">
                        <a:spcAft>
                          <a:spcPts val="0"/>
                        </a:spcAft>
                      </a:pPr>
                      <a:r>
                        <a:rPr lang="zh-CN" altLang="en-US" sz="1595" kern="0" dirty="0" smtClean="0">
                          <a:solidFill>
                            <a:schemeClr val="tx1"/>
                          </a:solidFill>
                          <a:effectLst/>
                          <a:latin typeface="微软雅黑" panose="020B0503020204020204" pitchFamily="34" charset="-122"/>
                          <a:ea typeface="微软雅黑" panose="020B0503020204020204" pitchFamily="34" charset="-122"/>
                        </a:rPr>
                        <a:t>每</a:t>
                      </a:r>
                      <a:r>
                        <a:rPr lang="en-US" altLang="zh-CN" sz="1595" kern="0" dirty="0" smtClean="0">
                          <a:solidFill>
                            <a:schemeClr val="tx1"/>
                          </a:solidFill>
                          <a:effectLst/>
                          <a:latin typeface="微软雅黑" panose="020B0503020204020204" pitchFamily="34" charset="-122"/>
                          <a:ea typeface="微软雅黑" panose="020B0503020204020204" pitchFamily="34" charset="-122"/>
                        </a:rPr>
                        <a:t>50</a:t>
                      </a:r>
                      <a:r>
                        <a:rPr lang="zh-CN" altLang="en-US" sz="1595" kern="0" dirty="0" smtClean="0">
                          <a:solidFill>
                            <a:schemeClr val="tx1"/>
                          </a:solidFill>
                          <a:effectLst/>
                          <a:latin typeface="微软雅黑" panose="020B0503020204020204" pitchFamily="34" charset="-122"/>
                          <a:ea typeface="微软雅黑" panose="020B0503020204020204" pitchFamily="34" charset="-122"/>
                        </a:rPr>
                        <a:t>个房间一个检验批，每个检验批抽检≥</a:t>
                      </a:r>
                      <a:r>
                        <a:rPr lang="en-US" altLang="zh-CN" sz="1595" kern="0" dirty="0" smtClean="0">
                          <a:solidFill>
                            <a:schemeClr val="tx1"/>
                          </a:solidFill>
                          <a:effectLst/>
                          <a:latin typeface="微软雅黑" panose="020B0503020204020204" pitchFamily="34" charset="-122"/>
                          <a:ea typeface="微软雅黑" panose="020B0503020204020204" pitchFamily="34" charset="-122"/>
                        </a:rPr>
                        <a:t>10%</a:t>
                      </a:r>
                      <a:r>
                        <a:rPr lang="zh-CN" altLang="en-US" sz="1595" kern="0" dirty="0" smtClean="0">
                          <a:solidFill>
                            <a:schemeClr val="tx1"/>
                          </a:solidFill>
                          <a:effectLst/>
                          <a:latin typeface="微软雅黑" panose="020B0503020204020204" pitchFamily="34" charset="-122"/>
                          <a:ea typeface="微软雅黑" panose="020B0503020204020204" pitchFamily="34" charset="-122"/>
                        </a:rPr>
                        <a:t>，并不得少于三间，（抽中房间应全检）</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实测实量</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5212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8</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表面平整度≤</a:t>
                      </a: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3.0mm</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2m</a:t>
                      </a: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靠尺</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和</a:t>
                      </a: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塞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实测实量</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0">
                <a:tc vMerge="1">
                  <a:txBody>
                    <a:bodyPr/>
                    <a:lstStyle/>
                    <a:p>
                      <a:endParaRPr lang="zh-CN"/>
                    </a:p>
                  </a:txBody>
                  <a:tcPr marL="68580" marR="6858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68580" marR="6858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68580" marR="6858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实测实量</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53149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9</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阴阳角方正≤</a:t>
                      </a: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3.0mm</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直角检测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10"/>
                  </a:ext>
                </a:extLst>
              </a:tr>
            </a:tbl>
          </a:graphicData>
        </a:graphic>
      </p:graphicFrame>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2"/>
          <p:cNvSpPr>
            <a:spLocks noChangeArrowheads="1"/>
          </p:cNvSpPr>
          <p:nvPr/>
        </p:nvSpPr>
        <p:spPr bwMode="auto">
          <a:xfrm>
            <a:off x="2771477" y="5690533"/>
            <a:ext cx="7116467"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just"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目测：</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距离墙面</a:t>
            </a: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5M</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处观察壁纸，</a:t>
            </a:r>
            <a:r>
              <a:rPr kumimoji="0" lang="zh-CN"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色泽一致无明显</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拼接缝及</a:t>
            </a:r>
            <a:r>
              <a:rPr kumimoji="0" lang="zh-CN"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色差</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表面无皱褶、污斑、翘边、波纹起伏</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不露底、</a:t>
            </a:r>
            <a:r>
              <a:rPr kumimoji="0" lang="zh-CN"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粘贴牢固</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p>
        </p:txBody>
      </p:sp>
      <p:pic>
        <p:nvPicPr>
          <p:cNvPr id="37893" name="Picture 2"/>
          <p:cNvPicPr>
            <a:picLocks noChangeAspect="1"/>
          </p:cNvPicPr>
          <p:nvPr/>
        </p:nvPicPr>
        <p:blipFill>
          <a:blip r:embed="rId2"/>
          <a:stretch>
            <a:fillRect/>
          </a:stretch>
        </p:blipFill>
        <p:spPr bwMode="auto">
          <a:xfrm>
            <a:off x="6389132" y="2092376"/>
            <a:ext cx="4259421" cy="293627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37894" name="椭圆 15"/>
          <p:cNvSpPr/>
          <p:nvPr/>
        </p:nvSpPr>
        <p:spPr>
          <a:xfrm>
            <a:off x="7282850" y="3434536"/>
            <a:ext cx="2148726" cy="1064855"/>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36" name="乘号 35"/>
          <p:cNvSpPr/>
          <p:nvPr/>
        </p:nvSpPr>
        <p:spPr bwMode="auto">
          <a:xfrm>
            <a:off x="9781774" y="1913315"/>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pic>
        <p:nvPicPr>
          <p:cNvPr id="37897" name="Picture 2"/>
          <p:cNvPicPr>
            <a:picLocks noChangeAspect="1"/>
          </p:cNvPicPr>
          <p:nvPr/>
        </p:nvPicPr>
        <p:blipFill>
          <a:blip r:embed="rId3"/>
          <a:srcRect/>
          <a:stretch>
            <a:fillRect/>
          </a:stretch>
        </p:blipFill>
        <p:spPr bwMode="auto">
          <a:xfrm>
            <a:off x="1370965" y="2084070"/>
            <a:ext cx="4396740" cy="2944495"/>
          </a:xfrm>
          <a:prstGeom prst="rect">
            <a:avLst/>
          </a:prstGeom>
          <a:noFill/>
          <a:ln w="88900" cap="sq" cmpd="thickThin">
            <a:solidFill>
              <a:srgbClr val="000000"/>
            </a:solidFill>
            <a:prstDash val="solid"/>
            <a:miter lim="800000"/>
            <a:headEnd/>
            <a:tailEnd/>
          </a:ln>
          <a:effectLst>
            <a:innerShdw blurRad="76200">
              <a:srgbClr val="000000"/>
            </a:innerShdw>
          </a:effectLst>
        </p:spPr>
      </p:pic>
      <p:grpSp>
        <p:nvGrpSpPr>
          <p:cNvPr id="37898" name="组合 38"/>
          <p:cNvGrpSpPr/>
          <p:nvPr/>
        </p:nvGrpSpPr>
        <p:grpSpPr>
          <a:xfrm>
            <a:off x="4602587" y="2440772"/>
            <a:ext cx="928579" cy="484889"/>
            <a:chOff x="624359" y="2918833"/>
            <a:chExt cx="929460" cy="485735"/>
          </a:xfrm>
        </p:grpSpPr>
        <p:sp>
          <p:nvSpPr>
            <p:cNvPr id="37900" name="矩形 39"/>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37901" name="矩形 40"/>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2" name="文本框 1"/>
          <p:cNvSpPr txBox="1"/>
          <p:nvPr/>
        </p:nvSpPr>
        <p:spPr>
          <a:xfrm>
            <a:off x="684530" y="720725"/>
            <a:ext cx="495490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2-1</a:t>
            </a:r>
            <a:r>
              <a:rPr lang="zh-CN" altLang="en-US" sz="1800" b="1" dirty="0" smtClean="0">
                <a:solidFill>
                  <a:srgbClr val="000000"/>
                </a:solidFill>
                <a:cs typeface="+mn-ea"/>
              </a:rPr>
              <a:t>、涂饰质量</a:t>
            </a:r>
            <a:r>
              <a:rPr lang="en-US" altLang="zh-CN" sz="1800" b="1" dirty="0" smtClean="0">
                <a:solidFill>
                  <a:srgbClr val="000000"/>
                </a:solidFill>
                <a:cs typeface="+mn-ea"/>
              </a:rPr>
              <a:t>-</a:t>
            </a:r>
            <a:r>
              <a:rPr lang="zh-CN" altLang="en-US" sz="1800" b="1" dirty="0" smtClean="0">
                <a:solidFill>
                  <a:srgbClr val="000000"/>
                </a:solidFill>
                <a:cs typeface="+mn-ea"/>
              </a:rPr>
              <a:t>墙面裱糊（观感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2"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6" name="Picture 2"/>
          <p:cNvPicPr>
            <a:picLocks noChangeAspect="1"/>
          </p:cNvPicPr>
          <p:nvPr/>
        </p:nvPicPr>
        <p:blipFill>
          <a:blip r:embed="rId2"/>
          <a:stretch>
            <a:fillRect/>
          </a:stretch>
        </p:blipFill>
        <p:spPr bwMode="auto">
          <a:xfrm>
            <a:off x="5722620" y="1913255"/>
            <a:ext cx="5318125" cy="354965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7" name="矩形 2"/>
          <p:cNvSpPr>
            <a:spLocks noChangeArrowheads="1"/>
          </p:cNvSpPr>
          <p:nvPr/>
        </p:nvSpPr>
        <p:spPr bwMode="auto">
          <a:xfrm>
            <a:off x="1445161" y="5955645"/>
            <a:ext cx="912733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sz="1795"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目测：</a:t>
            </a:r>
            <a:r>
              <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距离墙面</a:t>
            </a:r>
            <a:r>
              <a:rPr kumimoji="0" lang="en-US" altLang="zh-CN"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5M</a:t>
            </a:r>
            <a:r>
              <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处观察壁纸，有严重</a:t>
            </a:r>
            <a:r>
              <a:rPr kumimoji="0" lang="zh-CN" altLang="zh-CN" sz="1795"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色差</a:t>
            </a:r>
            <a:r>
              <a:rPr kumimoji="0" lang="zh-CN" altLang="en-US" sz="1795"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不合格。</a:t>
            </a:r>
            <a:endParaRPr kumimoji="0" lang="zh-CN" altLang="en-US" sz="1795"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38918" name="椭圆 15"/>
          <p:cNvSpPr/>
          <p:nvPr/>
        </p:nvSpPr>
        <p:spPr>
          <a:xfrm>
            <a:off x="7660640" y="2628265"/>
            <a:ext cx="1174750" cy="2158365"/>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20" name="乘号 19"/>
          <p:cNvSpPr/>
          <p:nvPr/>
        </p:nvSpPr>
        <p:spPr bwMode="auto">
          <a:xfrm>
            <a:off x="9629934" y="1913315"/>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2" name="文本框 1"/>
          <p:cNvSpPr txBox="1"/>
          <p:nvPr/>
        </p:nvSpPr>
        <p:spPr>
          <a:xfrm>
            <a:off x="684530" y="720725"/>
            <a:ext cx="495490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5.2-1</a:t>
            </a:r>
            <a:r>
              <a:rPr lang="zh-CN" altLang="en-US" sz="1800" b="1" dirty="0" smtClean="0">
                <a:solidFill>
                  <a:srgbClr val="000000"/>
                </a:solidFill>
                <a:cs typeface="+mn-ea"/>
              </a:rPr>
              <a:t>、涂饰质量</a:t>
            </a:r>
            <a:r>
              <a:rPr lang="en-US" altLang="zh-CN" sz="1800" b="1" dirty="0" smtClean="0">
                <a:solidFill>
                  <a:srgbClr val="000000"/>
                </a:solidFill>
                <a:cs typeface="+mn-ea"/>
              </a:rPr>
              <a:t>-</a:t>
            </a:r>
            <a:r>
              <a:rPr lang="zh-CN" altLang="en-US" sz="1800" b="1" dirty="0" smtClean="0">
                <a:solidFill>
                  <a:srgbClr val="000000"/>
                </a:solidFill>
                <a:cs typeface="+mn-ea"/>
              </a:rPr>
              <a:t>墙面裱糊（观感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pic>
        <p:nvPicPr>
          <p:cNvPr id="4" name="图片 3" descr="微信图片_20180803151025"/>
          <p:cNvPicPr>
            <a:picLocks noChangeAspect="1"/>
          </p:cNvPicPr>
          <p:nvPr/>
        </p:nvPicPr>
        <p:blipFill>
          <a:blip r:embed="rId3"/>
          <a:stretch>
            <a:fillRect/>
          </a:stretch>
        </p:blipFill>
        <p:spPr bwMode="auto">
          <a:xfrm>
            <a:off x="1044575" y="1913255"/>
            <a:ext cx="4266565" cy="354965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5" name="乘号 4"/>
          <p:cNvSpPr/>
          <p:nvPr/>
        </p:nvSpPr>
        <p:spPr bwMode="auto">
          <a:xfrm>
            <a:off x="3989229" y="2864545"/>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6" name="椭圆 15"/>
          <p:cNvSpPr/>
          <p:nvPr/>
        </p:nvSpPr>
        <p:spPr>
          <a:xfrm>
            <a:off x="2263140" y="2766060"/>
            <a:ext cx="1174750" cy="2158365"/>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11"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FBFBFB"/>
        </a:solidFill>
        <a:effectLst/>
      </p:bgPr>
    </p:bg>
    <p:spTree>
      <p:nvGrpSpPr>
        <p:cNvPr id="1" name=""/>
        <p:cNvGrpSpPr/>
        <p:nvPr/>
      </p:nvGrpSpPr>
      <p:grpSpPr>
        <a:xfrm>
          <a:off x="0" y="0"/>
          <a:ext cx="0" cy="0"/>
          <a:chOff x="0" y="0"/>
          <a:chExt cx="0" cy="0"/>
        </a:xfrm>
      </p:grpSpPr>
      <p:pic>
        <p:nvPicPr>
          <p:cNvPr id="11" name="图片占位符 10"/>
          <p:cNvPicPr>
            <a:picLocks noGrp="1" noChangeAspect="1"/>
          </p:cNvPicPr>
          <p:nvPr>
            <p:ph type="pic" idx="1"/>
          </p:nvPr>
        </p:nvPicPr>
        <p:blipFill>
          <a:blip r:embed="rId2"/>
          <a:srcRect/>
          <a:stretch>
            <a:fillRect/>
          </a:stretch>
        </p:blipFill>
        <p:spPr>
          <a:xfrm rot="10800000">
            <a:off x="3773170" y="716280"/>
            <a:ext cx="8010525" cy="5505450"/>
          </a:xfrm>
          <a:prstGeom prst="rect">
            <a:avLst/>
          </a:prstGeom>
        </p:spPr>
      </p:pic>
      <p:sp>
        <p:nvSpPr>
          <p:cNvPr id="5"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2" name="文本框 1"/>
          <p:cNvSpPr txBox="1"/>
          <p:nvPr/>
        </p:nvSpPr>
        <p:spPr>
          <a:xfrm>
            <a:off x="684287" y="720477"/>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a:t>
            </a:r>
            <a:r>
              <a:rPr lang="zh-CN" altLang="en-US" sz="1800" b="1" dirty="0" smtClean="0">
                <a:solidFill>
                  <a:srgbClr val="000000"/>
                </a:solidFill>
                <a:cs typeface="+mn-ea"/>
              </a:rPr>
              <a:t>、木制品安装</a:t>
            </a:r>
            <a:endParaRPr lang="zh-CN" sz="1800" b="1" dirty="0" smtClean="0">
              <a:solidFill>
                <a:srgbClr val="000000"/>
              </a:solidFill>
              <a:cs typeface="+mn-ea"/>
              <a:sym typeface="+mn-ea"/>
            </a:endParaRPr>
          </a:p>
        </p:txBody>
      </p:sp>
      <p:sp>
        <p:nvSpPr>
          <p:cNvPr id="6" name="文本框 5"/>
          <p:cNvSpPr txBox="1"/>
          <p:nvPr/>
        </p:nvSpPr>
        <p:spPr>
          <a:xfrm>
            <a:off x="684530" y="1155700"/>
            <a:ext cx="11099800" cy="558482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400" b="1" dirty="0" smtClean="0">
                <a:solidFill>
                  <a:schemeClr val="tx1"/>
                </a:solidFill>
                <a:latin typeface="+mn-ea"/>
                <a:cs typeface="+mn-ea"/>
              </a:rPr>
              <a:t>工作内容：</a:t>
            </a:r>
          </a:p>
          <a:p>
            <a:pPr algn="just">
              <a:lnSpc>
                <a:spcPct val="150000"/>
              </a:lnSpc>
            </a:pPr>
            <a:r>
              <a:rPr lang="zh-CN" altLang="en-US" sz="1400" dirty="0">
                <a:solidFill>
                  <a:schemeClr val="tx1"/>
                </a:solidFill>
                <a:latin typeface="+mn-ea"/>
                <a:cs typeface="+mn-ea"/>
              </a:rPr>
              <a:t>      </a:t>
            </a:r>
            <a:r>
              <a:rPr lang="en-US" altLang="zh-CN" sz="1400" dirty="0">
                <a:solidFill>
                  <a:schemeClr val="tx1"/>
                </a:solidFill>
                <a:latin typeface="+mn-ea"/>
                <a:cs typeface="+mn-ea"/>
              </a:rPr>
              <a:t>1</a:t>
            </a:r>
            <a:r>
              <a:rPr lang="zh-CN" altLang="en-US" sz="1400" dirty="0">
                <a:solidFill>
                  <a:schemeClr val="tx1"/>
                </a:solidFill>
                <a:latin typeface="+mn-ea"/>
                <a:cs typeface="+mn-ea"/>
              </a:rPr>
              <a:t>、</a:t>
            </a:r>
            <a:r>
              <a:rPr lang="zh-CN" sz="1400" dirty="0">
                <a:solidFill>
                  <a:schemeClr val="tx1"/>
                </a:solidFill>
                <a:latin typeface="+mn-ea"/>
                <a:cs typeface="+mn-ea"/>
                <a:sym typeface="+mn-ea"/>
              </a:rPr>
              <a:t>木饰面安装质量：</a:t>
            </a:r>
            <a:r>
              <a:rPr lang="zh-CN" altLang="zh-CN" sz="1400" dirty="0">
                <a:solidFill>
                  <a:schemeClr val="tx1"/>
                </a:solidFill>
                <a:latin typeface="+mn-ea"/>
                <a:cs typeface="+mn-ea"/>
                <a:sym typeface="+mn-ea"/>
              </a:rPr>
              <a:t> </a:t>
            </a:r>
            <a:endParaRPr lang="zh-CN" altLang="zh-CN" sz="1400" dirty="0">
              <a:solidFill>
                <a:schemeClr val="tx1"/>
              </a:solidFill>
              <a:latin typeface="+mn-ea"/>
              <a:cs typeface="+mn-ea"/>
            </a:endParaRPr>
          </a:p>
          <a:p>
            <a:pPr algn="just">
              <a:lnSpc>
                <a:spcPct val="150000"/>
              </a:lnSpc>
            </a:pPr>
            <a:r>
              <a:rPr lang="zh-CN" altLang="zh-CN" sz="1400" dirty="0">
                <a:solidFill>
                  <a:schemeClr val="tx1"/>
                </a:solidFill>
                <a:latin typeface="+mn-ea"/>
                <a:cs typeface="+mn-ea"/>
                <a:sym typeface="+mn-ea"/>
              </a:rPr>
              <a:t>      </a:t>
            </a:r>
            <a:r>
              <a:rPr lang="zh-CN" altLang="en-US" sz="1400" dirty="0">
                <a:latin typeface="微软雅黑" panose="020B0503020204020204" pitchFamily="34" charset="-122"/>
                <a:ea typeface="微软雅黑" panose="020B0503020204020204" pitchFamily="34" charset="-122"/>
                <a:sym typeface="+mn-ea"/>
              </a:rPr>
              <a:t>木饰面</a:t>
            </a:r>
            <a:r>
              <a:rPr lang="zh-CN" altLang="zh-CN" sz="1400" dirty="0">
                <a:latin typeface="微软雅黑" panose="020B0503020204020204" pitchFamily="34" charset="-122"/>
                <a:ea typeface="微软雅黑" panose="020B0503020204020204" pitchFamily="34" charset="-122"/>
                <a:sym typeface="+mn-ea"/>
              </a:rPr>
              <a:t>表面应光洁，木纹朝向一致，接缝紧密，棱边、棱角光滑，装饰性缝隙宽度均匀。墙饰板应安装牢固，上沿线水平，无明显偏差，阴阳角应垂直。</a:t>
            </a: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a:t>
            </a:r>
            <a:r>
              <a:rPr lang="en-US" altLang="zh-CN" sz="1400" dirty="0">
                <a:latin typeface="微软雅黑" panose="020B0503020204020204" pitchFamily="34" charset="-122"/>
                <a:ea typeface="微软雅黑" panose="020B0503020204020204" pitchFamily="34" charset="-122"/>
                <a:sym typeface="+mn-ea"/>
              </a:rPr>
              <a:t>2</a:t>
            </a:r>
            <a:r>
              <a:rPr lang="zh-CN" altLang="en-US" sz="1400" dirty="0">
                <a:latin typeface="微软雅黑" panose="020B0503020204020204" pitchFamily="34" charset="-122"/>
                <a:ea typeface="微软雅黑" panose="020B0503020204020204" pitchFamily="34" charset="-122"/>
                <a:sym typeface="+mn-ea"/>
              </a:rPr>
              <a:t>、木门及门窗套安装质量：</a:t>
            </a:r>
            <a:endParaRPr lang="en-US" altLang="zh-CN" sz="1400" dirty="0">
              <a:latin typeface="微软雅黑" panose="020B0503020204020204" pitchFamily="34" charset="-122"/>
              <a:ea typeface="微软雅黑" panose="020B0503020204020204" pitchFamily="34" charset="-122"/>
              <a:sym typeface="+mn-ea"/>
            </a:endParaRPr>
          </a:p>
          <a:p>
            <a:pPr algn="just">
              <a:lnSpc>
                <a:spcPct val="150000"/>
              </a:lnSpc>
            </a:pPr>
            <a:r>
              <a:rPr lang="en-US" altLang="zh-CN" sz="1400" dirty="0">
                <a:latin typeface="微软雅黑" panose="020B0503020204020204" pitchFamily="34" charset="-122"/>
                <a:ea typeface="微软雅黑" panose="020B0503020204020204" pitchFamily="34" charset="-122"/>
                <a:sym typeface="+mn-ea"/>
              </a:rPr>
              <a:t>       1</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成品门安装必须牢固，开启灵活，无阻滞感，且关闭严密，无反弹</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倒翘及变形现象。</a:t>
            </a:r>
            <a:r>
              <a:rPr lang="en-US" altLang="zh-CN" sz="1400" dirty="0">
                <a:latin typeface="微软雅黑" panose="020B0503020204020204" pitchFamily="34" charset="-122"/>
                <a:ea typeface="微软雅黑" panose="020B0503020204020204" pitchFamily="34" charset="-122"/>
                <a:sym typeface="+mn-ea"/>
              </a:rPr>
              <a:t> </a:t>
            </a:r>
            <a:endParaRPr lang="en-US" altLang="zh-CN" sz="1400" b="0" dirty="0">
              <a:latin typeface="微软雅黑" panose="020B0503020204020204" pitchFamily="34" charset="-122"/>
              <a:ea typeface="微软雅黑" panose="020B0503020204020204" pitchFamily="34" charset="-122"/>
            </a:endParaRP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a:t>
            </a:r>
            <a:r>
              <a:rPr lang="en-US" altLang="zh-CN" sz="1400" dirty="0">
                <a:latin typeface="微软雅黑" panose="020B0503020204020204" pitchFamily="34" charset="-122"/>
                <a:ea typeface="微软雅黑" panose="020B0503020204020204" pitchFamily="34" charset="-122"/>
                <a:sym typeface="+mn-ea"/>
              </a:rPr>
              <a:t>2</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漆面应光洁，不得有刨痕，毛刺和锤印。</a:t>
            </a:r>
            <a:r>
              <a:rPr lang="en-US" altLang="zh-CN" sz="1400" dirty="0">
                <a:latin typeface="微软雅黑" panose="020B0503020204020204" pitchFamily="34" charset="-122"/>
                <a:ea typeface="微软雅黑" panose="020B0503020204020204" pitchFamily="34" charset="-122"/>
                <a:sym typeface="+mn-ea"/>
              </a:rPr>
              <a:t> </a:t>
            </a:r>
            <a:endParaRPr lang="zh-CN" altLang="zh-CN" sz="1400" b="0" dirty="0">
              <a:latin typeface="微软雅黑" panose="020B0503020204020204" pitchFamily="34" charset="-122"/>
              <a:ea typeface="微软雅黑" panose="020B0503020204020204" pitchFamily="34" charset="-122"/>
            </a:endParaRP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a:t>
            </a:r>
            <a:r>
              <a:rPr lang="en-US" altLang="zh-CN" sz="1400" dirty="0">
                <a:latin typeface="微软雅黑" panose="020B0503020204020204" pitchFamily="34" charset="-122"/>
                <a:ea typeface="微软雅黑" panose="020B0503020204020204" pitchFamily="34" charset="-122"/>
                <a:sym typeface="+mn-ea"/>
              </a:rPr>
              <a:t>3</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门上小五金安装位置适宜，固定牢固，无划痕。</a:t>
            </a: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a:t>
            </a:r>
            <a:r>
              <a:rPr lang="en-US" altLang="zh-CN" sz="1400" dirty="0">
                <a:latin typeface="微软雅黑" panose="020B0503020204020204" pitchFamily="34" charset="-122"/>
                <a:ea typeface="微软雅黑" panose="020B0503020204020204" pitchFamily="34" charset="-122"/>
                <a:sym typeface="+mn-ea"/>
              </a:rPr>
              <a:t>3</a:t>
            </a:r>
            <a:r>
              <a:rPr lang="zh-CN" altLang="en-US" sz="1400" dirty="0">
                <a:latin typeface="微软雅黑" panose="020B0503020204020204" pitchFamily="34" charset="-122"/>
                <a:ea typeface="微软雅黑" panose="020B0503020204020204" pitchFamily="34" charset="-122"/>
                <a:sym typeface="+mn-ea"/>
              </a:rPr>
              <a:t>、收纳系统：</a:t>
            </a:r>
          </a:p>
          <a:p>
            <a:pPr algn="just">
              <a:lnSpc>
                <a:spcPct val="150000"/>
              </a:lnSpc>
            </a:pPr>
            <a:r>
              <a:rPr lang="en-US" altLang="zh-CN" sz="1400" dirty="0">
                <a:latin typeface="微软雅黑" panose="020B0503020204020204" pitchFamily="34" charset="-122"/>
                <a:ea typeface="微软雅黑" panose="020B0503020204020204" pitchFamily="34" charset="-122"/>
                <a:sym typeface="+mn-ea"/>
              </a:rPr>
              <a:t>      1</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造型、结构和安装位置应符合设计要求。橱柜表面应砂磨光滑，无毛刺或锤痕。采用贴面材料时，应粘贴平整牢固，不脱胶，边角处不起翘。橱柜台而应光滑平整。橱门和抽屉应安装牢固，开关灵活，下口与底边下口位置平行。</a:t>
            </a:r>
            <a:endParaRPr lang="zh-CN" altLang="zh-CN" sz="1400" b="0" dirty="0">
              <a:latin typeface="微软雅黑" panose="020B0503020204020204" pitchFamily="34" charset="-122"/>
              <a:ea typeface="微软雅黑" panose="020B0503020204020204" pitchFamily="34" charset="-122"/>
            </a:endParaRP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a:t>
            </a:r>
            <a:r>
              <a:rPr lang="en-US" altLang="zh-CN" sz="1400" dirty="0">
                <a:latin typeface="微软雅黑" panose="020B0503020204020204" pitchFamily="34" charset="-122"/>
                <a:ea typeface="微软雅黑" panose="020B0503020204020204" pitchFamily="34" charset="-122"/>
                <a:sym typeface="+mn-ea"/>
              </a:rPr>
              <a:t>2</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配件应齐全，安装应牢固、正确。</a:t>
            </a: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a:t>
            </a:r>
            <a:r>
              <a:rPr lang="en-US" altLang="zh-CN" sz="1400" dirty="0">
                <a:latin typeface="微软雅黑" panose="020B0503020204020204" pitchFamily="34" charset="-122"/>
                <a:ea typeface="微软雅黑" panose="020B0503020204020204" pitchFamily="34" charset="-122"/>
                <a:sym typeface="+mn-ea"/>
              </a:rPr>
              <a:t>4</a:t>
            </a:r>
            <a:r>
              <a:rPr lang="zh-CN" altLang="en-US" sz="1400" dirty="0">
                <a:latin typeface="微软雅黑" panose="020B0503020204020204" pitchFamily="34" charset="-122"/>
                <a:ea typeface="微软雅黑" panose="020B0503020204020204" pitchFamily="34" charset="-122"/>
                <a:sym typeface="+mn-ea"/>
              </a:rPr>
              <a:t>、</a:t>
            </a:r>
            <a:r>
              <a:rPr lang="zh-CN" altLang="zh-CN" sz="1400" dirty="0">
                <a:latin typeface="微软雅黑" panose="020B0503020204020204" pitchFamily="34" charset="-122"/>
                <a:ea typeface="微软雅黑" panose="020B0503020204020204" pitchFamily="34" charset="-122"/>
                <a:sym typeface="+mn-ea"/>
              </a:rPr>
              <a:t>木地板铺装：</a:t>
            </a:r>
            <a:endParaRPr lang="zh-CN" altLang="en-US" sz="1400" dirty="0">
              <a:latin typeface="微软雅黑" panose="020B0503020204020204" pitchFamily="34" charset="-122"/>
              <a:ea typeface="微软雅黑" panose="020B0503020204020204" pitchFamily="34" charset="-122"/>
              <a:sym typeface="+mn-ea"/>
            </a:endParaRPr>
          </a:p>
          <a:p>
            <a:pPr algn="just">
              <a:lnSpc>
                <a:spcPct val="150000"/>
              </a:lnSpc>
            </a:pPr>
            <a:r>
              <a:rPr lang="zh-CN" altLang="zh-CN" sz="1400" dirty="0">
                <a:latin typeface="微软雅黑" panose="020B0503020204020204" pitchFamily="34" charset="-122"/>
                <a:ea typeface="微软雅黑" panose="020B0503020204020204" pitchFamily="34" charset="-122"/>
                <a:sym typeface="+mn-ea"/>
              </a:rPr>
              <a:t>       木地板表面应洁净，无沾污、磨痕、毛刺等现象。木搁栅安装应牢固，木搁栅的含水率应</a:t>
            </a:r>
            <a:r>
              <a:rPr lang="en-US" altLang="zh-CN" sz="1400" dirty="0">
                <a:latin typeface="微软雅黑" panose="020B0503020204020204" pitchFamily="34" charset="-122"/>
                <a:ea typeface="微软雅黑" panose="020B0503020204020204" pitchFamily="34" charset="-122"/>
                <a:sym typeface="+mn-ea"/>
              </a:rPr>
              <a:t>≤16.0</a:t>
            </a:r>
            <a:r>
              <a:rPr lang="zh-CN" altLang="zh-CN" sz="1400" dirty="0">
                <a:latin typeface="微软雅黑" panose="020B0503020204020204" pitchFamily="34" charset="-122"/>
                <a:ea typeface="微软雅黑" panose="020B0503020204020204" pitchFamily="34" charset="-122"/>
                <a:sym typeface="+mn-ea"/>
              </a:rPr>
              <a:t>％。地板铺设应无松动，行走时无明显响声。地板与墙面之间应留</a:t>
            </a:r>
            <a:r>
              <a:rPr lang="en-US" altLang="zh-CN" sz="1400" dirty="0">
                <a:latin typeface="微软雅黑" panose="020B0503020204020204" pitchFamily="34" charset="-122"/>
                <a:ea typeface="微软雅黑" panose="020B0503020204020204" pitchFamily="34" charset="-122"/>
                <a:sym typeface="+mn-ea"/>
              </a:rPr>
              <a:t>10mm</a:t>
            </a:r>
            <a:r>
              <a:rPr lang="zh-CN" altLang="zh-CN" sz="1400" dirty="0">
                <a:latin typeface="微软雅黑" panose="020B0503020204020204" pitchFamily="34" charset="-122"/>
                <a:ea typeface="微软雅黑" panose="020B0503020204020204" pitchFamily="34" charset="-122"/>
                <a:sym typeface="+mn-ea"/>
              </a:rPr>
              <a:t>的伸缩缝。</a:t>
            </a:r>
            <a:r>
              <a:rPr lang="zh-CN" altLang="en-US" sz="1400" dirty="0" smtClean="0">
                <a:solidFill>
                  <a:srgbClr val="000000"/>
                </a:solidFill>
                <a:latin typeface="+mn-ea"/>
                <a:cs typeface="+mn-ea"/>
                <a:sym typeface="+mn-ea"/>
              </a:rPr>
              <a:t>    </a:t>
            </a:r>
            <a:r>
              <a:rPr lang="zh-CN" sz="1400" dirty="0" smtClean="0">
                <a:solidFill>
                  <a:srgbClr val="000000"/>
                </a:solidFill>
                <a:latin typeface="+mn-ea"/>
                <a:cs typeface="+mn-ea"/>
                <a:sym typeface="+mn-ea"/>
              </a:rPr>
              <a:t>   </a:t>
            </a:r>
          </a:p>
          <a:p>
            <a:pPr>
              <a:lnSpc>
                <a:spcPct val="150000"/>
              </a:lnSpc>
            </a:pPr>
            <a:r>
              <a:rPr lang="zh-CN" altLang="en-US" sz="1400" b="1" dirty="0" smtClean="0">
                <a:solidFill>
                  <a:srgbClr val="000000"/>
                </a:solidFill>
                <a:latin typeface="+mn-ea"/>
                <a:cs typeface="+mn-ea"/>
                <a:sym typeface="+mn-ea"/>
              </a:rPr>
              <a:t>工作目的：</a:t>
            </a:r>
            <a:endParaRPr lang="en-US" altLang="zh-CN" sz="1400" b="1" dirty="0">
              <a:solidFill>
                <a:srgbClr val="000000"/>
              </a:solidFill>
              <a:latin typeface="+mn-ea"/>
              <a:cs typeface="+mn-ea"/>
            </a:endParaRPr>
          </a:p>
          <a:p>
            <a:pPr>
              <a:lnSpc>
                <a:spcPct val="150000"/>
              </a:lnSpc>
            </a:pPr>
            <a:r>
              <a:rPr lang="zh-CN" altLang="en-US" sz="1400" dirty="0" smtClean="0">
                <a:solidFill>
                  <a:srgbClr val="000000"/>
                </a:solidFill>
                <a:latin typeface="+mn-ea"/>
                <a:cs typeface="+mn-ea"/>
                <a:sym typeface="+mn-ea"/>
              </a:rPr>
              <a:t>      提高观感质量，降低交付风险。</a:t>
            </a:r>
            <a:r>
              <a:rPr lang="en-US" altLang="zh-CN" sz="1400" dirty="0">
                <a:solidFill>
                  <a:srgbClr val="000000"/>
                </a:solidFill>
                <a:latin typeface="+mn-ea"/>
                <a:cs typeface="+mn-ea"/>
                <a:sym typeface="+mn-ea"/>
              </a:rPr>
              <a:t> </a:t>
            </a:r>
            <a:r>
              <a:rPr lang="zh-CN" altLang="zh-CN" sz="1400" dirty="0">
                <a:latin typeface="微软雅黑" panose="020B0503020204020204" pitchFamily="34" charset="-122"/>
                <a:ea typeface="微软雅黑" panose="020B0503020204020204" pitchFamily="34" charset="-122"/>
                <a:sym typeface="+mn-ea"/>
              </a:rPr>
              <a:t> </a:t>
            </a:r>
            <a:r>
              <a:rPr lang="zh-CN" altLang="en-US" sz="1400" dirty="0">
                <a:solidFill>
                  <a:schemeClr val="tx1"/>
                </a:solidFill>
                <a:latin typeface="+mn-ea"/>
                <a:cs typeface="+mn-ea"/>
              </a:rPr>
              <a:t>    </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p:zoom dir="in"/>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饰面安装质量   </a:t>
            </a:r>
            <a:r>
              <a:rPr lang="zh-CN" altLang="en-US" sz="1800" dirty="0">
                <a:latin typeface="微软雅黑" panose="020B0503020204020204" pitchFamily="34" charset="-122"/>
                <a:ea typeface="微软雅黑" panose="020B0503020204020204" pitchFamily="34" charset="-122"/>
                <a:sym typeface="+mn-ea"/>
              </a:rPr>
              <a:t>验收要求及方法</a:t>
            </a:r>
            <a:endParaRPr lang="zh-CN" altLang="en-US" sz="1800" b="1" dirty="0" smtClean="0">
              <a:solidFill>
                <a:srgbClr val="000000"/>
              </a:solidFill>
              <a:cs typeface="+mn-ea"/>
              <a:sym typeface="+mn-ea"/>
            </a:endParaRPr>
          </a:p>
        </p:txBody>
      </p:sp>
      <p:graphicFrame>
        <p:nvGraphicFramePr>
          <p:cNvPr id="6" name="表格 5"/>
          <p:cNvGraphicFramePr>
            <a:graphicFrameLocks noGrp="1"/>
          </p:cNvGraphicFramePr>
          <p:nvPr/>
        </p:nvGraphicFramePr>
        <p:xfrm>
          <a:off x="988794" y="2081283"/>
          <a:ext cx="10115550" cy="4056380"/>
        </p:xfrm>
        <a:graphic>
          <a:graphicData uri="http://schemas.openxmlformats.org/drawingml/2006/table">
            <a:tbl>
              <a:tblPr>
                <a:tableStyleId>{5C22544A-7EE6-4342-B048-85BDC9FD1C3A}</a:tableStyleId>
              </a:tblPr>
              <a:tblGrid>
                <a:gridCol w="608330">
                  <a:extLst>
                    <a:ext uri="{9D8B030D-6E8A-4147-A177-3AD203B41FA5}">
                      <a16:colId xmlns:a16="http://schemas.microsoft.com/office/drawing/2014/main" val="20000"/>
                    </a:ext>
                  </a:extLst>
                </a:gridCol>
                <a:gridCol w="1691640">
                  <a:extLst>
                    <a:ext uri="{9D8B030D-6E8A-4147-A177-3AD203B41FA5}">
                      <a16:colId xmlns:a16="http://schemas.microsoft.com/office/drawing/2014/main" val="20001"/>
                    </a:ext>
                  </a:extLst>
                </a:gridCol>
                <a:gridCol w="2035175">
                  <a:extLst>
                    <a:ext uri="{9D8B030D-6E8A-4147-A177-3AD203B41FA5}">
                      <a16:colId xmlns:a16="http://schemas.microsoft.com/office/drawing/2014/main" val="20002"/>
                    </a:ext>
                  </a:extLst>
                </a:gridCol>
                <a:gridCol w="1825625">
                  <a:extLst>
                    <a:ext uri="{9D8B030D-6E8A-4147-A177-3AD203B41FA5}">
                      <a16:colId xmlns:a16="http://schemas.microsoft.com/office/drawing/2014/main" val="20003"/>
                    </a:ext>
                  </a:extLst>
                </a:gridCol>
                <a:gridCol w="2509520">
                  <a:extLst>
                    <a:ext uri="{9D8B030D-6E8A-4147-A177-3AD203B41FA5}">
                      <a16:colId xmlns:a16="http://schemas.microsoft.com/office/drawing/2014/main" val="20004"/>
                    </a:ext>
                  </a:extLst>
                </a:gridCol>
                <a:gridCol w="1445260">
                  <a:extLst>
                    <a:ext uri="{9D8B030D-6E8A-4147-A177-3AD203B41FA5}">
                      <a16:colId xmlns:a16="http://schemas.microsoft.com/office/drawing/2014/main" val="20005"/>
                    </a:ext>
                  </a:extLst>
                </a:gridCol>
              </a:tblGrid>
              <a:tr h="364490">
                <a:tc row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序号</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项目</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质量要求及允许偏差</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验收方法</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rowSpan="2">
                  <a:txBody>
                    <a:bodyPr/>
                    <a:lstStyle/>
                    <a:p>
                      <a:pPr algn="ctr">
                        <a:spcAft>
                          <a:spcPts val="0"/>
                        </a:spcAft>
                      </a:pPr>
                      <a:r>
                        <a:rPr lang="zh-CN" altLang="en-US" sz="1595" b="1" kern="100" dirty="0" smtClean="0">
                          <a:effectLst/>
                          <a:latin typeface="微软雅黑" panose="020B0503020204020204" pitchFamily="34" charset="-122"/>
                          <a:ea typeface="微软雅黑" panose="020B0503020204020204" pitchFamily="34" charset="-122"/>
                          <a:cs typeface="Times New Roman" panose="02020603050405020304"/>
                        </a:rPr>
                        <a:t>说明</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531495">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algn="ctr">
                        <a:spcAft>
                          <a:spcPts val="0"/>
                        </a:spcAft>
                      </a:pPr>
                      <a:r>
                        <a:rPr lang="zh-CN" altLang="en-US" sz="1595" b="1" kern="100" dirty="0" smtClean="0">
                          <a:effectLst/>
                          <a:latin typeface="微软雅黑" panose="020B0503020204020204" pitchFamily="34" charset="-122"/>
                          <a:ea typeface="微软雅黑" panose="020B0503020204020204" pitchFamily="34" charset="-122"/>
                          <a:cs typeface="Times New Roman" panose="02020603050405020304"/>
                        </a:rPr>
                        <a:t>检验方法、工具</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b="1" kern="100" dirty="0" smtClean="0">
                          <a:effectLst/>
                          <a:latin typeface="微软雅黑" panose="020B0503020204020204" pitchFamily="34" charset="-122"/>
                          <a:ea typeface="微软雅黑" panose="020B0503020204020204" pitchFamily="34" charset="-122"/>
                          <a:cs typeface="Times New Roman" panose="02020603050405020304"/>
                        </a:rPr>
                        <a:t>检验数量</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extLst>
                  <a:ext uri="{0D108BD9-81ED-4DB2-BD59-A6C34878D82A}">
                    <a16:rowId xmlns:a16="http://schemas.microsoft.com/office/drawing/2014/main" val="10001"/>
                  </a:ext>
                </a:extLst>
              </a:tr>
              <a:tr h="393065">
                <a:tc>
                  <a:txBody>
                    <a:bodyPr/>
                    <a:lstStyle/>
                    <a:p>
                      <a:pPr algn="ctr">
                        <a:spcAft>
                          <a:spcPts val="0"/>
                        </a:spcAft>
                      </a:pPr>
                      <a:r>
                        <a:rPr lang="en-US" sz="1595" kern="0">
                          <a:effectLst/>
                          <a:latin typeface="微软雅黑" panose="020B0503020204020204" pitchFamily="34" charset="-122"/>
                          <a:ea typeface="微软雅黑" panose="020B0503020204020204" pitchFamily="34" charset="-122"/>
                        </a:rPr>
                        <a:t>1</a:t>
                      </a:r>
                      <a:endParaRPr lang="zh-CN" sz="1595" kern="10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595" kern="0" dirty="0">
                          <a:effectLst/>
                          <a:latin typeface="微软雅黑" panose="020B0503020204020204" pitchFamily="34" charset="-122"/>
                          <a:ea typeface="微软雅黑" panose="020B0503020204020204" pitchFamily="34" charset="-122"/>
                        </a:rPr>
                        <a:t>安装</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595" kern="0" dirty="0">
                          <a:effectLst/>
                          <a:latin typeface="微软雅黑" panose="020B0503020204020204" pitchFamily="34" charset="-122"/>
                          <a:ea typeface="微软雅黑" panose="020B0503020204020204" pitchFamily="34" charset="-122"/>
                        </a:rPr>
                        <a:t>牢固</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595" b="0" kern="0" dirty="0" smtClean="0">
                          <a:solidFill>
                            <a:schemeClr val="tx1"/>
                          </a:solidFill>
                          <a:effectLst/>
                          <a:latin typeface="微软雅黑" panose="020B0503020204020204" pitchFamily="34" charset="-122"/>
                          <a:ea typeface="微软雅黑" panose="020B0503020204020204" pitchFamily="34" charset="-122"/>
                        </a:rPr>
                        <a:t>手</a:t>
                      </a:r>
                      <a:r>
                        <a:rPr lang="zh-CN" altLang="en-US" sz="1595" b="0" kern="0" dirty="0" smtClean="0">
                          <a:solidFill>
                            <a:schemeClr val="tx1"/>
                          </a:solidFill>
                          <a:effectLst/>
                          <a:latin typeface="微软雅黑" panose="020B0503020204020204" pitchFamily="34" charset="-122"/>
                          <a:ea typeface="微软雅黑" panose="020B0503020204020204" pitchFamily="34" charset="-122"/>
                        </a:rPr>
                        <a:t>扳检查</a:t>
                      </a:r>
                      <a:endParaRPr lang="zh-CN" sz="1595" b="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spcAft>
                          <a:spcPts val="0"/>
                        </a:spcAft>
                      </a:pPr>
                      <a:r>
                        <a:rPr lang="zh-CN" sz="1595" kern="0" dirty="0">
                          <a:effectLst/>
                          <a:latin typeface="微软雅黑" panose="020B0503020204020204" pitchFamily="34" charset="-122"/>
                          <a:ea typeface="微软雅黑" panose="020B0503020204020204" pitchFamily="34" charset="-122"/>
                        </a:rPr>
                        <a:t>全检</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100" dirty="0" smtClean="0">
                          <a:effectLst/>
                          <a:latin typeface="微软雅黑" panose="020B0503020204020204" pitchFamily="34" charset="-122"/>
                          <a:ea typeface="微软雅黑" panose="020B0503020204020204" pitchFamily="34" charset="-122"/>
                          <a:cs typeface="Times New Roman" panose="02020603050405020304"/>
                        </a:rPr>
                        <a:t>现场观察</a:t>
                      </a:r>
                      <a:endParaRPr lang="zh-CN" alt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975360">
                <a:tc>
                  <a:txBody>
                    <a:bodyPr/>
                    <a:lstStyle/>
                    <a:p>
                      <a:pPr algn="ctr">
                        <a:spcAft>
                          <a:spcPts val="0"/>
                        </a:spcAft>
                      </a:pPr>
                      <a:r>
                        <a:rPr lang="en-US" sz="1595" kern="0" dirty="0">
                          <a:effectLst/>
                          <a:latin typeface="微软雅黑" panose="020B0503020204020204" pitchFamily="34" charset="-122"/>
                          <a:ea typeface="微软雅黑" panose="020B0503020204020204" pitchFamily="34" charset="-122"/>
                        </a:rPr>
                        <a:t>2</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595" kern="0">
                          <a:effectLst/>
                          <a:latin typeface="微软雅黑" panose="020B0503020204020204" pitchFamily="34" charset="-122"/>
                          <a:ea typeface="微软雅黑" panose="020B0503020204020204" pitchFamily="34" charset="-122"/>
                        </a:rPr>
                        <a:t>外观</a:t>
                      </a:r>
                      <a:endParaRPr lang="zh-CN" sz="1595" kern="10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zh-CN" sz="1595" b="0" dirty="0" smtClean="0">
                          <a:latin typeface="微软雅黑" panose="020B0503020204020204" pitchFamily="34" charset="-122"/>
                          <a:ea typeface="微软雅黑" panose="020B0503020204020204" pitchFamily="34" charset="-122"/>
                        </a:rPr>
                        <a:t>表面光洁，木纹朝向一致，接缝紧密，棱边、棱角光滑，缝隙均匀。</a:t>
                      </a:r>
                      <a:endParaRPr lang="zh-CN" sz="1595"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595" kern="0" dirty="0" smtClean="0">
                          <a:solidFill>
                            <a:schemeClr val="tx1"/>
                          </a:solidFill>
                          <a:effectLst/>
                          <a:latin typeface="微软雅黑" panose="020B0503020204020204" pitchFamily="34" charset="-122"/>
                          <a:ea typeface="微软雅黑" panose="020B0503020204020204" pitchFamily="34" charset="-122"/>
                        </a:rPr>
                        <a:t>目测</a:t>
                      </a:r>
                      <a:endParaRPr lang="zh-CN" sz="15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a:txBody>
                    <a:bodyPr/>
                    <a:lstStyle/>
                    <a:p>
                      <a:pPr algn="ctr">
                        <a:spcAft>
                          <a:spcPts val="0"/>
                        </a:spcAft>
                      </a:pPr>
                      <a:r>
                        <a:rPr lang="zh-CN" altLang="en-US" sz="1595" kern="100" dirty="0" smtClean="0">
                          <a:effectLst/>
                          <a:latin typeface="微软雅黑" panose="020B0503020204020204" pitchFamily="34" charset="-122"/>
                          <a:ea typeface="微软雅黑" panose="020B0503020204020204" pitchFamily="34" charset="-122"/>
                          <a:cs typeface="Times New Roman" panose="02020603050405020304"/>
                        </a:rPr>
                        <a:t>现场观察</a:t>
                      </a:r>
                      <a:endParaRPr lang="zh-CN" alt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48310">
                <a:tc>
                  <a:txBody>
                    <a:bodyPr/>
                    <a:lstStyle/>
                    <a:p>
                      <a:pPr algn="ctr">
                        <a:spcAft>
                          <a:spcPts val="0"/>
                        </a:spcAft>
                      </a:pPr>
                      <a:r>
                        <a:rPr lang="en-US" altLang="zh-CN" sz="1595" kern="100" dirty="0" smtClean="0">
                          <a:effectLst/>
                          <a:latin typeface="微软雅黑" panose="020B0503020204020204" pitchFamily="34" charset="-122"/>
                          <a:ea typeface="微软雅黑" panose="020B0503020204020204" pitchFamily="34" charset="-122"/>
                          <a:cs typeface="Times New Roman" panose="02020603050405020304"/>
                        </a:rPr>
                        <a:t>3</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0" dirty="0" smtClean="0">
                          <a:effectLst/>
                          <a:latin typeface="微软雅黑" panose="020B0503020204020204" pitchFamily="34" charset="-122"/>
                          <a:ea typeface="微软雅黑" panose="020B0503020204020204" pitchFamily="34" charset="-122"/>
                        </a:rPr>
                        <a:t>面层</a:t>
                      </a:r>
                      <a:r>
                        <a:rPr lang="zh-CN" sz="1595" kern="0" dirty="0" smtClean="0">
                          <a:effectLst/>
                          <a:latin typeface="微软雅黑" panose="020B0503020204020204" pitchFamily="34" charset="-122"/>
                          <a:ea typeface="微软雅黑" panose="020B0503020204020204" pitchFamily="34" charset="-122"/>
                        </a:rPr>
                        <a:t>垂直</a:t>
                      </a:r>
                      <a:r>
                        <a:rPr lang="zh-CN" sz="1595" kern="0" dirty="0">
                          <a:effectLst/>
                          <a:latin typeface="微软雅黑" panose="020B0503020204020204" pitchFamily="34" charset="-122"/>
                          <a:ea typeface="微软雅黑" panose="020B0503020204020204" pitchFamily="34" charset="-122"/>
                        </a:rPr>
                        <a:t>度</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sz="1595" kern="0" dirty="0" smtClean="0">
                          <a:effectLst/>
                          <a:latin typeface="微软雅黑" panose="020B0503020204020204" pitchFamily="34" charset="-122"/>
                          <a:ea typeface="微软雅黑" panose="020B0503020204020204" pitchFamily="34" charset="-122"/>
                        </a:rPr>
                        <a:t>≤</a:t>
                      </a:r>
                      <a:r>
                        <a:rPr lang="en-US" altLang="zh-CN" sz="1595" kern="0" dirty="0" smtClean="0">
                          <a:effectLst/>
                          <a:latin typeface="微软雅黑" panose="020B0503020204020204" pitchFamily="34" charset="-122"/>
                          <a:ea typeface="微软雅黑" panose="020B0503020204020204" pitchFamily="34" charset="-122"/>
                        </a:rPr>
                        <a:t>1.5mm</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altLang="zh-CN" sz="1595" kern="0" dirty="0" smtClean="0">
                          <a:solidFill>
                            <a:schemeClr val="tx1"/>
                          </a:solidFill>
                          <a:effectLst/>
                          <a:latin typeface="微软雅黑" panose="020B0503020204020204" pitchFamily="34" charset="-122"/>
                          <a:ea typeface="微软雅黑" panose="020B0503020204020204" pitchFamily="34" charset="-122"/>
                        </a:rPr>
                        <a:t>2m</a:t>
                      </a:r>
                      <a:r>
                        <a:rPr lang="zh-CN" altLang="zh-CN" sz="1595" kern="0" dirty="0" smtClean="0">
                          <a:solidFill>
                            <a:schemeClr val="tx1"/>
                          </a:solidFill>
                          <a:effectLst/>
                          <a:latin typeface="微软雅黑" panose="020B0503020204020204" pitchFamily="34" charset="-122"/>
                          <a:ea typeface="微软雅黑" panose="020B0503020204020204" pitchFamily="34" charset="-122"/>
                        </a:rPr>
                        <a:t>靠尺</a:t>
                      </a:r>
                      <a:r>
                        <a:rPr lang="zh-CN" altLang="en-US" sz="1595" kern="0" dirty="0" smtClean="0">
                          <a:solidFill>
                            <a:schemeClr val="tx1"/>
                          </a:solidFill>
                          <a:effectLst/>
                          <a:latin typeface="微软雅黑" panose="020B0503020204020204" pitchFamily="34" charset="-122"/>
                          <a:ea typeface="微软雅黑" panose="020B0503020204020204" pitchFamily="34" charset="-122"/>
                        </a:rPr>
                        <a:t>和</a:t>
                      </a:r>
                      <a:r>
                        <a:rPr lang="zh-CN" altLang="zh-CN" sz="1595" kern="0" dirty="0" smtClean="0">
                          <a:solidFill>
                            <a:schemeClr val="tx1"/>
                          </a:solidFill>
                          <a:effectLst/>
                          <a:latin typeface="微软雅黑" panose="020B0503020204020204" pitchFamily="34" charset="-122"/>
                          <a:ea typeface="微软雅黑" panose="020B0503020204020204" pitchFamily="34" charset="-122"/>
                        </a:rPr>
                        <a:t>塞尺</a:t>
                      </a:r>
                      <a:endParaRPr lang="zh-CN" altLang="zh-CN" sz="15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algn="ctr">
                        <a:spcAft>
                          <a:spcPts val="0"/>
                        </a:spcAft>
                      </a:pPr>
                      <a:r>
                        <a:rPr lang="zh-CN" altLang="en-US" sz="1595" kern="0" dirty="0" smtClean="0">
                          <a:effectLst/>
                          <a:latin typeface="微软雅黑" panose="020B0503020204020204" pitchFamily="34" charset="-122"/>
                          <a:ea typeface="微软雅黑" panose="020B0503020204020204" pitchFamily="34" charset="-122"/>
                        </a:rPr>
                        <a:t>每</a:t>
                      </a:r>
                      <a:r>
                        <a:rPr lang="en-US" altLang="zh-CN" sz="1595" kern="0" dirty="0" smtClean="0">
                          <a:effectLst/>
                          <a:latin typeface="微软雅黑" panose="020B0503020204020204" pitchFamily="34" charset="-122"/>
                          <a:ea typeface="微软雅黑" panose="020B0503020204020204" pitchFamily="34" charset="-122"/>
                        </a:rPr>
                        <a:t>50</a:t>
                      </a:r>
                      <a:r>
                        <a:rPr lang="zh-CN" altLang="en-US" sz="1595" kern="0" dirty="0" smtClean="0">
                          <a:effectLst/>
                          <a:latin typeface="微软雅黑" panose="020B0503020204020204" pitchFamily="34" charset="-122"/>
                          <a:ea typeface="微软雅黑" panose="020B0503020204020204" pitchFamily="34" charset="-122"/>
                        </a:rPr>
                        <a:t>个房间一个检验批，每个检验批抽检≥</a:t>
                      </a:r>
                      <a:r>
                        <a:rPr lang="en-US" altLang="zh-CN" sz="1595" kern="0" dirty="0" smtClean="0">
                          <a:effectLst/>
                          <a:latin typeface="微软雅黑" panose="020B0503020204020204" pitchFamily="34" charset="-122"/>
                          <a:ea typeface="微软雅黑" panose="020B0503020204020204" pitchFamily="34" charset="-122"/>
                        </a:rPr>
                        <a:t>10%</a:t>
                      </a:r>
                      <a:r>
                        <a:rPr lang="zh-CN" altLang="en-US" sz="1595" kern="0" dirty="0" smtClean="0">
                          <a:effectLst/>
                          <a:latin typeface="微软雅黑" panose="020B0503020204020204" pitchFamily="34" charset="-122"/>
                          <a:ea typeface="微软雅黑" panose="020B0503020204020204" pitchFamily="34" charset="-122"/>
                        </a:rPr>
                        <a:t>，并不得少于三间，（抽中房间应全检）</a:t>
                      </a:r>
                      <a:endParaRPr lang="zh-CN" altLang="en-US" sz="1595" kern="0" dirty="0">
                        <a:effectLst/>
                        <a:latin typeface="微软雅黑" panose="020B0503020204020204" pitchFamily="34" charset="-122"/>
                        <a:ea typeface="微软雅黑" panose="020B0503020204020204" pitchFamily="34" charset="-122"/>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0" dirty="0">
                          <a:effectLst/>
                          <a:latin typeface="微软雅黑" panose="020B0503020204020204" pitchFamily="34" charset="-122"/>
                          <a:ea typeface="微软雅黑" panose="020B0503020204020204" pitchFamily="34" charset="-122"/>
                          <a:cs typeface="+mn-cs"/>
                        </a:rPr>
                        <a:t>实测实量</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48310">
                <a:tc>
                  <a:txBody>
                    <a:bodyPr/>
                    <a:lstStyle/>
                    <a:p>
                      <a:pPr algn="ctr">
                        <a:spcAft>
                          <a:spcPts val="0"/>
                        </a:spcAft>
                      </a:pPr>
                      <a:r>
                        <a:rPr lang="en-US" altLang="zh-CN" sz="1595" kern="0" dirty="0">
                          <a:effectLst/>
                          <a:latin typeface="微软雅黑" panose="020B0503020204020204" pitchFamily="34" charset="-122"/>
                          <a:ea typeface="微软雅黑" panose="020B0503020204020204" pitchFamily="34" charset="-122"/>
                          <a:cs typeface="+mn-cs"/>
                        </a:rPr>
                        <a:t>4</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0" dirty="0" smtClean="0">
                          <a:effectLst/>
                          <a:latin typeface="微软雅黑" panose="020B0503020204020204" pitchFamily="34" charset="-122"/>
                          <a:ea typeface="微软雅黑" panose="020B0503020204020204" pitchFamily="34" charset="-122"/>
                        </a:rPr>
                        <a:t>面层</a:t>
                      </a:r>
                      <a:r>
                        <a:rPr lang="zh-CN" sz="1595" kern="0" dirty="0" smtClean="0">
                          <a:effectLst/>
                          <a:latin typeface="微软雅黑" panose="020B0503020204020204" pitchFamily="34" charset="-122"/>
                          <a:ea typeface="微软雅黑" panose="020B0503020204020204" pitchFamily="34" charset="-122"/>
                        </a:rPr>
                        <a:t>表面平整度</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sz="1595" kern="0" dirty="0">
                          <a:effectLst/>
                          <a:latin typeface="微软雅黑" panose="020B0503020204020204" pitchFamily="34" charset="-122"/>
                          <a:ea typeface="微软雅黑" panose="020B0503020204020204" pitchFamily="34" charset="-122"/>
                        </a:rPr>
                        <a:t>≤</a:t>
                      </a:r>
                      <a:r>
                        <a:rPr lang="en-US" sz="1595" kern="0" dirty="0" smtClean="0">
                          <a:effectLst/>
                          <a:latin typeface="微软雅黑" panose="020B0503020204020204" pitchFamily="34" charset="-122"/>
                          <a:ea typeface="微软雅黑" panose="020B0503020204020204" pitchFamily="34" charset="-122"/>
                        </a:rPr>
                        <a:t>1.0mm</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595" kern="0" dirty="0" smtClean="0">
                          <a:solidFill>
                            <a:schemeClr val="tx1"/>
                          </a:solidFill>
                          <a:effectLst/>
                          <a:latin typeface="微软雅黑" panose="020B0503020204020204" pitchFamily="34" charset="-122"/>
                          <a:ea typeface="微软雅黑" panose="020B0503020204020204" pitchFamily="34" charset="-122"/>
                        </a:rPr>
                        <a:t>2m</a:t>
                      </a:r>
                      <a:r>
                        <a:rPr lang="zh-CN" altLang="zh-CN" sz="1595" kern="0" dirty="0" smtClean="0">
                          <a:solidFill>
                            <a:schemeClr val="tx1"/>
                          </a:solidFill>
                          <a:effectLst/>
                          <a:latin typeface="微软雅黑" panose="020B0503020204020204" pitchFamily="34" charset="-122"/>
                          <a:ea typeface="微软雅黑" panose="020B0503020204020204" pitchFamily="34" charset="-122"/>
                        </a:rPr>
                        <a:t>靠尺</a:t>
                      </a:r>
                      <a:r>
                        <a:rPr lang="zh-CN" altLang="en-US" sz="1595" kern="0" dirty="0" smtClean="0">
                          <a:solidFill>
                            <a:schemeClr val="tx1"/>
                          </a:solidFill>
                          <a:effectLst/>
                          <a:latin typeface="微软雅黑" panose="020B0503020204020204" pitchFamily="34" charset="-122"/>
                          <a:ea typeface="微软雅黑" panose="020B0503020204020204" pitchFamily="34" charset="-122"/>
                        </a:rPr>
                        <a:t>和</a:t>
                      </a:r>
                      <a:r>
                        <a:rPr lang="zh-CN" altLang="zh-CN" sz="1595" kern="0" dirty="0" smtClean="0">
                          <a:solidFill>
                            <a:schemeClr val="tx1"/>
                          </a:solidFill>
                          <a:effectLst/>
                          <a:latin typeface="微软雅黑" panose="020B0503020204020204" pitchFamily="34" charset="-122"/>
                          <a:ea typeface="微软雅黑" panose="020B0503020204020204" pitchFamily="34" charset="-122"/>
                        </a:rPr>
                        <a:t>塞尺</a:t>
                      </a:r>
                      <a:endParaRPr lang="zh-CN" altLang="zh-CN" sz="15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a:txBody>
                    <a:bodyPr/>
                    <a:lstStyle/>
                    <a:p>
                      <a:pPr algn="ctr">
                        <a:spcAft>
                          <a:spcPts val="0"/>
                        </a:spcAft>
                      </a:pPr>
                      <a:r>
                        <a:rPr lang="zh-CN" altLang="en-US" sz="1595" kern="0" dirty="0">
                          <a:effectLst/>
                          <a:latin typeface="微软雅黑" panose="020B0503020204020204" pitchFamily="34" charset="-122"/>
                          <a:ea typeface="微软雅黑" panose="020B0503020204020204" pitchFamily="34" charset="-122"/>
                          <a:cs typeface="+mn-cs"/>
                        </a:rPr>
                        <a:t>实测实</a:t>
                      </a:r>
                      <a:r>
                        <a:rPr lang="zh-CN" altLang="en-US" sz="1595" kern="0" dirty="0" smtClean="0">
                          <a:effectLst/>
                          <a:latin typeface="微软雅黑" panose="020B0503020204020204" pitchFamily="34" charset="-122"/>
                          <a:ea typeface="微软雅黑" panose="020B0503020204020204" pitchFamily="34" charset="-122"/>
                          <a:cs typeface="+mn-cs"/>
                        </a:rPr>
                        <a:t>量</a:t>
                      </a:r>
                      <a:endParaRPr lang="en-US" altLang="zh-CN" sz="1595" kern="0" dirty="0" smtClean="0">
                        <a:effectLst/>
                        <a:latin typeface="微软雅黑" panose="020B0503020204020204" pitchFamily="34" charset="-122"/>
                        <a:ea typeface="微软雅黑" panose="020B0503020204020204" pitchFamily="34" charset="-122"/>
                        <a:cs typeface="+mn-cs"/>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47675">
                <a:tc>
                  <a:txBody>
                    <a:bodyPr/>
                    <a:lstStyle/>
                    <a:p>
                      <a:pPr algn="ctr">
                        <a:spcAft>
                          <a:spcPts val="0"/>
                        </a:spcAft>
                      </a:pPr>
                      <a:r>
                        <a:rPr lang="en-US" altLang="zh-CN" sz="1595" kern="0" dirty="0">
                          <a:effectLst/>
                          <a:latin typeface="微软雅黑" panose="020B0503020204020204" pitchFamily="34" charset="-122"/>
                          <a:ea typeface="微软雅黑" panose="020B0503020204020204" pitchFamily="34" charset="-122"/>
                          <a:cs typeface="+mn-cs"/>
                        </a:rPr>
                        <a:t>5</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0" dirty="0" smtClean="0">
                          <a:effectLst/>
                          <a:latin typeface="微软雅黑" panose="020B0503020204020204" pitchFamily="34" charset="-122"/>
                          <a:ea typeface="微软雅黑" panose="020B0503020204020204" pitchFamily="34" charset="-122"/>
                          <a:cs typeface="+mn-cs"/>
                        </a:rPr>
                        <a:t>面层阴阳角方正</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sz="1595" kern="0" dirty="0">
                          <a:effectLst/>
                          <a:latin typeface="微软雅黑" panose="020B0503020204020204" pitchFamily="34" charset="-122"/>
                          <a:ea typeface="微软雅黑" panose="020B0503020204020204" pitchFamily="34" charset="-122"/>
                        </a:rPr>
                        <a:t>≤</a:t>
                      </a:r>
                      <a:r>
                        <a:rPr lang="en-US" sz="1595" kern="0" dirty="0" smtClean="0">
                          <a:effectLst/>
                          <a:latin typeface="微软雅黑" panose="020B0503020204020204" pitchFamily="34" charset="-122"/>
                          <a:ea typeface="微软雅黑" panose="020B0503020204020204" pitchFamily="34" charset="-122"/>
                        </a:rPr>
                        <a:t>1.</a:t>
                      </a:r>
                      <a:r>
                        <a:rPr lang="en-US" altLang="zh-CN" sz="1595" kern="0" dirty="0" smtClean="0">
                          <a:effectLst/>
                          <a:latin typeface="微软雅黑" panose="020B0503020204020204" pitchFamily="34" charset="-122"/>
                          <a:ea typeface="微软雅黑" panose="020B0503020204020204" pitchFamily="34" charset="-122"/>
                        </a:rPr>
                        <a:t>5mm</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直角检测尺</a:t>
                      </a:r>
                      <a:endParaRPr lang="zh-CN" sz="15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595" kern="0" dirty="0" smtClean="0">
                          <a:effectLst/>
                          <a:latin typeface="微软雅黑" panose="020B0503020204020204" pitchFamily="34" charset="-122"/>
                          <a:ea typeface="微软雅黑" panose="020B0503020204020204" pitchFamily="34" charset="-122"/>
                          <a:cs typeface="+mn-cs"/>
                        </a:rPr>
                        <a:t>实测实量</a:t>
                      </a:r>
                      <a:endParaRPr lang="en-US" altLang="zh-CN" sz="1595" kern="0" dirty="0" smtClean="0">
                        <a:effectLst/>
                        <a:latin typeface="微软雅黑" panose="020B0503020204020204" pitchFamily="34" charset="-122"/>
                        <a:ea typeface="微软雅黑" panose="020B0503020204020204" pitchFamily="34" charset="-122"/>
                        <a:cs typeface="+mn-cs"/>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47675">
                <a:tc>
                  <a:txBody>
                    <a:bodyPr/>
                    <a:lstStyle/>
                    <a:p>
                      <a:pPr algn="ctr">
                        <a:spcAft>
                          <a:spcPts val="0"/>
                        </a:spcAft>
                      </a:pPr>
                      <a:r>
                        <a:rPr lang="en-US" altLang="zh-CN" sz="1595" kern="0" dirty="0">
                          <a:effectLst/>
                          <a:latin typeface="微软雅黑" panose="020B0503020204020204" pitchFamily="34" charset="-122"/>
                          <a:ea typeface="微软雅黑" panose="020B0503020204020204" pitchFamily="34" charset="-122"/>
                          <a:cs typeface="+mn-cs"/>
                        </a:rPr>
                        <a:t>6</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kern="0" dirty="0" smtClean="0">
                          <a:effectLst/>
                          <a:latin typeface="微软雅黑" panose="020B0503020204020204" pitchFamily="34" charset="-122"/>
                          <a:ea typeface="微软雅黑" panose="020B0503020204020204" pitchFamily="34" charset="-122"/>
                        </a:rPr>
                        <a:t>面层</a:t>
                      </a:r>
                      <a:r>
                        <a:rPr lang="zh-CN" sz="1595" kern="0" dirty="0" smtClean="0">
                          <a:effectLst/>
                          <a:latin typeface="微软雅黑" panose="020B0503020204020204" pitchFamily="34" charset="-122"/>
                          <a:ea typeface="微软雅黑" panose="020B0503020204020204" pitchFamily="34" charset="-122"/>
                        </a:rPr>
                        <a:t>接缝</a:t>
                      </a:r>
                      <a:r>
                        <a:rPr lang="zh-CN" sz="1595" kern="0" dirty="0">
                          <a:effectLst/>
                          <a:latin typeface="微软雅黑" panose="020B0503020204020204" pitchFamily="34" charset="-122"/>
                          <a:ea typeface="微软雅黑" panose="020B0503020204020204" pitchFamily="34" charset="-122"/>
                        </a:rPr>
                        <a:t>高低差</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sz="1595" kern="0" dirty="0">
                          <a:effectLst/>
                          <a:latin typeface="微软雅黑" panose="020B0503020204020204" pitchFamily="34" charset="-122"/>
                          <a:ea typeface="微软雅黑" panose="020B0503020204020204" pitchFamily="34" charset="-122"/>
                        </a:rPr>
                        <a:t>≤</a:t>
                      </a:r>
                      <a:r>
                        <a:rPr lang="en-US" sz="1595" kern="0" dirty="0" smtClean="0">
                          <a:effectLst/>
                          <a:latin typeface="微软雅黑" panose="020B0503020204020204" pitchFamily="34" charset="-122"/>
                          <a:ea typeface="微软雅黑" panose="020B0503020204020204" pitchFamily="34" charset="-122"/>
                        </a:rPr>
                        <a:t>0.5mm</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595" kern="0" dirty="0" smtClean="0">
                          <a:solidFill>
                            <a:schemeClr val="tx1"/>
                          </a:solidFill>
                          <a:effectLst/>
                          <a:latin typeface="微软雅黑" panose="020B0503020204020204" pitchFamily="34" charset="-122"/>
                          <a:ea typeface="微软雅黑" panose="020B0503020204020204" pitchFamily="34" charset="-122"/>
                        </a:rPr>
                        <a:t>钢直尺</a:t>
                      </a:r>
                      <a:r>
                        <a:rPr lang="zh-CN" altLang="en-US" sz="1595" kern="0" dirty="0" smtClean="0">
                          <a:solidFill>
                            <a:schemeClr val="tx1"/>
                          </a:solidFill>
                          <a:effectLst/>
                          <a:latin typeface="微软雅黑" panose="020B0503020204020204" pitchFamily="34" charset="-122"/>
                          <a:ea typeface="微软雅黑" panose="020B0503020204020204" pitchFamily="34" charset="-122"/>
                        </a:rPr>
                        <a:t>和</a:t>
                      </a:r>
                      <a:r>
                        <a:rPr lang="zh-CN" sz="1595" kern="0" dirty="0" smtClean="0">
                          <a:solidFill>
                            <a:schemeClr val="tx1"/>
                          </a:solidFill>
                          <a:effectLst/>
                          <a:latin typeface="微软雅黑" panose="020B0503020204020204" pitchFamily="34" charset="-122"/>
                          <a:ea typeface="微软雅黑" panose="020B0503020204020204" pitchFamily="34" charset="-122"/>
                        </a:rPr>
                        <a:t>塞尺</a:t>
                      </a:r>
                      <a:endParaRPr lang="zh-CN" sz="15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a:txBody>
                    <a:bodyPr/>
                    <a:lstStyle/>
                    <a:p>
                      <a:pPr algn="ctr">
                        <a:spcAft>
                          <a:spcPts val="0"/>
                        </a:spcAft>
                      </a:pPr>
                      <a:r>
                        <a:rPr lang="zh-CN" altLang="en-US" sz="1595" kern="0" dirty="0" smtClean="0">
                          <a:effectLst/>
                          <a:latin typeface="微软雅黑" panose="020B0503020204020204" pitchFamily="34" charset="-122"/>
                          <a:ea typeface="微软雅黑" panose="020B0503020204020204" pitchFamily="34" charset="-122"/>
                          <a:cs typeface="+mn-cs"/>
                        </a:rPr>
                        <a:t>实测实量</a:t>
                      </a:r>
                      <a:endParaRPr lang="en-US" altLang="zh-CN" sz="1595" kern="0" dirty="0" smtClean="0">
                        <a:effectLst/>
                        <a:latin typeface="微软雅黑" panose="020B0503020204020204" pitchFamily="34" charset="-122"/>
                        <a:ea typeface="微软雅黑" panose="020B0503020204020204" pitchFamily="34" charset="-122"/>
                        <a:cs typeface="+mn-cs"/>
                      </a:endParaRPr>
                    </a:p>
                  </a:txBody>
                  <a:tcPr marL="68459" marR="684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6" name="Picture 2" descr="E:\金地品质管理\精装品质管控\精装管控实例图\微信图片_20180803155912.jpg微信图片_20180803155912"/>
          <p:cNvPicPr>
            <a:picLocks noChangeAspect="1"/>
          </p:cNvPicPr>
          <p:nvPr/>
        </p:nvPicPr>
        <p:blipFill>
          <a:blip r:embed="rId2"/>
          <a:srcRect/>
          <a:stretch>
            <a:fillRect/>
          </a:stretch>
        </p:blipFill>
        <p:spPr bwMode="auto">
          <a:xfrm>
            <a:off x="3283801" y="1834774"/>
            <a:ext cx="2212975" cy="3934576"/>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59397" name="矩形 2"/>
          <p:cNvSpPr/>
          <p:nvPr/>
        </p:nvSpPr>
        <p:spPr>
          <a:xfrm>
            <a:off x="3951605" y="6031865"/>
            <a:ext cx="4074160" cy="337185"/>
          </a:xfrm>
          <a:prstGeom prst="rect">
            <a:avLst/>
          </a:prstGeom>
          <a:noFill/>
          <a:ln w="9525">
            <a:noFill/>
          </a:ln>
        </p:spPr>
        <p:txBody>
          <a:bodyPr wrap="square">
            <a:spAutoFit/>
          </a:bodyPr>
          <a:lstStyle/>
          <a:p>
            <a:pPr algn="ctr"/>
            <a:r>
              <a:rPr lang="zh-CN" altLang="en-US" sz="1600" b="1" dirty="0">
                <a:latin typeface="微软雅黑" panose="020B0503020204020204" pitchFamily="34" charset="-122"/>
                <a:ea typeface="微软雅黑" panose="020B0503020204020204" pitchFamily="34" charset="-122"/>
              </a:rPr>
              <a:t>目测：</a:t>
            </a:r>
            <a:r>
              <a:rPr lang="zh-CN" altLang="en-US" sz="1600" b="0" dirty="0">
                <a:latin typeface="微软雅黑" panose="020B0503020204020204" pitchFamily="34" charset="-122"/>
                <a:ea typeface="微软雅黑" panose="020B0503020204020204" pitchFamily="34" charset="-122"/>
              </a:rPr>
              <a:t>木饰面表面磕碰、划痕，不合格</a:t>
            </a:r>
          </a:p>
        </p:txBody>
      </p:sp>
      <p:sp>
        <p:nvSpPr>
          <p:cNvPr id="59398" name="椭圆 15"/>
          <p:cNvSpPr/>
          <p:nvPr/>
        </p:nvSpPr>
        <p:spPr>
          <a:xfrm>
            <a:off x="3917315" y="2072005"/>
            <a:ext cx="771525" cy="3474720"/>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pic>
        <p:nvPicPr>
          <p:cNvPr id="59400" name="Picture 2" descr="E:\金地品质管理\精装品质管控\精装管控实例图\微信图片_20180803150959.jpg微信图片_20180803150959"/>
          <p:cNvPicPr>
            <a:picLocks noChangeAspect="1"/>
          </p:cNvPicPr>
          <p:nvPr/>
        </p:nvPicPr>
        <p:blipFill>
          <a:blip r:embed="rId3"/>
          <a:srcRect/>
          <a:stretch>
            <a:fillRect/>
          </a:stretch>
        </p:blipFill>
        <p:spPr bwMode="auto">
          <a:xfrm>
            <a:off x="6143687" y="1834774"/>
            <a:ext cx="2943860" cy="3925069"/>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1-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饰面安装质量  （观感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8"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20" name="Picture 2"/>
          <p:cNvPicPr>
            <a:picLocks noChangeAspect="1"/>
          </p:cNvPicPr>
          <p:nvPr/>
        </p:nvPicPr>
        <p:blipFill>
          <a:blip r:embed="rId2"/>
          <a:stretch>
            <a:fillRect/>
          </a:stretch>
        </p:blipFill>
        <p:spPr bwMode="auto">
          <a:xfrm>
            <a:off x="1647825" y="2141220"/>
            <a:ext cx="3980180" cy="287147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4" name="矩形 2"/>
          <p:cNvSpPr>
            <a:spLocks noChangeArrowheads="1"/>
          </p:cNvSpPr>
          <p:nvPr/>
        </p:nvSpPr>
        <p:spPr bwMode="auto">
          <a:xfrm>
            <a:off x="3024505" y="5761990"/>
            <a:ext cx="6052820" cy="337185"/>
          </a:xfrm>
          <a:prstGeom prst="rect">
            <a:avLst/>
          </a:prstGeom>
          <a:noFill/>
          <a:ln w="9525">
            <a:noFill/>
          </a:ln>
        </p:spPr>
        <p:txBody>
          <a:bodyPr wrap="square">
            <a:spAutoFit/>
          </a:bodyPr>
          <a:lstStyle/>
          <a:p>
            <a:pPr lvl="0" algn="ctr"/>
            <a:r>
              <a:rPr lang="zh-CN" altLang="en-US" sz="1600" b="1" dirty="0">
                <a:latin typeface="微软雅黑" panose="020B0503020204020204" pitchFamily="34" charset="-122"/>
                <a:ea typeface="微软雅黑" panose="020B0503020204020204" pitchFamily="34" charset="-122"/>
                <a:sym typeface="+mn-ea"/>
              </a:rPr>
              <a:t>直线度：</a:t>
            </a:r>
            <a:r>
              <a:rPr lang="zh-CN" altLang="en-US" sz="1600" dirty="0">
                <a:latin typeface="微软雅黑" panose="020B0503020204020204" pitchFamily="34" charset="-122"/>
                <a:ea typeface="微软雅黑" panose="020B0503020204020204" pitchFamily="34" charset="-122"/>
                <a:sym typeface="+mn-ea"/>
              </a:rPr>
              <a:t>用2M靠尺检查，表面平整度度误差≤2MM，合格。</a:t>
            </a:r>
          </a:p>
        </p:txBody>
      </p:sp>
      <p:pic>
        <p:nvPicPr>
          <p:cNvPr id="60423" name="Picture 2"/>
          <p:cNvPicPr>
            <a:picLocks noChangeAspect="1"/>
          </p:cNvPicPr>
          <p:nvPr/>
        </p:nvPicPr>
        <p:blipFill>
          <a:blip r:embed="rId3"/>
          <a:stretch>
            <a:fillRect/>
          </a:stretch>
        </p:blipFill>
        <p:spPr bwMode="auto">
          <a:xfrm>
            <a:off x="6397625" y="2141220"/>
            <a:ext cx="3997960" cy="286258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60424" name="Picture 1"/>
          <p:cNvPicPr>
            <a:picLocks noChangeAspect="1"/>
          </p:cNvPicPr>
          <p:nvPr/>
        </p:nvPicPr>
        <p:blipFill>
          <a:blip r:embed="rId4"/>
          <a:stretch>
            <a:fillRect/>
          </a:stretch>
        </p:blipFill>
        <p:spPr>
          <a:xfrm>
            <a:off x="1808734" y="3146489"/>
            <a:ext cx="1188455" cy="793887"/>
          </a:xfrm>
          <a:prstGeom prst="rect">
            <a:avLst/>
          </a:prstGeom>
          <a:noFill/>
          <a:ln w="28575" cap="flat" cmpd="sng">
            <a:solidFill>
              <a:srgbClr val="C00000"/>
            </a:solidFill>
            <a:prstDash val="dashDot"/>
            <a:miter/>
            <a:headEnd type="none" w="med" len="med"/>
            <a:tailEnd type="none" w="med" len="med"/>
          </a:ln>
        </p:spPr>
      </p:pic>
      <p:pic>
        <p:nvPicPr>
          <p:cNvPr id="60425" name="Picture 1"/>
          <p:cNvPicPr>
            <a:picLocks noChangeAspect="1"/>
          </p:cNvPicPr>
          <p:nvPr/>
        </p:nvPicPr>
        <p:blipFill>
          <a:blip r:embed="rId5"/>
          <a:stretch>
            <a:fillRect/>
          </a:stretch>
        </p:blipFill>
        <p:spPr>
          <a:xfrm>
            <a:off x="6803441" y="2741374"/>
            <a:ext cx="1375438" cy="922241"/>
          </a:xfrm>
          <a:prstGeom prst="rect">
            <a:avLst/>
          </a:prstGeom>
          <a:noFill/>
          <a:ln w="28575" cap="flat" cmpd="sng">
            <a:solidFill>
              <a:srgbClr val="C00000"/>
            </a:solidFill>
            <a:prstDash val="dashDot"/>
            <a:miter/>
            <a:headEnd type="none" w="med" len="med"/>
            <a:tailEnd type="none" w="med" len="med"/>
          </a:ln>
        </p:spPr>
      </p:pic>
      <p:cxnSp>
        <p:nvCxnSpPr>
          <p:cNvPr id="60426" name="直接箭头连接符 20"/>
          <p:cNvCxnSpPr/>
          <p:nvPr/>
        </p:nvCxnSpPr>
        <p:spPr>
          <a:xfrm>
            <a:off x="2915285" y="3940175"/>
            <a:ext cx="335280" cy="654685"/>
          </a:xfrm>
          <a:prstGeom prst="straightConnector1">
            <a:avLst/>
          </a:prstGeom>
          <a:ln w="38100" cap="flat" cmpd="dbl">
            <a:solidFill>
              <a:srgbClr val="C00000"/>
            </a:solidFill>
            <a:prstDash val="solid"/>
            <a:headEnd type="none" w="med" len="med"/>
            <a:tailEnd type="triangle" w="med" len="med"/>
          </a:ln>
        </p:spPr>
      </p:cxnSp>
      <p:cxnSp>
        <p:nvCxnSpPr>
          <p:cNvPr id="60427" name="直接箭头连接符 21"/>
          <p:cNvCxnSpPr/>
          <p:nvPr/>
        </p:nvCxnSpPr>
        <p:spPr>
          <a:xfrm>
            <a:off x="8100060" y="3653155"/>
            <a:ext cx="287655" cy="648335"/>
          </a:xfrm>
          <a:prstGeom prst="straightConnector1">
            <a:avLst/>
          </a:prstGeom>
          <a:ln w="38100" cap="flat" cmpd="dbl">
            <a:solidFill>
              <a:srgbClr val="C00000"/>
            </a:solidFill>
            <a:prstDash val="solid"/>
            <a:headEnd type="none" w="med" len="med"/>
            <a:tailEnd type="triangle" w="med" len="med"/>
          </a:ln>
        </p:spPr>
      </p:cxnSp>
      <p:grpSp>
        <p:nvGrpSpPr>
          <p:cNvPr id="60428" name="组合 22"/>
          <p:cNvGrpSpPr/>
          <p:nvPr/>
        </p:nvGrpSpPr>
        <p:grpSpPr>
          <a:xfrm>
            <a:off x="4298580" y="2809924"/>
            <a:ext cx="928579" cy="484889"/>
            <a:chOff x="624359" y="2918833"/>
            <a:chExt cx="929460" cy="485735"/>
          </a:xfrm>
        </p:grpSpPr>
        <p:sp>
          <p:nvSpPr>
            <p:cNvPr id="60430" name="矩形 23"/>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60431" name="矩形 24"/>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26" name="乘号 25"/>
          <p:cNvSpPr/>
          <p:nvPr/>
        </p:nvSpPr>
        <p:spPr bwMode="auto">
          <a:xfrm>
            <a:off x="9227062" y="2177971"/>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1-2</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饰面安装质量  （实测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2" name="Picture 2"/>
          <p:cNvPicPr>
            <a:picLocks noChangeAspect="1"/>
          </p:cNvPicPr>
          <p:nvPr/>
        </p:nvPicPr>
        <p:blipFill>
          <a:blip r:embed="rId2"/>
          <a:stretch>
            <a:fillRect/>
          </a:stretch>
        </p:blipFill>
        <p:spPr bwMode="auto">
          <a:xfrm>
            <a:off x="1833086" y="2138621"/>
            <a:ext cx="3963100" cy="2972721"/>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7" name="矩形 2"/>
          <p:cNvSpPr>
            <a:spLocks noChangeArrowheads="1"/>
          </p:cNvSpPr>
          <p:nvPr/>
        </p:nvSpPr>
        <p:spPr bwMode="auto">
          <a:xfrm>
            <a:off x="2711262" y="5694839"/>
            <a:ext cx="7176682"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阴阳角方正：</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直角检测尺检查，阴阳角方正偏差</a:t>
            </a:r>
            <a:r>
              <a:rPr kumimoji="0" lang="en-US"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5MM</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63495" name="Picture 2"/>
          <p:cNvPicPr>
            <a:picLocks noChangeAspect="1"/>
          </p:cNvPicPr>
          <p:nvPr/>
        </p:nvPicPr>
        <p:blipFill>
          <a:blip r:embed="rId3"/>
          <a:stretch>
            <a:fillRect/>
          </a:stretch>
        </p:blipFill>
        <p:spPr bwMode="auto">
          <a:xfrm>
            <a:off x="6054091" y="2162098"/>
            <a:ext cx="4432144" cy="2958459"/>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21" name="L 形 20"/>
          <p:cNvSpPr/>
          <p:nvPr/>
        </p:nvSpPr>
        <p:spPr bwMode="auto">
          <a:xfrm rot="18535748">
            <a:off x="4777588" y="2330066"/>
            <a:ext cx="1033163" cy="456367"/>
          </a:xfrm>
          <a:prstGeom prst="corner">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sp>
        <p:nvSpPr>
          <p:cNvPr id="22" name="乘号 21"/>
          <p:cNvSpPr/>
          <p:nvPr/>
        </p:nvSpPr>
        <p:spPr bwMode="auto">
          <a:xfrm>
            <a:off x="9427718" y="1848346"/>
            <a:ext cx="1212224" cy="1697114"/>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pic>
        <p:nvPicPr>
          <p:cNvPr id="63498" name="Picture 1"/>
          <p:cNvPicPr>
            <a:picLocks noChangeAspect="1"/>
          </p:cNvPicPr>
          <p:nvPr/>
        </p:nvPicPr>
        <p:blipFill>
          <a:blip r:embed="rId4"/>
          <a:stretch>
            <a:fillRect/>
          </a:stretch>
        </p:blipFill>
        <p:spPr>
          <a:xfrm>
            <a:off x="1846067" y="4188809"/>
            <a:ext cx="1391284" cy="931748"/>
          </a:xfrm>
          <a:prstGeom prst="rect">
            <a:avLst/>
          </a:prstGeom>
          <a:noFill/>
          <a:ln w="28575" cap="flat" cmpd="sng">
            <a:solidFill>
              <a:srgbClr val="C00000"/>
            </a:solidFill>
            <a:prstDash val="dashDot"/>
            <a:miter/>
            <a:headEnd type="none" w="med" len="med"/>
            <a:tailEnd type="none" w="med" len="med"/>
          </a:ln>
        </p:spPr>
      </p:pic>
      <p:pic>
        <p:nvPicPr>
          <p:cNvPr id="63499" name="Picture 1"/>
          <p:cNvPicPr>
            <a:picLocks noChangeAspect="1"/>
          </p:cNvPicPr>
          <p:nvPr/>
        </p:nvPicPr>
        <p:blipFill>
          <a:blip r:embed="rId5"/>
          <a:stretch>
            <a:fillRect/>
          </a:stretch>
        </p:blipFill>
        <p:spPr>
          <a:xfrm>
            <a:off x="6074691" y="4033518"/>
            <a:ext cx="1616298" cy="1077532"/>
          </a:xfrm>
          <a:prstGeom prst="rect">
            <a:avLst/>
          </a:prstGeom>
          <a:noFill/>
          <a:ln w="28575" cap="flat" cmpd="sng">
            <a:solidFill>
              <a:srgbClr val="C00000"/>
            </a:solidFill>
            <a:prstDash val="dashDot"/>
            <a:miter/>
            <a:headEnd type="none" w="med" len="med"/>
            <a:tailEnd type="none" w="med" len="med"/>
          </a:ln>
        </p:spPr>
      </p:pic>
      <p:cxnSp>
        <p:nvCxnSpPr>
          <p:cNvPr id="63500" name="直接箭头连接符 24"/>
          <p:cNvCxnSpPr/>
          <p:nvPr/>
        </p:nvCxnSpPr>
        <p:spPr>
          <a:xfrm flipV="1">
            <a:off x="2129711" y="3103354"/>
            <a:ext cx="1293039" cy="1072778"/>
          </a:xfrm>
          <a:prstGeom prst="straightConnector1">
            <a:avLst/>
          </a:prstGeom>
          <a:ln w="38100" cap="flat" cmpd="dbl">
            <a:solidFill>
              <a:srgbClr val="C00000"/>
            </a:solidFill>
            <a:prstDash val="solid"/>
            <a:headEnd type="none" w="med" len="med"/>
            <a:tailEnd type="triangle" w="med" len="med"/>
          </a:ln>
        </p:spPr>
      </p:cxnSp>
      <p:cxnSp>
        <p:nvCxnSpPr>
          <p:cNvPr id="63501" name="直接箭头连接符 25"/>
          <p:cNvCxnSpPr/>
          <p:nvPr/>
        </p:nvCxnSpPr>
        <p:spPr>
          <a:xfrm flipV="1">
            <a:off x="6342489" y="3293507"/>
            <a:ext cx="722580" cy="716242"/>
          </a:xfrm>
          <a:prstGeom prst="straightConnector1">
            <a:avLst/>
          </a:prstGeom>
          <a:ln w="38100" cap="flat" cmpd="dbl">
            <a:solidFill>
              <a:srgbClr val="C00000"/>
            </a:solidFill>
            <a:prstDash val="solid"/>
            <a:headEnd type="none" w="med" len="med"/>
            <a:tailEnd type="triangle" w="med" len="med"/>
          </a:ln>
        </p:spPr>
      </p:cxn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1-2</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饰面安装质量  （实测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912733" y="1407619"/>
          <a:ext cx="10572115" cy="5017135"/>
        </p:xfrm>
        <a:graphic>
          <a:graphicData uri="http://schemas.openxmlformats.org/drawingml/2006/table">
            <a:tbl>
              <a:tblPr>
                <a:tableStyleId>{5C22544A-7EE6-4342-B048-85BDC9FD1C3A}</a:tableStyleId>
              </a:tblPr>
              <a:tblGrid>
                <a:gridCol w="626745">
                  <a:extLst>
                    <a:ext uri="{9D8B030D-6E8A-4147-A177-3AD203B41FA5}">
                      <a16:colId xmlns:a16="http://schemas.microsoft.com/office/drawing/2014/main" val="20000"/>
                    </a:ext>
                  </a:extLst>
                </a:gridCol>
                <a:gridCol w="2898140">
                  <a:extLst>
                    <a:ext uri="{9D8B030D-6E8A-4147-A177-3AD203B41FA5}">
                      <a16:colId xmlns:a16="http://schemas.microsoft.com/office/drawing/2014/main" val="20001"/>
                    </a:ext>
                  </a:extLst>
                </a:gridCol>
                <a:gridCol w="1410335">
                  <a:extLst>
                    <a:ext uri="{9D8B030D-6E8A-4147-A177-3AD203B41FA5}">
                      <a16:colId xmlns:a16="http://schemas.microsoft.com/office/drawing/2014/main" val="20002"/>
                    </a:ext>
                  </a:extLst>
                </a:gridCol>
                <a:gridCol w="1017905">
                  <a:extLst>
                    <a:ext uri="{9D8B030D-6E8A-4147-A177-3AD203B41FA5}">
                      <a16:colId xmlns:a16="http://schemas.microsoft.com/office/drawing/2014/main" val="20003"/>
                    </a:ext>
                  </a:extLst>
                </a:gridCol>
                <a:gridCol w="1958340">
                  <a:extLst>
                    <a:ext uri="{9D8B030D-6E8A-4147-A177-3AD203B41FA5}">
                      <a16:colId xmlns:a16="http://schemas.microsoft.com/office/drawing/2014/main" val="20004"/>
                    </a:ext>
                  </a:extLst>
                </a:gridCol>
                <a:gridCol w="1644650">
                  <a:extLst>
                    <a:ext uri="{9D8B030D-6E8A-4147-A177-3AD203B41FA5}">
                      <a16:colId xmlns:a16="http://schemas.microsoft.com/office/drawing/2014/main" val="20005"/>
                    </a:ext>
                  </a:extLst>
                </a:gridCol>
                <a:gridCol w="1016000">
                  <a:extLst>
                    <a:ext uri="{9D8B030D-6E8A-4147-A177-3AD203B41FA5}">
                      <a16:colId xmlns:a16="http://schemas.microsoft.com/office/drawing/2014/main" val="20006"/>
                    </a:ext>
                  </a:extLst>
                </a:gridCol>
              </a:tblGrid>
              <a:tr h="243840">
                <a:tc row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序号</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项目</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质量要求及允许偏差</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endParaRPr lang="zh-CN"/>
                    </a:p>
                  </a:txBody>
                  <a:tcPr/>
                </a:tc>
                <a:tc gridSpan="2">
                  <a:txBody>
                    <a:bodyPr/>
                    <a:lstStyle/>
                    <a:p>
                      <a:pPr algn="ctr">
                        <a:spcAft>
                          <a:spcPts val="0"/>
                        </a:spcAft>
                      </a:pPr>
                      <a:r>
                        <a:rPr lang="zh-CN" sz="1595" b="1" kern="0" dirty="0">
                          <a:effectLst/>
                          <a:latin typeface="微软雅黑" panose="020B0503020204020204" pitchFamily="34" charset="-122"/>
                          <a:ea typeface="微软雅黑" panose="020B0503020204020204" pitchFamily="34" charset="-122"/>
                        </a:rPr>
                        <a:t>验收方法</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rowSpan="2">
                  <a:txBody>
                    <a:bodyPr/>
                    <a:lstStyle/>
                    <a:p>
                      <a:pPr algn="ctr">
                        <a:spcAft>
                          <a:spcPts val="0"/>
                        </a:spcAft>
                      </a:pPr>
                      <a:r>
                        <a:rPr lang="zh-CN" altLang="en-US" sz="1595" b="1" kern="100" dirty="0" smtClean="0">
                          <a:effectLst/>
                          <a:latin typeface="微软雅黑" panose="020B0503020204020204" pitchFamily="34" charset="-122"/>
                          <a:ea typeface="微软雅黑" panose="020B0503020204020204" pitchFamily="34" charset="-122"/>
                          <a:cs typeface="Times New Roman" panose="02020603050405020304"/>
                        </a:rPr>
                        <a:t>说明</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02260">
                <a:tc vMerge="1">
                  <a:txBody>
                    <a:bodyPr/>
                    <a:lstStyle/>
                    <a:p>
                      <a:endParaRPr lang="zh-CN"/>
                    </a:p>
                  </a:txBody>
                  <a:tcPr/>
                </a:tc>
                <a:tc vMerge="1">
                  <a:txBody>
                    <a:bodyPr/>
                    <a:lstStyle/>
                    <a:p>
                      <a:endParaRPr lang="zh-CN"/>
                    </a:p>
                  </a:txBody>
                  <a:tcPr/>
                </a:tc>
                <a:tc gridSpan="2" vMerge="1">
                  <a:txBody>
                    <a:bodyPr/>
                    <a:lstStyle/>
                    <a:p>
                      <a:endParaRPr lang="zh-CN"/>
                    </a:p>
                  </a:txBody>
                  <a:tcPr/>
                </a:tc>
                <a:tc hMerge="1" vMerge="1">
                  <a:txBody>
                    <a:bodyPr/>
                    <a:lstStyle/>
                    <a:p>
                      <a:endParaRPr lang="zh-CN"/>
                    </a:p>
                  </a:txBody>
                  <a:tcPr/>
                </a:tc>
                <a:tc>
                  <a:txBody>
                    <a:bodyPr/>
                    <a:lstStyle/>
                    <a:p>
                      <a:pPr algn="ctr">
                        <a:spcAft>
                          <a:spcPts val="0"/>
                        </a:spcAft>
                      </a:pPr>
                      <a:r>
                        <a:rPr lang="zh-CN" altLang="en-US" sz="1595" b="1" kern="100" dirty="0" smtClean="0">
                          <a:effectLst/>
                          <a:latin typeface="微软雅黑" panose="020B0503020204020204" pitchFamily="34" charset="-122"/>
                          <a:ea typeface="微软雅黑" panose="020B0503020204020204" pitchFamily="34" charset="-122"/>
                          <a:cs typeface="Times New Roman" panose="02020603050405020304"/>
                        </a:rPr>
                        <a:t>检验方法、工具</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595" b="1" kern="100" dirty="0" smtClean="0">
                          <a:effectLst/>
                          <a:latin typeface="微软雅黑" panose="020B0503020204020204" pitchFamily="34" charset="-122"/>
                          <a:ea typeface="微软雅黑" panose="020B0503020204020204" pitchFamily="34" charset="-122"/>
                          <a:cs typeface="Times New Roman" panose="02020603050405020304"/>
                        </a:rPr>
                        <a:t>检验数量</a:t>
                      </a:r>
                      <a:endParaRPr lang="zh-CN" sz="1595" b="1"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extLst>
                  <a:ext uri="{0D108BD9-81ED-4DB2-BD59-A6C34878D82A}">
                    <a16:rowId xmlns:a16="http://schemas.microsoft.com/office/drawing/2014/main" val="10001"/>
                  </a:ext>
                </a:extLst>
              </a:tr>
              <a:tr h="457200">
                <a:tc>
                  <a:txBody>
                    <a:bodyPr/>
                    <a:lstStyle/>
                    <a:p>
                      <a:pPr algn="ctr">
                        <a:spcAft>
                          <a:spcPts val="0"/>
                        </a:spcAft>
                      </a:pPr>
                      <a:r>
                        <a:rPr lang="en-US" sz="1495" kern="0" dirty="0">
                          <a:effectLst/>
                          <a:latin typeface="微软雅黑" panose="020B0503020204020204" pitchFamily="34" charset="-122"/>
                          <a:ea typeface="微软雅黑" panose="020B0503020204020204" pitchFamily="34" charset="-122"/>
                        </a:rPr>
                        <a:t>1</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spcAft>
                          <a:spcPts val="0"/>
                        </a:spcAft>
                      </a:pPr>
                      <a:r>
                        <a:rPr lang="zh-CN" sz="1495" kern="0" dirty="0">
                          <a:effectLst/>
                          <a:latin typeface="微软雅黑" panose="020B0503020204020204" pitchFamily="34" charset="-122"/>
                          <a:ea typeface="微软雅黑" panose="020B0503020204020204" pitchFamily="34" charset="-122"/>
                        </a:rPr>
                        <a:t>安装</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spcAft>
                          <a:spcPts val="0"/>
                        </a:spcAft>
                      </a:pPr>
                      <a:r>
                        <a:rPr lang="zh-CN" altLang="zh-CN" sz="1495" b="0" dirty="0" smtClean="0">
                          <a:latin typeface="微软雅黑" panose="020B0503020204020204" pitchFamily="34" charset="-122"/>
                          <a:ea typeface="微软雅黑" panose="020B0503020204020204" pitchFamily="34" charset="-122"/>
                        </a:rPr>
                        <a:t>安装牢固，开启灵活，无阻滞感</a:t>
                      </a:r>
                      <a:endParaRPr lang="zh-CN" sz="1495"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ctr">
                        <a:spcAft>
                          <a:spcPts val="0"/>
                        </a:spcAft>
                      </a:pP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手扳检查</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algn="ctr">
                        <a:spcAft>
                          <a:spcPts val="0"/>
                        </a:spcAft>
                      </a:pPr>
                      <a:r>
                        <a:rPr lang="zh-CN" sz="1495" kern="0" dirty="0">
                          <a:solidFill>
                            <a:schemeClr val="tx1"/>
                          </a:solidFill>
                          <a:effectLst/>
                          <a:latin typeface="微软雅黑" panose="020B0503020204020204" pitchFamily="34" charset="-122"/>
                          <a:ea typeface="微软雅黑" panose="020B0503020204020204" pitchFamily="34" charset="-122"/>
                        </a:rPr>
                        <a:t>全检</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现场观察</a:t>
                      </a:r>
                      <a:endParaRPr lang="zh-CN" alt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57200">
                <a:tc>
                  <a:txBody>
                    <a:bodyPr/>
                    <a:lstStyle/>
                    <a:p>
                      <a:pPr algn="ctr">
                        <a:spcAft>
                          <a:spcPts val="0"/>
                        </a:spcAft>
                      </a:pPr>
                      <a:r>
                        <a:rPr lang="en-US" sz="1495" kern="0" dirty="0">
                          <a:effectLst/>
                          <a:latin typeface="微软雅黑" panose="020B0503020204020204" pitchFamily="34" charset="-122"/>
                          <a:ea typeface="微软雅黑" panose="020B0503020204020204" pitchFamily="34" charset="-122"/>
                        </a:rPr>
                        <a:t>2</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495" kern="0" dirty="0">
                          <a:effectLst/>
                          <a:latin typeface="微软雅黑" panose="020B0503020204020204" pitchFamily="34" charset="-122"/>
                          <a:ea typeface="微软雅黑" panose="020B0503020204020204" pitchFamily="34" charset="-122"/>
                        </a:rPr>
                        <a:t>外观</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spcAft>
                          <a:spcPts val="0"/>
                        </a:spcAft>
                      </a:pPr>
                      <a:r>
                        <a:rPr lang="zh-CN" altLang="zh-CN" sz="1495" b="0" dirty="0" smtClean="0">
                          <a:latin typeface="微软雅黑" panose="020B0503020204020204" pitchFamily="34" charset="-122"/>
                          <a:ea typeface="微软雅黑" panose="020B0503020204020204" pitchFamily="34" charset="-122"/>
                        </a:rPr>
                        <a:t>漆面光洁，</a:t>
                      </a:r>
                      <a:r>
                        <a:rPr lang="zh-CN" altLang="en-US" sz="1495" b="0" dirty="0" smtClean="0">
                          <a:latin typeface="微软雅黑" panose="020B0503020204020204" pitchFamily="34" charset="-122"/>
                          <a:ea typeface="微软雅黑" panose="020B0503020204020204" pitchFamily="34" charset="-122"/>
                        </a:rPr>
                        <a:t>无</a:t>
                      </a:r>
                      <a:r>
                        <a:rPr lang="zh-CN" altLang="zh-CN" sz="1495" b="0" dirty="0" smtClean="0">
                          <a:latin typeface="微软雅黑" panose="020B0503020204020204" pitchFamily="34" charset="-122"/>
                          <a:ea typeface="微软雅黑" panose="020B0503020204020204" pitchFamily="34" charset="-122"/>
                        </a:rPr>
                        <a:t>刨痕，毛刺和锤印</a:t>
                      </a:r>
                      <a:endParaRPr lang="zh-CN" sz="1495"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ctr">
                        <a:spcAft>
                          <a:spcPts val="0"/>
                        </a:spcAft>
                      </a:pP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目测观察</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现场观察</a:t>
                      </a:r>
                      <a:endParaRPr lang="zh-CN" alt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57200">
                <a:tc>
                  <a:txBody>
                    <a:bodyPr/>
                    <a:lstStyle/>
                    <a:p>
                      <a:pPr algn="ctr">
                        <a:spcAft>
                          <a:spcPts val="0"/>
                        </a:spcAft>
                      </a:pPr>
                      <a:r>
                        <a:rPr lang="en-US" sz="1495" kern="0" dirty="0">
                          <a:effectLst/>
                          <a:latin typeface="微软雅黑" panose="020B0503020204020204" pitchFamily="34" charset="-122"/>
                          <a:ea typeface="微软雅黑" panose="020B0503020204020204" pitchFamily="34" charset="-122"/>
                        </a:rPr>
                        <a:t>3</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495" kern="0" dirty="0">
                          <a:effectLst/>
                          <a:latin typeface="微软雅黑" panose="020B0503020204020204" pitchFamily="34" charset="-122"/>
                          <a:ea typeface="微软雅黑" panose="020B0503020204020204" pitchFamily="34" charset="-122"/>
                        </a:rPr>
                        <a:t>配件</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spcAft>
                          <a:spcPts val="0"/>
                        </a:spcAft>
                      </a:pPr>
                      <a:r>
                        <a:rPr lang="en-US" altLang="zh-CN" sz="1495" b="0" dirty="0" smtClean="0">
                          <a:latin typeface="微软雅黑" panose="020B0503020204020204" pitchFamily="34" charset="-122"/>
                          <a:ea typeface="微软雅黑" panose="020B0503020204020204" pitchFamily="34" charset="-122"/>
                        </a:rPr>
                        <a:t> </a:t>
                      </a:r>
                      <a:r>
                        <a:rPr lang="en-US" altLang="zh-CN" sz="1495" b="0" baseline="0" dirty="0" smtClean="0">
                          <a:latin typeface="微软雅黑" panose="020B0503020204020204" pitchFamily="34" charset="-122"/>
                          <a:ea typeface="微软雅黑" panose="020B0503020204020204" pitchFamily="34" charset="-122"/>
                        </a:rPr>
                        <a:t> </a:t>
                      </a:r>
                      <a:r>
                        <a:rPr lang="zh-CN" altLang="zh-CN" sz="1495" b="0" dirty="0" smtClean="0">
                          <a:latin typeface="微软雅黑" panose="020B0503020204020204" pitchFamily="34" charset="-122"/>
                          <a:ea typeface="微软雅黑" panose="020B0503020204020204" pitchFamily="34" charset="-122"/>
                        </a:rPr>
                        <a:t>安装位置适宜，固定牢固，无划痕</a:t>
                      </a:r>
                      <a:endParaRPr lang="zh-CN" sz="1495" kern="100" dirty="0">
                        <a:solidFill>
                          <a:srgbClr val="FF0000"/>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ctr">
                        <a:spcAft>
                          <a:spcPts val="0"/>
                        </a:spcAft>
                      </a:pP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目测、手板检查</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现场观察</a:t>
                      </a:r>
                      <a:endParaRPr lang="zh-CN" alt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22580">
                <a:tc>
                  <a:txBody>
                    <a:bodyPr/>
                    <a:lstStyle/>
                    <a:p>
                      <a:pPr algn="ctr">
                        <a:spcAft>
                          <a:spcPts val="0"/>
                        </a:spcAft>
                      </a:pPr>
                      <a:r>
                        <a:rPr lang="en-US" altLang="zh-CN" sz="1495" kern="100" dirty="0" smtClean="0">
                          <a:effectLst/>
                          <a:latin typeface="微软雅黑" panose="020B0503020204020204" pitchFamily="34" charset="-122"/>
                          <a:ea typeface="微软雅黑" panose="020B0503020204020204" pitchFamily="34" charset="-122"/>
                          <a:cs typeface="Times New Roman" panose="02020603050405020304"/>
                        </a:rPr>
                        <a:t>4</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门窗套正侧面垂直度</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95" kern="0" dirty="0" smtClean="0">
                          <a:effectLst/>
                          <a:latin typeface="微软雅黑" panose="020B0503020204020204" pitchFamily="34" charset="-122"/>
                          <a:ea typeface="微软雅黑" panose="020B0503020204020204" pitchFamily="34" charset="-122"/>
                        </a:rPr>
                        <a:t>≤3.0mm</a:t>
                      </a:r>
                      <a:endParaRPr lang="zh-CN" altLang="zh-CN" sz="1495" kern="10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95" kern="0" dirty="0" smtClean="0">
                          <a:solidFill>
                            <a:schemeClr val="tx1"/>
                          </a:solidFill>
                          <a:effectLst/>
                          <a:latin typeface="微软雅黑" panose="020B0503020204020204" pitchFamily="34" charset="-122"/>
                          <a:ea typeface="微软雅黑" panose="020B0503020204020204" pitchFamily="34" charset="-122"/>
                        </a:rPr>
                        <a:t>2m</a:t>
                      </a:r>
                      <a:r>
                        <a:rPr lang="zh-CN" altLang="zh-CN" sz="1495" kern="0" dirty="0" smtClean="0">
                          <a:solidFill>
                            <a:schemeClr val="tx1"/>
                          </a:solidFill>
                          <a:effectLst/>
                          <a:latin typeface="微软雅黑" panose="020B0503020204020204" pitchFamily="34" charset="-122"/>
                          <a:ea typeface="微软雅黑" panose="020B0503020204020204" pitchFamily="34" charset="-122"/>
                        </a:rPr>
                        <a:t>靠尺</a:t>
                      </a:r>
                      <a:r>
                        <a:rPr lang="zh-CN" altLang="en-US" sz="1495" kern="0" dirty="0" smtClean="0">
                          <a:solidFill>
                            <a:schemeClr val="tx1"/>
                          </a:solidFill>
                          <a:effectLst/>
                          <a:latin typeface="微软雅黑" panose="020B0503020204020204" pitchFamily="34" charset="-122"/>
                          <a:ea typeface="微软雅黑" panose="020B0503020204020204" pitchFamily="34" charset="-122"/>
                        </a:rPr>
                        <a:t>和</a:t>
                      </a:r>
                      <a:r>
                        <a:rPr lang="zh-CN" altLang="zh-CN" sz="1495" kern="0" dirty="0" smtClean="0">
                          <a:solidFill>
                            <a:schemeClr val="tx1"/>
                          </a:solidFill>
                          <a:effectLst/>
                          <a:latin typeface="微软雅黑" panose="020B0503020204020204" pitchFamily="34" charset="-122"/>
                          <a:ea typeface="微软雅黑" panose="020B0503020204020204" pitchFamily="34" charset="-122"/>
                        </a:rPr>
                        <a:t>塞尺</a:t>
                      </a:r>
                      <a:endParaRPr lang="zh-CN"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9">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实测实量</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323215">
                <a:tc>
                  <a:txBody>
                    <a:bodyPr/>
                    <a:lstStyle/>
                    <a:p>
                      <a:pPr algn="ctr">
                        <a:spcAft>
                          <a:spcPts val="0"/>
                        </a:spcAft>
                      </a:pPr>
                      <a:r>
                        <a:rPr lang="en-US" altLang="zh-CN" sz="1495" kern="0" dirty="0">
                          <a:effectLst/>
                          <a:latin typeface="微软雅黑" panose="020B0503020204020204" pitchFamily="34" charset="-122"/>
                          <a:ea typeface="微软雅黑" panose="020B0503020204020204" pitchFamily="34" charset="-122"/>
                          <a:cs typeface="+mn-cs"/>
                        </a:rPr>
                        <a:t>5</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门窗套上口水平度</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sz="1495" kern="0" dirty="0" smtClean="0">
                          <a:effectLst/>
                          <a:latin typeface="微软雅黑" panose="020B0503020204020204" pitchFamily="34" charset="-122"/>
                          <a:ea typeface="微软雅黑" panose="020B0503020204020204" pitchFamily="34" charset="-122"/>
                        </a:rPr>
                        <a:t>≤</a:t>
                      </a:r>
                      <a:r>
                        <a:rPr lang="en-US" altLang="zh-CN" sz="1495" kern="0" dirty="0" smtClean="0">
                          <a:effectLst/>
                          <a:latin typeface="微软雅黑" panose="020B0503020204020204" pitchFamily="34" charset="-122"/>
                          <a:ea typeface="微软雅黑" panose="020B0503020204020204" pitchFamily="34" charset="-122"/>
                        </a:rPr>
                        <a:t>1.0mm</a:t>
                      </a:r>
                      <a:endParaRPr lang="zh-CN" altLang="zh-CN" sz="1495" kern="10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95" kern="0" dirty="0" smtClean="0">
                          <a:solidFill>
                            <a:schemeClr val="tx1"/>
                          </a:solidFill>
                          <a:effectLst/>
                          <a:latin typeface="微软雅黑" panose="020B0503020204020204" pitchFamily="34" charset="-122"/>
                          <a:ea typeface="微软雅黑" panose="020B0503020204020204" pitchFamily="34" charset="-122"/>
                        </a:rPr>
                        <a:t>1m</a:t>
                      </a:r>
                      <a:r>
                        <a:rPr lang="zh-CN" altLang="en-US" sz="1495" kern="0" dirty="0" smtClean="0">
                          <a:solidFill>
                            <a:schemeClr val="tx1"/>
                          </a:solidFill>
                          <a:effectLst/>
                          <a:latin typeface="微软雅黑" panose="020B0503020204020204" pitchFamily="34" charset="-122"/>
                          <a:ea typeface="微软雅黑" panose="020B0503020204020204" pitchFamily="34" charset="-122"/>
                        </a:rPr>
                        <a:t>水平尺</a:t>
                      </a:r>
                      <a:endParaRPr lang="zh-CN"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8">
                  <a:txBody>
                    <a:bodyPr/>
                    <a:lstStyle/>
                    <a:p>
                      <a:pPr algn="ctr">
                        <a:spcAft>
                          <a:spcPts val="0"/>
                        </a:spcAft>
                      </a:pP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每</a:t>
                      </a:r>
                      <a:r>
                        <a:rPr lang="en-US"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100</a:t>
                      </a: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樘为一个检验批，每个检验批抽检≥</a:t>
                      </a:r>
                      <a:r>
                        <a:rPr lang="en-US"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5%</a:t>
                      </a: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并不得少于</a:t>
                      </a:r>
                      <a:r>
                        <a:rPr lang="en-US"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3</a:t>
                      </a: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樘；高层每个检验批抽检≥</a:t>
                      </a:r>
                      <a:r>
                        <a:rPr lang="en-US"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10%</a:t>
                      </a: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并不得少于</a:t>
                      </a:r>
                      <a:r>
                        <a:rPr lang="en-US"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6</a:t>
                      </a: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樘</a:t>
                      </a:r>
                      <a:endParaRPr lang="zh-CN" altLang="en-US"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85115">
                <a:tc>
                  <a:txBody>
                    <a:bodyPr/>
                    <a:lstStyle/>
                    <a:p>
                      <a:pPr algn="ctr">
                        <a:spcAft>
                          <a:spcPts val="0"/>
                        </a:spcAft>
                      </a:pPr>
                      <a:r>
                        <a:rPr lang="en-US" altLang="zh-CN" sz="1495" kern="0" dirty="0">
                          <a:effectLst/>
                          <a:latin typeface="微软雅黑" panose="020B0503020204020204" pitchFamily="34" charset="-122"/>
                          <a:ea typeface="微软雅黑" panose="020B0503020204020204" pitchFamily="34" charset="-122"/>
                          <a:cs typeface="+mn-cs"/>
                        </a:rPr>
                        <a:t>6</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495" kern="0" dirty="0" smtClean="0">
                          <a:effectLst/>
                          <a:latin typeface="微软雅黑" panose="020B0503020204020204" pitchFamily="34" charset="-122"/>
                          <a:ea typeface="微软雅黑" panose="020B0503020204020204" pitchFamily="34" charset="-122"/>
                          <a:cs typeface="+mn-cs"/>
                        </a:rPr>
                        <a:t>门窗扇与侧框间留缝</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spcAft>
                          <a:spcPts val="0"/>
                        </a:spcAft>
                      </a:pPr>
                      <a:r>
                        <a:rPr lang="en-US" sz="1495" kern="0" dirty="0">
                          <a:effectLst/>
                          <a:latin typeface="微软雅黑" panose="020B0503020204020204" pitchFamily="34" charset="-122"/>
                          <a:ea typeface="微软雅黑" panose="020B0503020204020204" pitchFamily="34" charset="-122"/>
                        </a:rPr>
                        <a:t>≤</a:t>
                      </a:r>
                      <a:r>
                        <a:rPr lang="en-US" sz="1495" kern="0" dirty="0" smtClean="0">
                          <a:effectLst/>
                          <a:latin typeface="微软雅黑" panose="020B0503020204020204" pitchFamily="34" charset="-122"/>
                          <a:ea typeface="微软雅黑" panose="020B0503020204020204" pitchFamily="34" charset="-122"/>
                        </a:rPr>
                        <a:t>2.5mm</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zh-CN" sz="1495" kern="0" dirty="0" smtClean="0">
                          <a:solidFill>
                            <a:schemeClr val="tx1"/>
                          </a:solidFill>
                          <a:effectLst/>
                          <a:latin typeface="微软雅黑" panose="020B0503020204020204" pitchFamily="34" charset="-122"/>
                          <a:ea typeface="微软雅黑" panose="020B0503020204020204" pitchFamily="34" charset="-122"/>
                        </a:rPr>
                        <a:t>塞尺</a:t>
                      </a:r>
                      <a:endParaRPr lang="zh-CN" altLang="zh-CN"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7"/>
                  </a:ext>
                </a:extLst>
              </a:tr>
              <a:tr h="380365">
                <a:tc>
                  <a:txBody>
                    <a:bodyPr/>
                    <a:lstStyle/>
                    <a:p>
                      <a:pPr algn="ctr">
                        <a:spcAft>
                          <a:spcPts val="0"/>
                        </a:spcAft>
                      </a:pPr>
                      <a:r>
                        <a:rPr lang="en-US" altLang="zh-CN" sz="1495" kern="0" dirty="0">
                          <a:effectLst/>
                          <a:latin typeface="微软雅黑" panose="020B0503020204020204" pitchFamily="34" charset="-122"/>
                          <a:ea typeface="微软雅黑" panose="020B0503020204020204" pitchFamily="34" charset="-122"/>
                          <a:cs typeface="+mn-cs"/>
                        </a:rPr>
                        <a:t>7</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sz="1495" kern="0" dirty="0">
                          <a:effectLst/>
                          <a:latin typeface="微软雅黑" panose="020B0503020204020204" pitchFamily="34" charset="-122"/>
                          <a:ea typeface="微软雅黑" panose="020B0503020204020204" pitchFamily="34" charset="-122"/>
                        </a:rPr>
                        <a:t>框与扇、扇与扇接缝高低差</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sz="1495" kern="0" dirty="0" smtClean="0">
                          <a:effectLst/>
                          <a:latin typeface="微软雅黑" panose="020B0503020204020204" pitchFamily="34" charset="-122"/>
                          <a:ea typeface="微软雅黑" panose="020B0503020204020204" pitchFamily="34" charset="-122"/>
                        </a:rPr>
                        <a:t>≤2</a:t>
                      </a:r>
                      <a:r>
                        <a:rPr lang="en-US" altLang="zh-CN" sz="1495" kern="0" dirty="0" smtClean="0">
                          <a:effectLst/>
                          <a:latin typeface="微软雅黑" panose="020B0503020204020204" pitchFamily="34" charset="-122"/>
                          <a:ea typeface="微软雅黑" panose="020B0503020204020204" pitchFamily="34" charset="-122"/>
                        </a:rPr>
                        <a:t>.0mm</a:t>
                      </a:r>
                      <a:endParaRPr lang="zh-CN" altLang="zh-CN" sz="1495" kern="10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ctr">
                        <a:spcAft>
                          <a:spcPts val="0"/>
                        </a:spcAft>
                      </a:pPr>
                      <a:r>
                        <a:rPr lang="zh-CN" sz="1495" kern="0" dirty="0" smtClean="0">
                          <a:solidFill>
                            <a:schemeClr val="tx1"/>
                          </a:solidFill>
                          <a:effectLst/>
                          <a:latin typeface="微软雅黑" panose="020B0503020204020204" pitchFamily="34" charset="-122"/>
                          <a:ea typeface="微软雅黑" panose="020B0503020204020204" pitchFamily="34" charset="-122"/>
                        </a:rPr>
                        <a:t>钢直尺</a:t>
                      </a:r>
                      <a:r>
                        <a:rPr lang="zh-CN" altLang="en-US" sz="1495" kern="0" dirty="0" smtClean="0">
                          <a:solidFill>
                            <a:schemeClr val="tx1"/>
                          </a:solidFill>
                          <a:effectLst/>
                          <a:latin typeface="微软雅黑" panose="020B0503020204020204" pitchFamily="34" charset="-122"/>
                          <a:ea typeface="微软雅黑" panose="020B0503020204020204" pitchFamily="34" charset="-122"/>
                        </a:rPr>
                        <a:t>和</a:t>
                      </a:r>
                      <a:r>
                        <a:rPr lang="zh-CN" sz="1495" kern="0" dirty="0" smtClean="0">
                          <a:solidFill>
                            <a:schemeClr val="tx1"/>
                          </a:solidFill>
                          <a:effectLst/>
                          <a:latin typeface="微软雅黑" panose="020B0503020204020204" pitchFamily="34" charset="-122"/>
                          <a:ea typeface="微软雅黑" panose="020B0503020204020204" pitchFamily="34" charset="-122"/>
                        </a:rPr>
                        <a:t>塞尺</a:t>
                      </a:r>
                      <a:r>
                        <a:rPr lang="zh-CN" altLang="en-US" sz="1495" kern="0" dirty="0" smtClean="0">
                          <a:solidFill>
                            <a:schemeClr val="tx1"/>
                          </a:solidFill>
                          <a:effectLst/>
                          <a:latin typeface="微软雅黑" panose="020B0503020204020204" pitchFamily="34" charset="-122"/>
                          <a:ea typeface="微软雅黑" panose="020B0503020204020204" pitchFamily="34" charset="-122"/>
                        </a:rPr>
                        <a:t>检查</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380365">
                <a:tc>
                  <a:txBody>
                    <a:bodyPr/>
                    <a:lstStyle/>
                    <a:p>
                      <a:pPr algn="ctr">
                        <a:spcAft>
                          <a:spcPts val="0"/>
                        </a:spcAft>
                      </a:pPr>
                      <a:r>
                        <a:rPr lang="en-US" altLang="zh-CN" sz="1495" kern="100" dirty="0" smtClean="0">
                          <a:effectLst/>
                          <a:latin typeface="微软雅黑" panose="020B0503020204020204" pitchFamily="34" charset="-122"/>
                          <a:ea typeface="微软雅黑" panose="020B0503020204020204" pitchFamily="34" charset="-122"/>
                          <a:cs typeface="Times New Roman" panose="02020603050405020304"/>
                        </a:rPr>
                        <a:t>8</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495" kern="100" dirty="0" smtClean="0">
                          <a:effectLst/>
                          <a:latin typeface="微软雅黑" panose="020B0503020204020204" pitchFamily="34" charset="-122"/>
                          <a:ea typeface="微软雅黑" panose="020B0503020204020204" pitchFamily="34" charset="-122"/>
                          <a:cs typeface="Times New Roman" panose="02020603050405020304"/>
                        </a:rPr>
                        <a:t>门窗槽口对角线长度差</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sz="1495" kern="0" dirty="0" smtClean="0">
                          <a:effectLst/>
                          <a:latin typeface="微软雅黑" panose="020B0503020204020204" pitchFamily="34" charset="-122"/>
                          <a:ea typeface="微软雅黑" panose="020B0503020204020204" pitchFamily="34" charset="-122"/>
                        </a:rPr>
                        <a:t>≤2</a:t>
                      </a:r>
                      <a:r>
                        <a:rPr lang="en-US" altLang="zh-CN" sz="1495" kern="0" dirty="0" smtClean="0">
                          <a:effectLst/>
                          <a:latin typeface="微软雅黑" panose="020B0503020204020204" pitchFamily="34" charset="-122"/>
                          <a:ea typeface="微软雅黑" panose="020B0503020204020204" pitchFamily="34" charset="-122"/>
                        </a:rPr>
                        <a:t>.0mm</a:t>
                      </a:r>
                      <a:endParaRPr lang="zh-CN" altLang="zh-CN" sz="1495" kern="10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ctr">
                        <a:spcAft>
                          <a:spcPts val="0"/>
                        </a:spcAft>
                      </a:pPr>
                      <a:r>
                        <a:rPr lang="zh-CN" altLang="en-US" sz="1495" kern="1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a:rPr>
                        <a:t>钢卷尺检查</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9"/>
                  </a:ext>
                </a:extLst>
              </a:tr>
              <a:tr h="304165">
                <a:tc>
                  <a:txBody>
                    <a:bodyPr/>
                    <a:lstStyle/>
                    <a:p>
                      <a:pPr algn="ctr">
                        <a:spcAft>
                          <a:spcPts val="0"/>
                        </a:spcAft>
                      </a:pPr>
                      <a:r>
                        <a:rPr lang="en-US" altLang="zh-CN" sz="1495" kern="100" dirty="0" smtClean="0">
                          <a:effectLst/>
                          <a:latin typeface="微软雅黑" panose="020B0503020204020204" pitchFamily="34" charset="-122"/>
                          <a:ea typeface="微软雅黑" panose="020B0503020204020204" pitchFamily="34" charset="-122"/>
                          <a:cs typeface="Times New Roman" panose="02020603050405020304"/>
                        </a:rPr>
                        <a:t>9</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95" kern="0" dirty="0" smtClean="0">
                          <a:effectLst/>
                          <a:latin typeface="微软雅黑" panose="020B0503020204020204" pitchFamily="34" charset="-122"/>
                          <a:ea typeface="微软雅黑" panose="020B0503020204020204" pitchFamily="34" charset="-122"/>
                          <a:cs typeface="+mn-cs"/>
                        </a:rPr>
                        <a:t>门扇与下框留缝宽度</a:t>
                      </a:r>
                      <a:endParaRPr lang="zh-CN" altLang="zh-CN" sz="1495" kern="100" dirty="0" smtClean="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spcAft>
                          <a:spcPts val="0"/>
                        </a:spcAft>
                      </a:pPr>
                      <a:r>
                        <a:rPr lang="en-US" altLang="zh-CN" sz="1495" kern="0" dirty="0" smtClean="0">
                          <a:effectLst/>
                          <a:latin typeface="微软雅黑" panose="020B0503020204020204" pitchFamily="34" charset="-122"/>
                          <a:ea typeface="微软雅黑" panose="020B0503020204020204" pitchFamily="34" charset="-122"/>
                        </a:rPr>
                        <a:t>3~4mm</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rowSpan="4">
                  <a:txBody>
                    <a:bodyPr/>
                    <a:lstStyle/>
                    <a:p>
                      <a:pPr algn="ctr">
                        <a:spcAft>
                          <a:spcPts val="0"/>
                        </a:spcAft>
                      </a:pPr>
                      <a:r>
                        <a:rPr lang="zh-CN" sz="1495" kern="0" dirty="0" smtClean="0">
                          <a:solidFill>
                            <a:schemeClr val="tx1"/>
                          </a:solidFill>
                          <a:effectLst/>
                          <a:latin typeface="微软雅黑" panose="020B0503020204020204" pitchFamily="34" charset="-122"/>
                          <a:ea typeface="微软雅黑" panose="020B0503020204020204" pitchFamily="34" charset="-122"/>
                        </a:rPr>
                        <a:t>塞尺</a:t>
                      </a:r>
                      <a:endParaRPr lang="zh-CN" sz="1495" kern="100" dirty="0">
                        <a:solidFill>
                          <a:schemeClr val="tx1"/>
                        </a:solidFill>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68580" marR="6858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457200">
                <a:tc rowSpan="3">
                  <a:txBody>
                    <a:bodyPr/>
                    <a:lstStyle/>
                    <a:p>
                      <a:pPr algn="ctr">
                        <a:spcAft>
                          <a:spcPts val="0"/>
                        </a:spcAft>
                      </a:pPr>
                      <a:r>
                        <a:rPr lang="en-US" altLang="zh-CN" sz="1495" kern="100" dirty="0" smtClean="0">
                          <a:effectLst/>
                          <a:latin typeface="微软雅黑" panose="020B0503020204020204" pitchFamily="34" charset="-122"/>
                          <a:ea typeface="微软雅黑" panose="020B0503020204020204" pitchFamily="34" charset="-122"/>
                          <a:cs typeface="Times New Roman" panose="02020603050405020304"/>
                        </a:rPr>
                        <a:t>10</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95" kern="0" dirty="0" smtClean="0">
                          <a:effectLst/>
                          <a:latin typeface="微软雅黑" panose="020B0503020204020204" pitchFamily="34" charset="-122"/>
                          <a:ea typeface="微软雅黑" panose="020B0503020204020204" pitchFamily="34" charset="-122"/>
                          <a:cs typeface="+mn-cs"/>
                        </a:rPr>
                        <a:t>门扇与地面留缝宽度（无下框）</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CN" altLang="en-US" sz="1495" kern="0" dirty="0" smtClean="0">
                          <a:effectLst/>
                          <a:latin typeface="微软雅黑" panose="020B0503020204020204" pitchFamily="34" charset="-122"/>
                          <a:ea typeface="微软雅黑" panose="020B0503020204020204" pitchFamily="34" charset="-122"/>
                        </a:rPr>
                        <a:t>房间</a:t>
                      </a:r>
                      <a:r>
                        <a:rPr lang="zh-CN" sz="1495" kern="0" dirty="0" smtClean="0">
                          <a:effectLst/>
                          <a:latin typeface="微软雅黑" panose="020B0503020204020204" pitchFamily="34" charset="-122"/>
                          <a:ea typeface="微软雅黑" panose="020B0503020204020204" pitchFamily="34" charset="-122"/>
                        </a:rPr>
                        <a:t>门</a:t>
                      </a:r>
                      <a:r>
                        <a:rPr lang="zh-CN" altLang="en-US" sz="1495" kern="0" dirty="0" smtClean="0">
                          <a:effectLst/>
                          <a:latin typeface="微软雅黑" panose="020B0503020204020204" pitchFamily="34" charset="-122"/>
                          <a:ea typeface="微软雅黑" panose="020B0503020204020204" pitchFamily="34" charset="-122"/>
                        </a:rPr>
                        <a:t>（除厨房、卫生间外）</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altLang="zh-CN" sz="1495" kern="0" dirty="0" smtClean="0">
                          <a:effectLst/>
                          <a:latin typeface="微软雅黑" panose="020B0503020204020204" pitchFamily="34" charset="-122"/>
                          <a:ea typeface="微软雅黑" panose="020B0503020204020204" pitchFamily="34" charset="-122"/>
                        </a:rPr>
                        <a:t>6</a:t>
                      </a:r>
                      <a:r>
                        <a:rPr lang="en-US" sz="1495" kern="0" dirty="0" smtClean="0">
                          <a:effectLst/>
                          <a:latin typeface="微软雅黑" panose="020B0503020204020204" pitchFamily="34" charset="-122"/>
                          <a:ea typeface="微软雅黑" panose="020B0503020204020204" pitchFamily="34" charset="-122"/>
                        </a:rPr>
                        <a:t>~</a:t>
                      </a:r>
                      <a:r>
                        <a:rPr lang="en-US" altLang="zh-CN" sz="1495" kern="0" dirty="0" smtClean="0">
                          <a:effectLst/>
                          <a:latin typeface="微软雅黑" panose="020B0503020204020204" pitchFamily="34" charset="-122"/>
                          <a:ea typeface="微软雅黑" panose="020B0503020204020204" pitchFamily="34" charset="-122"/>
                        </a:rPr>
                        <a:t>7mm</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tc vMerge="1">
                  <a:txBody>
                    <a:bodyPr/>
                    <a:lstStyle/>
                    <a:p>
                      <a:endParaRPr lang="zh-CN"/>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323215">
                <a:tc vMerge="1">
                  <a:txBody>
                    <a:bodyPr/>
                    <a:lstStyle/>
                    <a:p>
                      <a:endParaRPr lang="zh-CN"/>
                    </a:p>
                  </a:txBody>
                  <a:tcPr/>
                </a:tc>
                <a:tc vMerge="1">
                  <a:txBody>
                    <a:bodyPr/>
                    <a:lstStyle/>
                    <a:p>
                      <a:endParaRPr lang="zh-CN"/>
                    </a:p>
                  </a:txBody>
                  <a:tcPr/>
                </a:tc>
                <a:tc>
                  <a:txBody>
                    <a:bodyPr/>
                    <a:lstStyle/>
                    <a:p>
                      <a:pPr algn="ctr">
                        <a:spcAft>
                          <a:spcPts val="0"/>
                        </a:spcAft>
                      </a:pPr>
                      <a:r>
                        <a:rPr lang="zh-CN" sz="1495" kern="0" dirty="0" smtClean="0">
                          <a:effectLst/>
                          <a:latin typeface="微软雅黑" panose="020B0503020204020204" pitchFamily="34" charset="-122"/>
                          <a:ea typeface="微软雅黑" panose="020B0503020204020204" pitchFamily="34" charset="-122"/>
                        </a:rPr>
                        <a:t>卫生间</a:t>
                      </a:r>
                      <a:r>
                        <a:rPr lang="zh-CN" altLang="en-US" sz="1495" kern="0" dirty="0" smtClean="0">
                          <a:effectLst/>
                          <a:latin typeface="微软雅黑" panose="020B0503020204020204" pitchFamily="34" charset="-122"/>
                          <a:ea typeface="微软雅黑" panose="020B0503020204020204" pitchFamily="34" charset="-122"/>
                        </a:rPr>
                        <a:t>门</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en-US" altLang="zh-CN" sz="1495" kern="0" dirty="0" smtClean="0">
                          <a:effectLst/>
                          <a:latin typeface="微软雅黑" panose="020B0503020204020204" pitchFamily="34" charset="-122"/>
                          <a:ea typeface="微软雅黑" panose="020B0503020204020204" pitchFamily="34" charset="-122"/>
                        </a:rPr>
                        <a:t>8~10mm</a:t>
                      </a:r>
                      <a:endParaRPr lang="zh-CN" sz="14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12"/>
                  </a:ext>
                </a:extLst>
              </a:tr>
              <a:tr h="323215">
                <a:tc vMerge="1">
                  <a:txBody>
                    <a:bodyPr/>
                    <a:lstStyle/>
                    <a:p>
                      <a:endParaRPr lang="zh-CN"/>
                    </a:p>
                  </a:txBody>
                  <a:tcPr/>
                </a:tc>
                <a:tc vMerge="1">
                  <a:txBody>
                    <a:bodyPr/>
                    <a:lstStyle/>
                    <a:p>
                      <a:endParaRPr lang="zh-CN"/>
                    </a:p>
                  </a:txBody>
                  <a:tcPr/>
                </a:tc>
                <a:tc>
                  <a:txBody>
                    <a:bodyPr/>
                    <a:lstStyle/>
                    <a:p>
                      <a:pPr algn="ctr">
                        <a:spcAft>
                          <a:spcPts val="0"/>
                        </a:spcAft>
                      </a:pPr>
                      <a:r>
                        <a:rPr lang="zh-CN" altLang="en-US" sz="1595" kern="100" dirty="0" smtClean="0">
                          <a:effectLst/>
                          <a:latin typeface="微软雅黑" panose="020B0503020204020204" pitchFamily="34" charset="-122"/>
                          <a:ea typeface="微软雅黑" panose="020B0503020204020204" pitchFamily="34" charset="-122"/>
                          <a:cs typeface="Times New Roman" panose="02020603050405020304"/>
                        </a:rPr>
                        <a:t>外门</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595" kern="0" dirty="0" smtClean="0">
                          <a:effectLst/>
                          <a:latin typeface="微软雅黑" panose="020B0503020204020204" pitchFamily="34" charset="-122"/>
                          <a:ea typeface="微软雅黑" panose="020B0503020204020204" pitchFamily="34" charset="-122"/>
                        </a:rPr>
                        <a:t>5</a:t>
                      </a:r>
                      <a:r>
                        <a:rPr lang="en-US" sz="1595" kern="0" dirty="0" smtClean="0">
                          <a:effectLst/>
                          <a:latin typeface="微软雅黑" panose="020B0503020204020204" pitchFamily="34" charset="-122"/>
                          <a:ea typeface="微软雅黑" panose="020B0503020204020204" pitchFamily="34" charset="-122"/>
                        </a:rPr>
                        <a:t>~</a:t>
                      </a:r>
                      <a:r>
                        <a:rPr lang="en-US" altLang="zh-CN" sz="1595" kern="0" dirty="0" smtClean="0">
                          <a:effectLst/>
                          <a:latin typeface="微软雅黑" panose="020B0503020204020204" pitchFamily="34" charset="-122"/>
                          <a:ea typeface="微软雅黑" panose="020B0503020204020204" pitchFamily="34" charset="-122"/>
                        </a:rPr>
                        <a:t>6mm</a:t>
                      </a:r>
                      <a:endParaRPr lang="zh-CN" sz="1595" kern="100" dirty="0">
                        <a:effectLst/>
                        <a:latin typeface="微软雅黑" panose="020B0503020204020204" pitchFamily="34" charset="-122"/>
                        <a:ea typeface="微软雅黑" panose="020B0503020204020204" pitchFamily="34" charset="-122"/>
                        <a:cs typeface="Times New Roman" panose="02020603050405020304"/>
                      </a:endParaRPr>
                    </a:p>
                  </a:txBody>
                  <a:tcPr marL="68454" marR="68454"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zh-CN"/>
                    </a:p>
                  </a:txBody>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13"/>
                  </a:ext>
                </a:extLst>
              </a:tr>
            </a:tbl>
          </a:graphicData>
        </a:graphic>
      </p:graphicFrame>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2</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门及门窗套安装质量   </a:t>
            </a:r>
            <a:r>
              <a:rPr lang="zh-CN" altLang="en-US" sz="1800" dirty="0">
                <a:latin typeface="微软雅黑" panose="020B0503020204020204" pitchFamily="34" charset="-122"/>
                <a:ea typeface="微软雅黑" panose="020B0503020204020204" pitchFamily="34" charset="-122"/>
                <a:sym typeface="+mn-ea"/>
              </a:rPr>
              <a:t>验收要求及方法</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8" name="Picture 2" descr="E:\金地品质管理\精装品质管控\精装管控实例图\微信图片_20180803155906.jpg微信图片_20180803155906"/>
          <p:cNvPicPr>
            <a:picLocks noChangeAspect="1"/>
          </p:cNvPicPr>
          <p:nvPr/>
        </p:nvPicPr>
        <p:blipFill>
          <a:blip r:embed="rId2"/>
          <a:srcRect/>
          <a:stretch>
            <a:fillRect/>
          </a:stretch>
        </p:blipFill>
        <p:spPr bwMode="auto">
          <a:xfrm>
            <a:off x="6909824" y="1875284"/>
            <a:ext cx="2096135" cy="3726994"/>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5" name="矩形 2"/>
          <p:cNvSpPr>
            <a:spLocks noChangeArrowheads="1"/>
          </p:cNvSpPr>
          <p:nvPr/>
        </p:nvSpPr>
        <p:spPr bwMode="auto">
          <a:xfrm>
            <a:off x="3538185" y="6018788"/>
            <a:ext cx="6032596"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门吸验收：</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安装位置适宜，固定牢固，无松动</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72711" name="Picture 2"/>
          <p:cNvPicPr>
            <a:picLocks noChangeAspect="1"/>
          </p:cNvPicPr>
          <p:nvPr/>
        </p:nvPicPr>
        <p:blipFill>
          <a:blip r:embed="rId3"/>
          <a:stretch>
            <a:fillRect/>
          </a:stretch>
        </p:blipFill>
        <p:spPr bwMode="auto">
          <a:xfrm>
            <a:off x="2975890" y="1875284"/>
            <a:ext cx="2494170" cy="374284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72712" name="椭圆 15"/>
          <p:cNvSpPr/>
          <p:nvPr/>
        </p:nvSpPr>
        <p:spPr>
          <a:xfrm>
            <a:off x="7397115" y="2464435"/>
            <a:ext cx="898525" cy="3032760"/>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sp>
        <p:nvSpPr>
          <p:cNvPr id="23" name="L 形 22"/>
          <p:cNvSpPr/>
          <p:nvPr/>
        </p:nvSpPr>
        <p:spPr bwMode="auto">
          <a:xfrm rot="18535748">
            <a:off x="4397282" y="2128821"/>
            <a:ext cx="1033163" cy="456367"/>
          </a:xfrm>
          <a:prstGeom prst="corner">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sp>
        <p:nvSpPr>
          <p:cNvPr id="24" name="乘号 23"/>
          <p:cNvSpPr/>
          <p:nvPr/>
        </p:nvSpPr>
        <p:spPr bwMode="auto">
          <a:xfrm>
            <a:off x="7865519" y="1619865"/>
            <a:ext cx="1212224" cy="1697114"/>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2-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门及门窗套安装质量   </a:t>
            </a:r>
            <a:r>
              <a:rPr lang="zh-CN" altLang="en-US" sz="1800" dirty="0">
                <a:latin typeface="微软雅黑" panose="020B0503020204020204" pitchFamily="34" charset="-122"/>
                <a:ea typeface="微软雅黑" panose="020B0503020204020204" pitchFamily="34" charset="-122"/>
                <a:sym typeface="+mn-ea"/>
              </a:rPr>
              <a:t>（观感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0"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2239" y="76438"/>
            <a:ext cx="4320480" cy="499111"/>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一</a:t>
            </a:r>
            <a:r>
              <a:rPr lang="zh-CN" altLang="en-US" sz="2000" b="1" dirty="0" smtClean="0">
                <a:solidFill>
                  <a:srgbClr val="F64C31"/>
                </a:solidFill>
                <a:cs typeface="+mn-ea"/>
              </a:rPr>
              <a:t>、项目前期</a:t>
            </a:r>
          </a:p>
        </p:txBody>
      </p:sp>
      <p:sp>
        <p:nvSpPr>
          <p:cNvPr id="2" name="文本框 1"/>
          <p:cNvSpPr txBox="1"/>
          <p:nvPr/>
        </p:nvSpPr>
        <p:spPr>
          <a:xfrm>
            <a:off x="684287" y="774452"/>
            <a:ext cx="3744416"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lvl="0" algn="l">
              <a:lnSpc>
                <a:spcPct val="150000"/>
              </a:lnSpc>
            </a:pPr>
            <a:r>
              <a:rPr lang="en-US" altLang="zh-CN" sz="1800" b="1" dirty="0" smtClean="0">
                <a:solidFill>
                  <a:srgbClr val="000000"/>
                </a:solidFill>
                <a:cs typeface="+mn-ea"/>
                <a:sym typeface="+mn-ea"/>
              </a:rPr>
              <a:t>1.1.5、</a:t>
            </a:r>
            <a:r>
              <a:rPr lang="zh-CN" altLang="en-US" sz="1800" b="1" dirty="0">
                <a:solidFill>
                  <a:srgbClr val="000000"/>
                </a:solidFill>
                <a:cs typeface="+mn-ea"/>
                <a:sym typeface="+mn-ea"/>
              </a:rPr>
              <a:t>结构</a:t>
            </a:r>
            <a:r>
              <a:rPr lang="en-US" altLang="zh-CN" sz="1800" b="1" dirty="0">
                <a:solidFill>
                  <a:srgbClr val="000000"/>
                </a:solidFill>
                <a:cs typeface="+mn-ea"/>
                <a:sym typeface="+mn-ea"/>
              </a:rPr>
              <a:t>规划</a:t>
            </a:r>
            <a:r>
              <a:rPr lang="zh-CN" altLang="en-US" sz="1800" b="1" dirty="0">
                <a:solidFill>
                  <a:srgbClr val="000000"/>
                </a:solidFill>
                <a:cs typeface="+mn-ea"/>
                <a:sym typeface="+mn-ea"/>
              </a:rPr>
              <a:t>（实例）</a:t>
            </a: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9393047" y="1926580"/>
            <a:ext cx="2380472" cy="4339650"/>
          </a:xfrm>
          <a:prstGeom prst="rect">
            <a:avLst/>
          </a:prstGeom>
          <a:noFill/>
          <a:extLst/>
        </p:spPr>
        <p:txBody>
          <a:bodyPr wrap="square" rtlCol="0">
            <a:spAutoFit/>
          </a:bodyPr>
          <a:lstStyle/>
          <a:p>
            <a:pPr algn="l">
              <a:lnSpc>
                <a:spcPct val="150000"/>
              </a:lnSpc>
            </a:pPr>
            <a:r>
              <a:rPr lang="zh-CN" altLang="en-US" sz="1600" b="1" dirty="0" smtClean="0">
                <a:solidFill>
                  <a:srgbClr val="000000"/>
                </a:solidFill>
                <a:latin typeface="+mn-ea"/>
                <a:cs typeface="+mn-ea"/>
              </a:rPr>
              <a:t>问题描述：</a:t>
            </a:r>
            <a:endParaRPr lang="en-US" altLang="zh-CN" sz="1600" b="1" dirty="0" smtClean="0">
              <a:solidFill>
                <a:srgbClr val="000000"/>
              </a:solidFill>
              <a:latin typeface="+mn-ea"/>
              <a:cs typeface="+mn-ea"/>
            </a:endParaRPr>
          </a:p>
          <a:p>
            <a:pPr algn="l">
              <a:lnSpc>
                <a:spcPct val="150000"/>
              </a:lnSpc>
            </a:pPr>
            <a:r>
              <a:rPr lang="zh-CN" altLang="en-US" sz="1400" dirty="0" smtClean="0">
                <a:solidFill>
                  <a:srgbClr val="000000"/>
                </a:solidFill>
                <a:cs typeface="+mn-ea"/>
              </a:rPr>
              <a:t>原设计楼梯因楼体变形缝原因，共有</a:t>
            </a:r>
            <a:r>
              <a:rPr lang="en-US" altLang="zh-CN" sz="1400" dirty="0" smtClean="0">
                <a:solidFill>
                  <a:srgbClr val="000000"/>
                </a:solidFill>
                <a:cs typeface="+mn-ea"/>
              </a:rPr>
              <a:t>32</a:t>
            </a:r>
            <a:r>
              <a:rPr lang="zh-CN" altLang="en-US" sz="1400" dirty="0" smtClean="0">
                <a:solidFill>
                  <a:srgbClr val="000000"/>
                </a:solidFill>
                <a:cs typeface="+mn-ea"/>
              </a:rPr>
              <a:t>户结构柱子影响楼梯上楼空间尺寸不能满足功能使用需求；</a:t>
            </a:r>
            <a:endParaRPr lang="en-US" altLang="zh-CN" sz="1400" dirty="0" smtClean="0">
              <a:solidFill>
                <a:srgbClr val="000000"/>
              </a:solidFill>
              <a:cs typeface="+mn-ea"/>
            </a:endParaRPr>
          </a:p>
          <a:p>
            <a:pPr algn="l">
              <a:lnSpc>
                <a:spcPct val="150000"/>
              </a:lnSpc>
            </a:pPr>
            <a:r>
              <a:rPr lang="zh-CN" altLang="en-US" sz="1400" dirty="0" smtClean="0">
                <a:solidFill>
                  <a:srgbClr val="000000"/>
                </a:solidFill>
                <a:cs typeface="+mn-ea"/>
              </a:rPr>
              <a:t>结合现场实际条件进行楼梯深化，将原方案调整为旋转楼梯。</a:t>
            </a:r>
            <a:endParaRPr lang="en-US" altLang="zh-CN" sz="1400" dirty="0" smtClean="0">
              <a:solidFill>
                <a:srgbClr val="000000"/>
              </a:solidFill>
              <a:cs typeface="+mn-ea"/>
            </a:endParaRPr>
          </a:p>
          <a:p>
            <a:pPr>
              <a:lnSpc>
                <a:spcPct val="150000"/>
              </a:lnSpc>
            </a:pPr>
            <a:r>
              <a:rPr lang="zh-CN" altLang="en-US" sz="1400" b="1" dirty="0" smtClean="0">
                <a:solidFill>
                  <a:srgbClr val="000000"/>
                </a:solidFill>
                <a:cs typeface="+mn-ea"/>
              </a:rPr>
              <a:t>此方案因与销售样板楼梯不同，</a:t>
            </a:r>
            <a:r>
              <a:rPr lang="zh-CN" altLang="zh-CN" sz="1400" b="1" dirty="0">
                <a:solidFill>
                  <a:srgbClr val="000000"/>
                </a:solidFill>
                <a:cs typeface="+mn-ea"/>
              </a:rPr>
              <a:t>已经造成</a:t>
            </a:r>
            <a:r>
              <a:rPr lang="zh-CN" altLang="zh-CN" sz="1400" b="1" dirty="0" smtClean="0">
                <a:solidFill>
                  <a:srgbClr val="000000"/>
                </a:solidFill>
                <a:cs typeface="+mn-ea"/>
              </a:rPr>
              <a:t>业主</a:t>
            </a:r>
            <a:r>
              <a:rPr lang="zh-CN" altLang="en-US" sz="1400" b="1" dirty="0" smtClean="0">
                <a:solidFill>
                  <a:srgbClr val="000000"/>
                </a:solidFill>
                <a:cs typeface="+mn-ea"/>
              </a:rPr>
              <a:t>投</a:t>
            </a:r>
            <a:r>
              <a:rPr lang="zh-CN" altLang="zh-CN" sz="1400" b="1" dirty="0" smtClean="0">
                <a:solidFill>
                  <a:srgbClr val="000000"/>
                </a:solidFill>
                <a:cs typeface="+mn-ea"/>
              </a:rPr>
              <a:t>诉，</a:t>
            </a:r>
            <a:r>
              <a:rPr lang="zh-CN" altLang="zh-CN" sz="1400" b="1" dirty="0">
                <a:solidFill>
                  <a:srgbClr val="000000"/>
                </a:solidFill>
                <a:cs typeface="+mn-ea"/>
              </a:rPr>
              <a:t>且在已经精装进行阶段在进行结构调整，已造成成本浪费及工期严重延期的风险。</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56695" y="2173856"/>
            <a:ext cx="1974339" cy="349714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2" name="下箭头 11"/>
          <p:cNvSpPr/>
          <p:nvPr/>
        </p:nvSpPr>
        <p:spPr>
          <a:xfrm rot="16200000">
            <a:off x="3911636" y="3783656"/>
            <a:ext cx="324550" cy="2775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3"/>
          <a:stretch>
            <a:fillRect/>
          </a:stretch>
        </p:blipFill>
        <p:spPr>
          <a:xfrm rot="16200000">
            <a:off x="509743" y="2461436"/>
            <a:ext cx="3475785" cy="2921980"/>
          </a:xfrm>
          <a:prstGeom prst="rect">
            <a:avLst/>
          </a:prstGeom>
          <a:ln w="88900" cap="sq" cmpd="thickThin">
            <a:solidFill>
              <a:srgbClr val="000000"/>
            </a:solidFill>
            <a:prstDash val="solid"/>
            <a:miter lim="800000"/>
            <a:headEnd/>
            <a:tailEnd/>
          </a:ln>
          <a:effectLst>
            <a:innerShdw blurRad="76200">
              <a:srgbClr val="000000"/>
            </a:innerShdw>
          </a:effectLst>
        </p:spPr>
      </p:pic>
      <p:sp>
        <p:nvSpPr>
          <p:cNvPr id="14" name="文本框 13"/>
          <p:cNvSpPr txBox="1"/>
          <p:nvPr/>
        </p:nvSpPr>
        <p:spPr>
          <a:xfrm>
            <a:off x="839696" y="5815012"/>
            <a:ext cx="2868930" cy="417743"/>
          </a:xfrm>
          <a:prstGeom prst="rect">
            <a:avLst/>
          </a:prstGeom>
          <a:solidFill>
            <a:schemeClr val="bg1"/>
          </a:solidFill>
        </p:spPr>
        <p:txBody>
          <a:bodyPr wrap="square" rtlCol="0">
            <a:spAutoFit/>
          </a:bodyPr>
          <a:lstStyle/>
          <a:p>
            <a:pPr algn="ctr">
              <a:lnSpc>
                <a:spcPct val="150000"/>
              </a:lnSpc>
            </a:pPr>
            <a:r>
              <a:rPr lang="zh-CN" altLang="en-US" sz="1600" b="1" dirty="0" smtClean="0">
                <a:solidFill>
                  <a:srgbClr val="000000"/>
                </a:solidFill>
                <a:cs typeface="+mn-ea"/>
              </a:rPr>
              <a:t>原方案</a:t>
            </a:r>
            <a:endParaRPr lang="en-US" altLang="zh-CN" sz="1600" b="1" dirty="0">
              <a:solidFill>
                <a:srgbClr val="000000"/>
              </a:solidFill>
              <a:cs typeface="+mn-ea"/>
            </a:endParaRPr>
          </a:p>
        </p:txBody>
      </p:sp>
      <p:sp>
        <p:nvSpPr>
          <p:cNvPr id="15" name="文本框 14"/>
          <p:cNvSpPr txBox="1"/>
          <p:nvPr/>
        </p:nvSpPr>
        <p:spPr>
          <a:xfrm>
            <a:off x="4428703" y="5815012"/>
            <a:ext cx="2868930" cy="417743"/>
          </a:xfrm>
          <a:prstGeom prst="rect">
            <a:avLst/>
          </a:prstGeom>
          <a:solidFill>
            <a:schemeClr val="bg1"/>
          </a:solidFill>
        </p:spPr>
        <p:txBody>
          <a:bodyPr wrap="square" rtlCol="0">
            <a:spAutoFit/>
          </a:bodyPr>
          <a:lstStyle/>
          <a:p>
            <a:pPr algn="ctr">
              <a:lnSpc>
                <a:spcPct val="150000"/>
              </a:lnSpc>
            </a:pPr>
            <a:r>
              <a:rPr lang="zh-CN" altLang="en-US" sz="1600" b="1" dirty="0" smtClean="0">
                <a:solidFill>
                  <a:srgbClr val="000000"/>
                </a:solidFill>
                <a:cs typeface="+mn-ea"/>
              </a:rPr>
              <a:t>调整后</a:t>
            </a:r>
            <a:endParaRPr lang="en-US" altLang="zh-CN" sz="1600" b="1" dirty="0">
              <a:solidFill>
                <a:srgbClr val="000000"/>
              </a:solidFill>
              <a:cs typeface="+mn-ea"/>
            </a:endParaRPr>
          </a:p>
        </p:txBody>
      </p:sp>
      <p:pic>
        <p:nvPicPr>
          <p:cNvPr id="16" name="图片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42850" y="2173856"/>
            <a:ext cx="2638381" cy="3517841"/>
          </a:xfrm>
          <a:prstGeom prst="rect">
            <a:avLst/>
          </a:prstGeom>
          <a:ln w="88900" cap="sq" cmpd="thickThin">
            <a:solidFill>
              <a:srgbClr val="000000"/>
            </a:solidFill>
            <a:prstDash val="solid"/>
            <a:miter lim="800000"/>
            <a:headEnd/>
            <a:tailEnd/>
          </a:ln>
          <a:effectLst>
            <a:innerShdw blurRad="76200">
              <a:srgbClr val="000000"/>
            </a:innerShdw>
          </a:effectLst>
        </p:spPr>
      </p:pic>
    </p:spTree>
    <p:extLst>
      <p:ext uri="{BB962C8B-B14F-4D97-AF65-F5344CB8AC3E}">
        <p14:creationId xmlns:p14="http://schemas.microsoft.com/office/powerpoint/2010/main" val="1195465089"/>
      </p:ext>
    </p:extLst>
  </p:cSld>
  <p:clrMapOvr>
    <a:masterClrMapping/>
  </p:clrMapOvr>
  <p:transition>
    <p:zoom dir="in"/>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8" name="Picture 2"/>
          <p:cNvPicPr>
            <a:picLocks noChangeAspect="1"/>
          </p:cNvPicPr>
          <p:nvPr/>
        </p:nvPicPr>
        <p:blipFill>
          <a:blip r:embed="rId2"/>
          <a:stretch>
            <a:fillRect/>
          </a:stretch>
        </p:blipFill>
        <p:spPr bwMode="auto">
          <a:xfrm>
            <a:off x="6044815" y="2031365"/>
            <a:ext cx="3278890" cy="272732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2" name="矩形 2"/>
          <p:cNvSpPr>
            <a:spLocks noChangeArrowheads="1"/>
          </p:cNvSpPr>
          <p:nvPr/>
        </p:nvSpPr>
        <p:spPr bwMode="auto">
          <a:xfrm>
            <a:off x="3530502" y="5336064"/>
            <a:ext cx="5292584"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门锁验收：</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安装牢固，门把手无松动</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77830" name="Picture 2"/>
          <p:cNvPicPr>
            <a:picLocks noChangeAspect="1"/>
          </p:cNvPicPr>
          <p:nvPr/>
        </p:nvPicPr>
        <p:blipFill>
          <a:blip r:embed="rId3"/>
          <a:stretch>
            <a:fillRect/>
          </a:stretch>
        </p:blipFill>
        <p:spPr bwMode="auto">
          <a:xfrm>
            <a:off x="3192641" y="2020292"/>
            <a:ext cx="1827051" cy="2738199"/>
          </a:xfrm>
          <a:prstGeom prst="rect">
            <a:avLst/>
          </a:prstGeom>
          <a:noFill/>
          <a:ln w="88900" cap="sq" cmpd="thickThin">
            <a:solidFill>
              <a:srgbClr val="000000"/>
            </a:solidFill>
            <a:prstDash val="solid"/>
            <a:miter lim="800000"/>
            <a:headEnd/>
            <a:tailEnd/>
          </a:ln>
          <a:effectLst>
            <a:innerShdw blurRad="76200">
              <a:srgbClr val="000000"/>
            </a:innerShdw>
          </a:effectLst>
        </p:spPr>
      </p:pic>
      <p:grpSp>
        <p:nvGrpSpPr>
          <p:cNvPr id="77831" name="组合 15"/>
          <p:cNvGrpSpPr/>
          <p:nvPr/>
        </p:nvGrpSpPr>
        <p:grpSpPr>
          <a:xfrm>
            <a:off x="4138651" y="2364152"/>
            <a:ext cx="926994" cy="484889"/>
            <a:chOff x="624359" y="2918833"/>
            <a:chExt cx="929460" cy="485735"/>
          </a:xfrm>
        </p:grpSpPr>
        <p:sp>
          <p:nvSpPr>
            <p:cNvPr id="77834" name="矩形 16"/>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77835" name="矩形 17"/>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19" name="乘号 18"/>
          <p:cNvSpPr/>
          <p:nvPr/>
        </p:nvSpPr>
        <p:spPr bwMode="auto">
          <a:xfrm>
            <a:off x="8437999" y="1838063"/>
            <a:ext cx="942841"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2-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门及门窗套安装质量   </a:t>
            </a:r>
            <a:r>
              <a:rPr lang="zh-CN" altLang="en-US" sz="1800" dirty="0">
                <a:latin typeface="微软雅黑" panose="020B0503020204020204" pitchFamily="34" charset="-122"/>
                <a:ea typeface="微软雅黑" panose="020B0503020204020204" pitchFamily="34" charset="-122"/>
                <a:sym typeface="+mn-ea"/>
              </a:rPr>
              <a:t>（观感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1"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6" name="Picture 2"/>
          <p:cNvPicPr>
            <a:picLocks noChangeAspect="1"/>
          </p:cNvPicPr>
          <p:nvPr/>
        </p:nvPicPr>
        <p:blipFill>
          <a:blip r:embed="rId2"/>
          <a:stretch>
            <a:fillRect/>
          </a:stretch>
        </p:blipFill>
        <p:spPr bwMode="auto">
          <a:xfrm>
            <a:off x="6291580" y="2126615"/>
            <a:ext cx="3468370" cy="322707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5" name="矩形 2"/>
          <p:cNvSpPr>
            <a:spLocks noChangeArrowheads="1"/>
          </p:cNvSpPr>
          <p:nvPr/>
        </p:nvSpPr>
        <p:spPr bwMode="auto">
          <a:xfrm>
            <a:off x="2585085" y="5803265"/>
            <a:ext cx="707009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门窗套正侧面垂直度：</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a:t>
            </a: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2M</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靠尺及塞尺检查，垂直度误差</a:t>
            </a:r>
            <a:r>
              <a:rPr kumimoji="0" lang="en-US"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3MM</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74759" name="Picture 2"/>
          <p:cNvPicPr>
            <a:picLocks noChangeAspect="1"/>
          </p:cNvPicPr>
          <p:nvPr/>
        </p:nvPicPr>
        <p:blipFill>
          <a:blip r:embed="rId3"/>
          <a:stretch>
            <a:fillRect/>
          </a:stretch>
        </p:blipFill>
        <p:spPr bwMode="auto">
          <a:xfrm>
            <a:off x="2328545" y="2125980"/>
            <a:ext cx="3550285" cy="322770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L 形 7"/>
          <p:cNvSpPr/>
          <p:nvPr/>
        </p:nvSpPr>
        <p:spPr bwMode="auto">
          <a:xfrm rot="18535748">
            <a:off x="4124622" y="3639007"/>
            <a:ext cx="1033163" cy="456367"/>
          </a:xfrm>
          <a:prstGeom prst="corner">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sp>
        <p:nvSpPr>
          <p:cNvPr id="9" name="乘号 8"/>
          <p:cNvSpPr/>
          <p:nvPr/>
        </p:nvSpPr>
        <p:spPr bwMode="auto">
          <a:xfrm>
            <a:off x="8032115" y="2977515"/>
            <a:ext cx="1264285" cy="1524000"/>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cxnSp>
        <p:nvCxnSpPr>
          <p:cNvPr id="74762" name="直接箭头连接符 9"/>
          <p:cNvCxnSpPr/>
          <p:nvPr/>
        </p:nvCxnSpPr>
        <p:spPr>
          <a:xfrm>
            <a:off x="7623252" y="3446616"/>
            <a:ext cx="499110" cy="736600"/>
          </a:xfrm>
          <a:prstGeom prst="straightConnector1">
            <a:avLst/>
          </a:prstGeom>
          <a:ln w="38100" cap="flat" cmpd="dbl">
            <a:solidFill>
              <a:srgbClr val="C00000"/>
            </a:solidFill>
            <a:prstDash val="solid"/>
            <a:headEnd type="none" w="med" len="med"/>
            <a:tailEnd type="triangle" w="med" len="med"/>
          </a:ln>
        </p:spPr>
      </p:cxnSp>
      <p:cxnSp>
        <p:nvCxnSpPr>
          <p:cNvPr id="74763" name="直接箭头连接符 10"/>
          <p:cNvCxnSpPr/>
          <p:nvPr/>
        </p:nvCxnSpPr>
        <p:spPr>
          <a:xfrm>
            <a:off x="3698240" y="3329305"/>
            <a:ext cx="440690" cy="972185"/>
          </a:xfrm>
          <a:prstGeom prst="straightConnector1">
            <a:avLst/>
          </a:prstGeom>
          <a:ln w="38100" cap="flat" cmpd="dbl">
            <a:solidFill>
              <a:srgbClr val="C00000"/>
            </a:solidFill>
            <a:prstDash val="solid"/>
            <a:headEnd type="none" w="med" len="med"/>
            <a:tailEnd type="triangle" w="med" len="med"/>
          </a:ln>
        </p:spPr>
      </p:cxnSp>
      <p:pic>
        <p:nvPicPr>
          <p:cNvPr id="74764" name="Picture 1"/>
          <p:cNvPicPr>
            <a:picLocks noChangeAspect="1"/>
          </p:cNvPicPr>
          <p:nvPr/>
        </p:nvPicPr>
        <p:blipFill>
          <a:blip r:embed="rId4"/>
          <a:stretch>
            <a:fillRect/>
          </a:stretch>
        </p:blipFill>
        <p:spPr>
          <a:xfrm>
            <a:off x="7724775" y="4301490"/>
            <a:ext cx="1393190" cy="930910"/>
          </a:xfrm>
          <a:prstGeom prst="rect">
            <a:avLst/>
          </a:prstGeom>
          <a:noFill/>
          <a:ln w="28575" cap="flat" cmpd="sng">
            <a:solidFill>
              <a:srgbClr val="C00000"/>
            </a:solidFill>
            <a:prstDash val="dashDot"/>
            <a:miter/>
            <a:headEnd type="none" w="med" len="med"/>
            <a:tailEnd type="none" w="med" len="med"/>
          </a:ln>
        </p:spPr>
      </p:pic>
      <p:pic>
        <p:nvPicPr>
          <p:cNvPr id="74765" name="Picture 2"/>
          <p:cNvPicPr>
            <a:picLocks noChangeAspect="1"/>
          </p:cNvPicPr>
          <p:nvPr/>
        </p:nvPicPr>
        <p:blipFill>
          <a:blip r:embed="rId5"/>
          <a:stretch>
            <a:fillRect/>
          </a:stretch>
        </p:blipFill>
        <p:spPr>
          <a:xfrm>
            <a:off x="3622838" y="4374307"/>
            <a:ext cx="1318392" cy="881041"/>
          </a:xfrm>
          <a:prstGeom prst="rect">
            <a:avLst/>
          </a:prstGeom>
          <a:noFill/>
          <a:ln w="28575" cap="flat" cmpd="sng">
            <a:solidFill>
              <a:srgbClr val="C00000"/>
            </a:solidFill>
            <a:prstDash val="dashDot"/>
            <a:miter/>
            <a:headEnd type="none" w="med" len="med"/>
            <a:tailEnd type="none" w="med" len="med"/>
          </a:ln>
        </p:spPr>
      </p:pic>
      <p:sp>
        <p:nvSpPr>
          <p:cNvPr id="3" name="文本框 2"/>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2-2</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门及门窗套安装质量   </a:t>
            </a:r>
            <a:r>
              <a:rPr lang="zh-CN" altLang="en-US" sz="1800" dirty="0">
                <a:latin typeface="微软雅黑" panose="020B0503020204020204" pitchFamily="34" charset="-122"/>
                <a:ea typeface="微软雅黑" panose="020B0503020204020204" pitchFamily="34" charset="-122"/>
                <a:sym typeface="+mn-ea"/>
              </a:rPr>
              <a:t>（实测实例）</a:t>
            </a:r>
            <a:endParaRPr lang="zh-CN" altLang="en-US" sz="1800" b="1" dirty="0" smtClean="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4" name="Picture 2"/>
          <p:cNvPicPr>
            <a:picLocks noChangeAspect="1"/>
          </p:cNvPicPr>
          <p:nvPr/>
        </p:nvPicPr>
        <p:blipFill>
          <a:blip r:embed="rId2"/>
          <a:stretch>
            <a:fillRect/>
          </a:stretch>
        </p:blipFill>
        <p:spPr bwMode="auto">
          <a:xfrm>
            <a:off x="2771775" y="1850390"/>
            <a:ext cx="2552700" cy="3823970"/>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5" name="矩形 2"/>
          <p:cNvSpPr>
            <a:spLocks noChangeArrowheads="1"/>
          </p:cNvSpPr>
          <p:nvPr/>
        </p:nvSpPr>
        <p:spPr bwMode="auto">
          <a:xfrm>
            <a:off x="1445161" y="6031706"/>
            <a:ext cx="9127331"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门扇对角线：</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对角检测尺检查，对角线误差</a:t>
            </a:r>
            <a:r>
              <a:rPr kumimoji="0" lang="en-US"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2MM</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76807" name="Picture 2"/>
          <p:cNvPicPr>
            <a:picLocks noChangeAspect="1"/>
          </p:cNvPicPr>
          <p:nvPr/>
        </p:nvPicPr>
        <p:blipFill>
          <a:blip r:embed="rId3"/>
          <a:stretch>
            <a:fillRect/>
          </a:stretch>
        </p:blipFill>
        <p:spPr bwMode="auto">
          <a:xfrm>
            <a:off x="6160949" y="1850172"/>
            <a:ext cx="2552801" cy="382365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8" name="L 形 7"/>
          <p:cNvSpPr/>
          <p:nvPr/>
        </p:nvSpPr>
        <p:spPr bwMode="auto">
          <a:xfrm rot="18535748">
            <a:off x="4164702" y="2336142"/>
            <a:ext cx="1033163" cy="456367"/>
          </a:xfrm>
          <a:prstGeom prst="corner">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sp>
        <p:nvSpPr>
          <p:cNvPr id="9" name="乘号 8"/>
          <p:cNvSpPr/>
          <p:nvPr/>
        </p:nvSpPr>
        <p:spPr bwMode="auto">
          <a:xfrm>
            <a:off x="7501195" y="1742142"/>
            <a:ext cx="1212224" cy="1697114"/>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pic>
        <p:nvPicPr>
          <p:cNvPr id="76810" name="Picture 1"/>
          <p:cNvPicPr>
            <a:picLocks noChangeAspect="1"/>
          </p:cNvPicPr>
          <p:nvPr/>
        </p:nvPicPr>
        <p:blipFill>
          <a:blip r:embed="rId4"/>
          <a:stretch>
            <a:fillRect/>
          </a:stretch>
        </p:blipFill>
        <p:spPr>
          <a:xfrm>
            <a:off x="3798570" y="4362450"/>
            <a:ext cx="1384300" cy="925830"/>
          </a:xfrm>
          <a:prstGeom prst="rect">
            <a:avLst/>
          </a:prstGeom>
          <a:noFill/>
          <a:ln w="28575" cap="flat" cmpd="sng">
            <a:solidFill>
              <a:srgbClr val="C00000"/>
            </a:solidFill>
            <a:prstDash val="dashDot"/>
            <a:miter/>
            <a:headEnd type="none" w="med" len="med"/>
            <a:tailEnd type="none" w="med" len="med"/>
          </a:ln>
        </p:spPr>
      </p:pic>
      <p:pic>
        <p:nvPicPr>
          <p:cNvPr id="76811" name="Picture 1"/>
          <p:cNvPicPr>
            <a:picLocks noChangeAspect="1"/>
          </p:cNvPicPr>
          <p:nvPr/>
        </p:nvPicPr>
        <p:blipFill>
          <a:blip r:embed="rId5"/>
          <a:stretch>
            <a:fillRect/>
          </a:stretch>
        </p:blipFill>
        <p:spPr>
          <a:xfrm>
            <a:off x="6908165" y="4273550"/>
            <a:ext cx="1658620" cy="1104265"/>
          </a:xfrm>
          <a:prstGeom prst="rect">
            <a:avLst/>
          </a:prstGeom>
          <a:noFill/>
          <a:ln w="28575" cap="flat" cmpd="sng">
            <a:solidFill>
              <a:srgbClr val="C00000"/>
            </a:solidFill>
            <a:prstDash val="dashDot"/>
            <a:miter/>
            <a:headEnd type="none" w="med" len="med"/>
            <a:tailEnd type="none" w="med" len="med"/>
          </a:ln>
        </p:spPr>
      </p:pic>
      <p:cxnSp>
        <p:nvCxnSpPr>
          <p:cNvPr id="76812" name="直接箭头连接符 11"/>
          <p:cNvCxnSpPr/>
          <p:nvPr/>
        </p:nvCxnSpPr>
        <p:spPr>
          <a:xfrm flipH="1" flipV="1">
            <a:off x="3996690" y="3439795"/>
            <a:ext cx="576580" cy="935990"/>
          </a:xfrm>
          <a:prstGeom prst="straightConnector1">
            <a:avLst/>
          </a:prstGeom>
          <a:ln w="38100" cap="flat" cmpd="dbl">
            <a:solidFill>
              <a:srgbClr val="C00000"/>
            </a:solidFill>
            <a:prstDash val="solid"/>
            <a:headEnd type="none" w="med" len="med"/>
            <a:tailEnd type="triangle" w="med" len="med"/>
          </a:ln>
        </p:spPr>
      </p:cxnSp>
      <p:cxnSp>
        <p:nvCxnSpPr>
          <p:cNvPr id="76813" name="直接箭头连接符 12"/>
          <p:cNvCxnSpPr/>
          <p:nvPr/>
        </p:nvCxnSpPr>
        <p:spPr>
          <a:xfrm flipH="1" flipV="1">
            <a:off x="7608570" y="3109595"/>
            <a:ext cx="421005" cy="1122045"/>
          </a:xfrm>
          <a:prstGeom prst="straightConnector1">
            <a:avLst/>
          </a:prstGeom>
          <a:ln w="38100" cap="flat" cmpd="dbl">
            <a:solidFill>
              <a:srgbClr val="C00000"/>
            </a:solidFill>
            <a:prstDash val="solid"/>
            <a:headEnd type="none" w="med" len="med"/>
            <a:tailEnd type="triangle" w="med" len="med"/>
          </a:ln>
        </p:spPr>
      </p:cxn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2-2</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木门及门窗套安装质量   </a:t>
            </a:r>
            <a:r>
              <a:rPr lang="zh-CN" altLang="en-US" sz="1800" dirty="0">
                <a:latin typeface="微软雅黑" panose="020B0503020204020204" pitchFamily="34" charset="-122"/>
                <a:ea typeface="微软雅黑" panose="020B0503020204020204" pitchFamily="34" charset="-122"/>
                <a:sym typeface="+mn-ea"/>
              </a:rPr>
              <a:t>（实测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921385" y="1546225"/>
          <a:ext cx="10274300" cy="4842510"/>
        </p:xfrm>
        <a:graphic>
          <a:graphicData uri="http://schemas.openxmlformats.org/drawingml/2006/table">
            <a:tbl>
              <a:tblPr/>
              <a:tblGrid>
                <a:gridCol w="734060">
                  <a:extLst>
                    <a:ext uri="{9D8B030D-6E8A-4147-A177-3AD203B41FA5}">
                      <a16:colId xmlns:a16="http://schemas.microsoft.com/office/drawing/2014/main" val="20000"/>
                    </a:ext>
                  </a:extLst>
                </a:gridCol>
                <a:gridCol w="2201545">
                  <a:extLst>
                    <a:ext uri="{9D8B030D-6E8A-4147-A177-3AD203B41FA5}">
                      <a16:colId xmlns:a16="http://schemas.microsoft.com/office/drawing/2014/main" val="20001"/>
                    </a:ext>
                  </a:extLst>
                </a:gridCol>
                <a:gridCol w="2283460">
                  <a:extLst>
                    <a:ext uri="{9D8B030D-6E8A-4147-A177-3AD203B41FA5}">
                      <a16:colId xmlns:a16="http://schemas.microsoft.com/office/drawing/2014/main" val="20002"/>
                    </a:ext>
                  </a:extLst>
                </a:gridCol>
                <a:gridCol w="2119630">
                  <a:extLst>
                    <a:ext uri="{9D8B030D-6E8A-4147-A177-3AD203B41FA5}">
                      <a16:colId xmlns:a16="http://schemas.microsoft.com/office/drawing/2014/main" val="20003"/>
                    </a:ext>
                  </a:extLst>
                </a:gridCol>
                <a:gridCol w="1549400">
                  <a:extLst>
                    <a:ext uri="{9D8B030D-6E8A-4147-A177-3AD203B41FA5}">
                      <a16:colId xmlns:a16="http://schemas.microsoft.com/office/drawing/2014/main" val="20004"/>
                    </a:ext>
                  </a:extLst>
                </a:gridCol>
                <a:gridCol w="1386205">
                  <a:extLst>
                    <a:ext uri="{9D8B030D-6E8A-4147-A177-3AD203B41FA5}">
                      <a16:colId xmlns:a16="http://schemas.microsoft.com/office/drawing/2014/main" val="20005"/>
                    </a:ext>
                  </a:extLst>
                </a:gridCol>
              </a:tblGrid>
              <a:tr h="390525">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序号</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项目</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质量要求及允许偏差</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验收方法</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说明</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0525">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检验方法、工具</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检验数量</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extLst>
                  <a:ext uri="{0D108BD9-81ED-4DB2-BD59-A6C34878D82A}">
                    <a16:rowId xmlns:a16="http://schemas.microsoft.com/office/drawing/2014/main" val="10001"/>
                  </a:ext>
                </a:extLst>
              </a:tr>
              <a:tr h="33210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1</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安装</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牢固</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手板检查</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全检</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9974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外观</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表面光滑，粘贴平整，不脱胶，边角不起翘</a:t>
                      </a:r>
                      <a:endParaRPr kumimoji="0" lang="zh-CN" sz="1595" b="0" i="0" u="none" strike="noStrike" cap="none" normalizeH="0" baseline="0" dirty="0" smtClean="0">
                        <a:ln>
                          <a:noFill/>
                        </a:ln>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目测</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观察</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210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配件</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安装牢固、正确</a:t>
                      </a:r>
                      <a:endParaRPr kumimoji="0" lang="zh-CN" sz="1595" b="0" i="0" u="none" strike="noStrike" cap="none" normalizeH="0" baseline="0" dirty="0" smtClean="0">
                        <a:ln>
                          <a:noFill/>
                        </a:ln>
                        <a:solidFill>
                          <a:srgbClr val="FF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目测</a:t>
                      </a: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手板检查</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464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4</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门板水平高低差</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1.0mm</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钢直尺和塞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8">
                  <a:txBody>
                    <a:bodyPr/>
                    <a:lstStyle/>
                    <a:p>
                      <a:pPr marL="0" marR="0" lvl="0" indent="0" algn="l"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每</a:t>
                      </a: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50</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间一个检验批，每个检验批抽查不少于</a:t>
                      </a: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间（抽中为全检）</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实测实量</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vMerge="1">
                  <a:txBody>
                    <a:bodyPr/>
                    <a:lstStyle/>
                    <a:p>
                      <a:endParaRPr lang="zh-CN"/>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rowSpan="3">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实测实量</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9624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5</a:t>
                      </a:r>
                      <a:endPar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门板缝宽</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1.5mm</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塞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7"/>
                  </a:ext>
                </a:extLst>
              </a:tr>
              <a:tr h="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6</a:t>
                      </a:r>
                      <a:endPar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柜体与墙面缝隙</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5.0mm</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塞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8"/>
                  </a:ext>
                </a:extLst>
              </a:tr>
              <a:tr h="294640">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实测实量</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3210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7</a:t>
                      </a:r>
                      <a:endPar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门贴脸与踢脚线间隙</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mm</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塞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实测实量</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9400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8</a:t>
                      </a:r>
                      <a:endPar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门板平整度</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mm/m</a:t>
                      </a:r>
                      <a:endPar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m</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水平尺和塞尺</a:t>
                      </a: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实测实量</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7592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9</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门贴脸与墙面缝隙</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0mm </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塞尺</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实测实量</a:t>
                      </a:r>
                      <a:endPar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49974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0</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橱门和抽屉</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开关灵活，下口与底边下口位置平行</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目测</a:t>
                      </a:r>
                      <a:r>
                        <a:rPr kumimoji="0" lang="en-US"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手板检查</a:t>
                      </a:r>
                      <a:endPar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全检</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5941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1</a:t>
                      </a:r>
                      <a:endParaRPr kumimoji="0" lang="zh-CN" alt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台面质量</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光滑平整</a:t>
                      </a:r>
                      <a:endParaRPr kumimoji="0" lang="zh-CN" sz="1595" b="0"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p>
                  </a:txBody>
                  <a:tcPr marL="68454" marR="68454"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bl>
          </a:graphicData>
        </a:graphic>
      </p:graphicFrame>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3</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收纳系统安装质量   </a:t>
            </a:r>
            <a:r>
              <a:rPr lang="zh-CN" altLang="en-US" sz="1800" dirty="0">
                <a:latin typeface="微软雅黑" panose="020B0503020204020204" pitchFamily="34" charset="-122"/>
                <a:ea typeface="微软雅黑" panose="020B0503020204020204" pitchFamily="34" charset="-122"/>
                <a:sym typeface="+mn-ea"/>
              </a:rPr>
              <a:t>验收要求及方法</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20" name="Picture 2"/>
          <p:cNvPicPr>
            <a:picLocks noChangeAspect="1"/>
          </p:cNvPicPr>
          <p:nvPr/>
        </p:nvPicPr>
        <p:blipFill>
          <a:blip r:embed="rId2"/>
          <a:stretch>
            <a:fillRect/>
          </a:stretch>
        </p:blipFill>
        <p:spPr bwMode="auto">
          <a:xfrm>
            <a:off x="2538730" y="2119630"/>
            <a:ext cx="3536950" cy="2586990"/>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86021" name="Picture 2"/>
          <p:cNvPicPr>
            <a:picLocks noChangeAspect="1"/>
          </p:cNvPicPr>
          <p:nvPr/>
        </p:nvPicPr>
        <p:blipFill>
          <a:blip r:embed="rId3"/>
          <a:stretch>
            <a:fillRect/>
          </a:stretch>
        </p:blipFill>
        <p:spPr bwMode="auto">
          <a:xfrm>
            <a:off x="6542663" y="2119630"/>
            <a:ext cx="2079367" cy="258762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86022" name="Picture 1"/>
          <p:cNvPicPr>
            <a:picLocks noChangeAspect="1"/>
          </p:cNvPicPr>
          <p:nvPr/>
        </p:nvPicPr>
        <p:blipFill>
          <a:blip r:embed="rId4"/>
          <a:stretch>
            <a:fillRect/>
          </a:stretch>
        </p:blipFill>
        <p:spPr>
          <a:xfrm>
            <a:off x="6618863" y="3655120"/>
            <a:ext cx="1318392" cy="879456"/>
          </a:xfrm>
          <a:prstGeom prst="rect">
            <a:avLst/>
          </a:prstGeom>
          <a:noFill/>
          <a:ln w="28575" cap="flat" cmpd="sng">
            <a:solidFill>
              <a:srgbClr val="C00000"/>
            </a:solidFill>
            <a:prstDash val="dashDot"/>
            <a:miter/>
            <a:headEnd type="none" w="med" len="med"/>
            <a:tailEnd type="none" w="med" len="med"/>
          </a:ln>
        </p:spPr>
      </p:pic>
      <p:cxnSp>
        <p:nvCxnSpPr>
          <p:cNvPr id="86023" name="直接箭头连接符 19"/>
          <p:cNvCxnSpPr/>
          <p:nvPr/>
        </p:nvCxnSpPr>
        <p:spPr>
          <a:xfrm flipH="1" flipV="1">
            <a:off x="6807835" y="3263900"/>
            <a:ext cx="939800" cy="391160"/>
          </a:xfrm>
          <a:prstGeom prst="straightConnector1">
            <a:avLst/>
          </a:prstGeom>
          <a:ln w="38100" cap="flat" cmpd="dbl">
            <a:solidFill>
              <a:srgbClr val="C00000"/>
            </a:solidFill>
            <a:prstDash val="solid"/>
            <a:headEnd type="none" w="med" len="med"/>
            <a:tailEnd type="triangle" w="med" len="med"/>
          </a:ln>
        </p:spPr>
      </p:cxnSp>
      <p:sp>
        <p:nvSpPr>
          <p:cNvPr id="21" name="矩形 2"/>
          <p:cNvSpPr>
            <a:spLocks noChangeArrowheads="1"/>
          </p:cNvSpPr>
          <p:nvPr/>
        </p:nvSpPr>
        <p:spPr bwMode="auto">
          <a:xfrm>
            <a:off x="1520587" y="5354836"/>
            <a:ext cx="9127331"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五金验收：</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安装位置适宜，固定牢固粘贴平整，不起翘</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endPar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nvGrpSpPr>
          <p:cNvPr id="86025" name="组合 21"/>
          <p:cNvGrpSpPr/>
          <p:nvPr/>
        </p:nvGrpSpPr>
        <p:grpSpPr>
          <a:xfrm>
            <a:off x="5011897" y="2573582"/>
            <a:ext cx="928579" cy="484889"/>
            <a:chOff x="624359" y="2918833"/>
            <a:chExt cx="929460" cy="485735"/>
          </a:xfrm>
        </p:grpSpPr>
        <p:sp>
          <p:nvSpPr>
            <p:cNvPr id="86028" name="矩形 22"/>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86029" name="矩形 23"/>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25" name="乘号 24"/>
          <p:cNvSpPr/>
          <p:nvPr/>
        </p:nvSpPr>
        <p:spPr bwMode="auto">
          <a:xfrm>
            <a:off x="7723718" y="1979868"/>
            <a:ext cx="941256"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3-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收纳系统安装质量   </a:t>
            </a:r>
            <a:r>
              <a:rPr lang="zh-CN" altLang="en-US" sz="1800" dirty="0">
                <a:latin typeface="微软雅黑" panose="020B0503020204020204" pitchFamily="34" charset="-122"/>
                <a:ea typeface="微软雅黑" panose="020B0503020204020204" pitchFamily="34" charset="-122"/>
                <a:sym typeface="+mn-ea"/>
              </a:rPr>
              <a:t>（验收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2" name="Picture 2"/>
          <p:cNvPicPr>
            <a:picLocks noChangeAspect="1"/>
          </p:cNvPicPr>
          <p:nvPr/>
        </p:nvPicPr>
        <p:blipFill>
          <a:blip r:embed="rId2"/>
          <a:stretch>
            <a:fillRect/>
          </a:stretch>
        </p:blipFill>
        <p:spPr bwMode="auto">
          <a:xfrm>
            <a:off x="6217994" y="2570927"/>
            <a:ext cx="3850593" cy="256706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7" name="矩形 2"/>
          <p:cNvSpPr>
            <a:spLocks noChangeArrowheads="1"/>
          </p:cNvSpPr>
          <p:nvPr/>
        </p:nvSpPr>
        <p:spPr bwMode="auto">
          <a:xfrm>
            <a:off x="2652631" y="5347156"/>
            <a:ext cx="6948498"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门板水平高低差：</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钢直尺和塞尺检查，留缝宽度</a:t>
            </a:r>
            <a:r>
              <a:rPr kumimoji="0" lang="en-US" altLang="zh-CN"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MM</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p>
        </p:txBody>
      </p:sp>
      <p:pic>
        <p:nvPicPr>
          <p:cNvPr id="89095" name="Picture 2"/>
          <p:cNvPicPr>
            <a:picLocks noChangeAspect="1"/>
          </p:cNvPicPr>
          <p:nvPr/>
        </p:nvPicPr>
        <p:blipFill>
          <a:blip r:embed="rId3"/>
          <a:stretch>
            <a:fillRect/>
          </a:stretch>
        </p:blipFill>
        <p:spPr bwMode="auto">
          <a:xfrm>
            <a:off x="1974419" y="2539234"/>
            <a:ext cx="3850593" cy="256706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21" name="L 形 20"/>
          <p:cNvSpPr/>
          <p:nvPr/>
        </p:nvSpPr>
        <p:spPr bwMode="auto">
          <a:xfrm rot="18535748">
            <a:off x="4777588" y="2735726"/>
            <a:ext cx="1033163" cy="456367"/>
          </a:xfrm>
          <a:prstGeom prst="corner">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sp>
        <p:nvSpPr>
          <p:cNvPr id="22" name="乘号 21"/>
          <p:cNvSpPr/>
          <p:nvPr/>
        </p:nvSpPr>
        <p:spPr bwMode="auto">
          <a:xfrm>
            <a:off x="8995809" y="2299958"/>
            <a:ext cx="1212224" cy="1697114"/>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solidFill>
                  <a:srgbClr val="C00000"/>
                </a:solidFill>
              </a:ln>
              <a:solidFill>
                <a:srgbClr val="C00000"/>
              </a:solidFill>
              <a:effectLst/>
              <a:uLnTx/>
              <a:uFillTx/>
              <a:latin typeface="Arial" panose="020B0604020202020204" pitchFamily="34" charset="0"/>
              <a:ea typeface="华文中宋" panose="02010600040101010101" pitchFamily="2" charset="-122"/>
              <a:cs typeface="+mn-cs"/>
            </a:endParaRPr>
          </a:p>
        </p:txBody>
      </p:sp>
      <p:pic>
        <p:nvPicPr>
          <p:cNvPr id="89098" name="Picture 1" descr="C:\Users\yrxd\AppData\Roaming\Tencent\Users\984899152\QQ\WinTemp\RichOle\YE8V_VGQE98UM~X@%[}{8DL.jpg"/>
          <p:cNvPicPr>
            <a:picLocks noChangeAspect="1"/>
          </p:cNvPicPr>
          <p:nvPr/>
        </p:nvPicPr>
        <p:blipFill>
          <a:blip r:embed="rId4"/>
          <a:stretch>
            <a:fillRect/>
          </a:stretch>
        </p:blipFill>
        <p:spPr>
          <a:xfrm>
            <a:off x="6240179" y="2599449"/>
            <a:ext cx="1318392" cy="941256"/>
          </a:xfrm>
          <a:prstGeom prst="rect">
            <a:avLst/>
          </a:prstGeom>
          <a:noFill/>
          <a:ln w="28575" cap="flat" cmpd="sng">
            <a:solidFill>
              <a:srgbClr val="C00000"/>
            </a:solidFill>
            <a:prstDash val="dashDot"/>
            <a:miter/>
            <a:headEnd type="none" w="med" len="med"/>
            <a:tailEnd type="none" w="med" len="med"/>
          </a:ln>
        </p:spPr>
      </p:pic>
      <p:pic>
        <p:nvPicPr>
          <p:cNvPr id="89099" name="Picture 1"/>
          <p:cNvPicPr>
            <a:picLocks noChangeAspect="1"/>
          </p:cNvPicPr>
          <p:nvPr/>
        </p:nvPicPr>
        <p:blipFill>
          <a:blip r:embed="rId5"/>
          <a:stretch>
            <a:fillRect/>
          </a:stretch>
        </p:blipFill>
        <p:spPr>
          <a:xfrm>
            <a:off x="1993434" y="2558250"/>
            <a:ext cx="1340577" cy="950764"/>
          </a:xfrm>
          <a:prstGeom prst="rect">
            <a:avLst/>
          </a:prstGeom>
          <a:noFill/>
          <a:ln w="28575" cap="flat" cmpd="sng">
            <a:solidFill>
              <a:srgbClr val="C00000"/>
            </a:solidFill>
            <a:prstDash val="dashDot"/>
            <a:miter/>
            <a:headEnd type="none" w="med" len="med"/>
            <a:tailEnd type="none" w="med" len="med"/>
          </a:ln>
        </p:spPr>
      </p:pic>
      <p:cxnSp>
        <p:nvCxnSpPr>
          <p:cNvPr id="89100" name="直接箭头连接符 24"/>
          <p:cNvCxnSpPr/>
          <p:nvPr/>
        </p:nvCxnSpPr>
        <p:spPr>
          <a:xfrm>
            <a:off x="7558571" y="2856156"/>
            <a:ext cx="1140916" cy="836672"/>
          </a:xfrm>
          <a:prstGeom prst="straightConnector1">
            <a:avLst/>
          </a:prstGeom>
          <a:ln w="38100" cap="flat" cmpd="dbl">
            <a:solidFill>
              <a:srgbClr val="C00000"/>
            </a:solidFill>
            <a:prstDash val="solid"/>
            <a:headEnd type="none" w="med" len="med"/>
            <a:tailEnd type="triangle" w="med" len="med"/>
          </a:ln>
        </p:spPr>
      </p:cxnSp>
      <p:cxnSp>
        <p:nvCxnSpPr>
          <p:cNvPr id="89101" name="直接箭头连接符 25"/>
          <p:cNvCxnSpPr/>
          <p:nvPr/>
        </p:nvCxnSpPr>
        <p:spPr>
          <a:xfrm>
            <a:off x="3334011" y="2824464"/>
            <a:ext cx="1121901" cy="213921"/>
          </a:xfrm>
          <a:prstGeom prst="straightConnector1">
            <a:avLst/>
          </a:prstGeom>
          <a:ln w="38100" cap="flat" cmpd="dbl">
            <a:solidFill>
              <a:srgbClr val="C00000"/>
            </a:solidFill>
            <a:prstDash val="solid"/>
            <a:headEnd type="none" w="med" len="med"/>
            <a:tailEnd type="triangle" w="med" len="med"/>
          </a:ln>
        </p:spPr>
      </p:cxnSp>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3-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altLang="en-US" sz="1800" b="1" dirty="0" smtClean="0">
                <a:solidFill>
                  <a:srgbClr val="000000"/>
                </a:solidFill>
                <a:cs typeface="+mn-ea"/>
              </a:rPr>
              <a:t>收纳系统安装质量   </a:t>
            </a:r>
            <a:r>
              <a:rPr lang="zh-CN" altLang="en-US" sz="1800" dirty="0">
                <a:latin typeface="微软雅黑" panose="020B0503020204020204" pitchFamily="34" charset="-122"/>
                <a:ea typeface="微软雅黑" panose="020B0503020204020204" pitchFamily="34" charset="-122"/>
                <a:sym typeface="+mn-ea"/>
              </a:rPr>
              <a:t>（验收实例）</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3"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格 6"/>
          <p:cNvGraphicFramePr>
            <a:graphicFrameLocks noGrp="1"/>
          </p:cNvGraphicFramePr>
          <p:nvPr/>
        </p:nvGraphicFramePr>
        <p:xfrm>
          <a:off x="1142365" y="1423035"/>
          <a:ext cx="9836785" cy="4875530"/>
        </p:xfrm>
        <a:graphic>
          <a:graphicData uri="http://schemas.openxmlformats.org/drawingml/2006/table">
            <a:tbl>
              <a:tblPr/>
              <a:tblGrid>
                <a:gridCol w="742315">
                  <a:extLst>
                    <a:ext uri="{9D8B030D-6E8A-4147-A177-3AD203B41FA5}">
                      <a16:colId xmlns:a16="http://schemas.microsoft.com/office/drawing/2014/main" val="20000"/>
                    </a:ext>
                  </a:extLst>
                </a:gridCol>
                <a:gridCol w="214376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1967865">
                  <a:extLst>
                    <a:ext uri="{9D8B030D-6E8A-4147-A177-3AD203B41FA5}">
                      <a16:colId xmlns:a16="http://schemas.microsoft.com/office/drawing/2014/main" val="20003"/>
                    </a:ext>
                  </a:extLst>
                </a:gridCol>
                <a:gridCol w="1494790">
                  <a:extLst>
                    <a:ext uri="{9D8B030D-6E8A-4147-A177-3AD203B41FA5}">
                      <a16:colId xmlns:a16="http://schemas.microsoft.com/office/drawing/2014/main" val="20004"/>
                    </a:ext>
                  </a:extLst>
                </a:gridCol>
                <a:gridCol w="1259205">
                  <a:extLst>
                    <a:ext uri="{9D8B030D-6E8A-4147-A177-3AD203B41FA5}">
                      <a16:colId xmlns:a16="http://schemas.microsoft.com/office/drawing/2014/main" val="20005"/>
                    </a:ext>
                  </a:extLst>
                </a:gridCol>
              </a:tblGrid>
              <a:tr h="272415">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序号</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项目</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质量要求及允许偏差</a:t>
                      </a:r>
                      <a:endParaRPr kumimoji="0" lang="zh-CN"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验收方法</a:t>
                      </a:r>
                      <a:endParaRPr kumimoji="0" lang="zh-CN" sz="1595"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说明</a:t>
                      </a:r>
                      <a:endParaRPr kumimoji="0" lang="zh-CN"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8945">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检验方法、工具</a:t>
                      </a:r>
                      <a:endParaRPr kumimoji="0" lang="zh-CN"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检验数量</a:t>
                      </a:r>
                      <a:endParaRPr kumimoji="0" lang="zh-CN" sz="1595"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extLst>
                  <a:ext uri="{0D108BD9-81ED-4DB2-BD59-A6C34878D82A}">
                    <a16:rowId xmlns:a16="http://schemas.microsoft.com/office/drawing/2014/main" val="10001"/>
                  </a:ext>
                </a:extLst>
              </a:tr>
              <a:tr h="51117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1</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rPr>
                        <a:t>外观</a:t>
                      </a:r>
                      <a:endParaRPr kumimoji="0" 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表面应洁净，无沾污、磨痕、毛刺等现象</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kumimoji="0" lang="zh-CN" altLang="en-US"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rPr>
                        <a:t>目测观察</a:t>
                      </a: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全检</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defRPr/>
                      </a:pPr>
                      <a:r>
                        <a:rPr kumimoji="0" lang="zh-CN" altLang="en-US"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现场观察</a:t>
                      </a:r>
                      <a:endParaRPr kumimoji="0" lang="zh-CN" sz="1595"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5021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2</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安装</a:t>
                      </a: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defRPr/>
                      </a:pPr>
                      <a:r>
                        <a:rPr kumimoji="0" lang="zh-CN" altLang="en-US"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rPr>
                        <a:t>行走无明显响声、起翘</a:t>
                      </a:r>
                      <a:endParaRPr kumimoji="0" lang="zh-CN" altLang="zh-CN"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defRPr/>
                      </a:pPr>
                      <a:r>
                        <a:rPr kumimoji="0" lang="zh-CN" altLang="en-US"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rPr>
                        <a:t>行走一圈</a:t>
                      </a:r>
                      <a:endParaRPr kumimoji="0" lang="zh-CN" altLang="zh-CN"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rPr>
                        <a:t>全检</a:t>
                      </a:r>
                      <a:endParaRPr kumimoji="0" lang="zh-CN" altLang="zh-CN"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mn-cs"/>
                        </a:rPr>
                        <a:t>现场观察</a:t>
                      </a: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7498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3</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表面平整度</a:t>
                      </a: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2.0mm</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2m</a:t>
                      </a: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靠尺</a:t>
                      </a: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和</a:t>
                      </a: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塞尺</a:t>
                      </a: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7">
                  <a:txBody>
                    <a:bodyPr/>
                    <a:lstStyle/>
                    <a:p>
                      <a:pPr marL="0" marR="0" lvl="0" indent="0" algn="l" defTabSz="347345" rtl="0" eaLnBrk="1" fontAlgn="base" latinLnBrk="0" hangingPunct="1">
                        <a:lnSpc>
                          <a:spcPct val="100000"/>
                        </a:lnSpc>
                        <a:spcBef>
                          <a:spcPct val="0"/>
                        </a:spcBef>
                        <a:spcAft>
                          <a:spcPct val="0"/>
                        </a:spcAft>
                        <a:buClrTx/>
                        <a:buSzTx/>
                        <a:buFontTx/>
                        <a:buNone/>
                        <a:defRPr/>
                      </a:pPr>
                      <a:r>
                        <a:rPr lang="en-US" altLang="zh-CN" sz="1595" kern="0" dirty="0" smtClean="0">
                          <a:effectLst/>
                          <a:latin typeface="微软雅黑" panose="020B0503020204020204" pitchFamily="34" charset="-122"/>
                          <a:ea typeface="微软雅黑" panose="020B0503020204020204" pitchFamily="34" charset="-122"/>
                        </a:rPr>
                        <a:t>50</a:t>
                      </a:r>
                      <a:r>
                        <a:rPr lang="zh-CN" altLang="en-US" sz="1595" kern="0" dirty="0" smtClean="0">
                          <a:effectLst/>
                          <a:latin typeface="微软雅黑" panose="020B0503020204020204" pitchFamily="34" charset="-122"/>
                          <a:ea typeface="微软雅黑" panose="020B0503020204020204" pitchFamily="34" charset="-122"/>
                        </a:rPr>
                        <a:t>个房间一个检验批，每个检验批抽检≥</a:t>
                      </a:r>
                      <a:r>
                        <a:rPr lang="en-US" altLang="zh-CN" sz="1595" kern="0" dirty="0" smtClean="0">
                          <a:effectLst/>
                          <a:latin typeface="微软雅黑" panose="020B0503020204020204" pitchFamily="34" charset="-122"/>
                          <a:ea typeface="微软雅黑" panose="020B0503020204020204" pitchFamily="34" charset="-122"/>
                        </a:rPr>
                        <a:t>10%</a:t>
                      </a:r>
                      <a:r>
                        <a:rPr lang="zh-CN" altLang="en-US" sz="1595" kern="0" dirty="0" smtClean="0">
                          <a:effectLst/>
                          <a:latin typeface="微软雅黑" panose="020B0503020204020204" pitchFamily="34" charset="-122"/>
                          <a:ea typeface="微软雅黑" panose="020B0503020204020204" pitchFamily="34" charset="-122"/>
                        </a:rPr>
                        <a:t>，并不得少于三间，（抽中房间应全检）</a:t>
                      </a:r>
                    </a:p>
                    <a:p>
                      <a:pPr marL="0" marR="0" lvl="0" indent="0" algn="ctr" defTabSz="347345" rtl="0" eaLnBrk="1" fontAlgn="base" latinLnBrk="0" hangingPunct="1">
                        <a:lnSpc>
                          <a:spcPct val="100000"/>
                        </a:lnSpc>
                        <a:spcBef>
                          <a:spcPct val="0"/>
                        </a:spcBef>
                        <a:spcAft>
                          <a:spcPct val="0"/>
                        </a:spcAft>
                        <a:buClrTx/>
                        <a:buSzTx/>
                        <a:buFontTx/>
                        <a:buNone/>
                      </a:pPr>
                      <a:endPar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defRPr/>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实测实量</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6037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4</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板面</a:t>
                      </a: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接缝</a:t>
                      </a: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宽度</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2.0mm</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钢尺或塞片尺</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53979" marR="53979"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defRPr/>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实测实量</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61645">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5</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板面接缝平直</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3.0mm</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拉</a:t>
                      </a: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5</a:t>
                      </a: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米通线，不足</a:t>
                      </a: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5</a:t>
                      </a: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米拉通线，钢尺检查</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smtClean="0">
                          <a:ln>
                            <a:noFill/>
                          </a:ln>
                          <a:solidFill>
                            <a:srgbClr val="000000"/>
                          </a:solidFill>
                          <a:effectLst/>
                          <a:latin typeface="微软雅黑" panose="020B0503020204020204" pitchFamily="34" charset="-122"/>
                          <a:ea typeface="微软雅黑" panose="020B0503020204020204" pitchFamily="34" charset="-122"/>
                          <a:cs typeface="+mn-cs"/>
                        </a:rPr>
                        <a:t>实测实量</a:t>
                      </a:r>
                      <a:endParaRPr kumimoji="0" lang="zh-CN" altLang="zh-CN" sz="1595" b="0" i="0" u="none" strike="noStrike" kern="1200" cap="none" normalizeH="0" baseline="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6"/>
                  </a:ext>
                </a:extLst>
              </a:tr>
              <a:tr h="45339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6</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踢脚线伤口平齐</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3.0mm</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7"/>
                  </a:ext>
                </a:extLst>
              </a:tr>
              <a:tr h="541020">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7</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踢脚线与地板间隙</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0.1mm</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塞</a:t>
                      </a: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片</a:t>
                      </a:r>
                      <a:r>
                        <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尺</a:t>
                      </a: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实测实量</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anchor="ctr"/>
                </a:tc>
                <a:extLst>
                  <a:ext uri="{0D108BD9-81ED-4DB2-BD59-A6C34878D82A}">
                    <a16:rowId xmlns:a16="http://schemas.microsoft.com/office/drawing/2014/main" val="10008"/>
                  </a:ext>
                </a:extLst>
              </a:tr>
              <a:tr h="0">
                <a:tc vMerge="1">
                  <a:txBody>
                    <a:bodyPr/>
                    <a:lstStyle/>
                    <a:p>
                      <a:endParaRPr lang="zh-CN"/>
                    </a:p>
                  </a:txBody>
                  <a:tcPr marL="53879" marR="53879"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53879" marR="53879"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53879" marR="53879"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marL="53879" marR="53879"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rowSpan="2">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实测实量</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anchor="ctr"/>
                </a:tc>
                <a:extLst>
                  <a:ext uri="{0D108BD9-81ED-4DB2-BD59-A6C34878D82A}">
                    <a16:rowId xmlns:a16="http://schemas.microsoft.com/office/drawing/2014/main" val="10009"/>
                  </a:ext>
                </a:extLst>
              </a:tr>
              <a:tr h="730250">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en-US"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8</a:t>
                      </a:r>
                      <a:endParaRPr kumimoji="0" lang="zh-CN" altLang="zh-CN" sz="1595" b="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相邻板材高差</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defRPr/>
                      </a:pPr>
                      <a:r>
                        <a:rPr kumimoji="0" lang="en-US"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0.5mm</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347345" rtl="0" eaLnBrk="1" fontAlgn="base" latinLnBrk="0" hangingPunct="1">
                        <a:lnSpc>
                          <a:spcPct val="100000"/>
                        </a:lnSpc>
                        <a:spcBef>
                          <a:spcPct val="0"/>
                        </a:spcBef>
                        <a:spcAft>
                          <a:spcPct val="0"/>
                        </a:spcAft>
                        <a:buClrTx/>
                        <a:buSzTx/>
                        <a:buFontTx/>
                        <a:buNone/>
                      </a:pPr>
                      <a:r>
                        <a:rPr kumimoji="0" lang="zh-CN" altLang="en-US"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rPr>
                        <a:t>钢尺和塞尺</a:t>
                      </a:r>
                      <a:endParaRPr kumimoji="0" lang="zh-CN" altLang="zh-CN" sz="1595" b="0" i="0" u="none" strike="noStrike" kern="1200"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mn-cs"/>
                      </a:endParaRPr>
                    </a:p>
                  </a:txBody>
                  <a:tcPr marL="53879" marR="5387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10"/>
                  </a:ext>
                </a:extLst>
              </a:tr>
            </a:tbl>
          </a:graphicData>
        </a:graphic>
      </p:graphicFrame>
      <p:sp>
        <p:nvSpPr>
          <p:cNvPr id="2" name="文本框 1"/>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4</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sz="1800" b="1" dirty="0" smtClean="0">
                <a:solidFill>
                  <a:srgbClr val="000000"/>
                </a:solidFill>
                <a:cs typeface="+mn-ea"/>
              </a:rPr>
              <a:t>木地板铺装</a:t>
            </a:r>
            <a:r>
              <a:rPr lang="zh-CN" altLang="en-US" sz="1800" b="1" dirty="0" smtClean="0">
                <a:solidFill>
                  <a:srgbClr val="000000"/>
                </a:solidFill>
                <a:cs typeface="+mn-ea"/>
              </a:rPr>
              <a:t>质量   </a:t>
            </a:r>
            <a:r>
              <a:rPr lang="zh-CN" altLang="en-US" sz="1800" dirty="0">
                <a:latin typeface="微软雅黑" panose="020B0503020204020204" pitchFamily="34" charset="-122"/>
                <a:ea typeface="微软雅黑" panose="020B0503020204020204" pitchFamily="34" charset="-122"/>
                <a:sym typeface="+mn-ea"/>
              </a:rPr>
              <a:t>验收要求及方法</a:t>
            </a:r>
            <a:endParaRPr lang="zh-CN" altLang="en-US" sz="1800" b="1" dirty="0" smtClean="0">
              <a:solidFill>
                <a:srgbClr val="000000"/>
              </a:solidFill>
              <a:cs typeface="+mn-ea"/>
              <a:sym typeface="+mn-ea"/>
            </a:endParaRPr>
          </a:p>
        </p:txBody>
      </p:sp>
      <p:sp>
        <p:nvSpPr>
          <p:cNvPr id="3"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5"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8" name="Picture 2"/>
          <p:cNvPicPr>
            <a:picLocks noChangeAspect="1"/>
          </p:cNvPicPr>
          <p:nvPr/>
        </p:nvPicPr>
        <p:blipFill>
          <a:blip r:embed="rId2"/>
          <a:stretch>
            <a:fillRect/>
          </a:stretch>
        </p:blipFill>
        <p:spPr bwMode="auto">
          <a:xfrm>
            <a:off x="1369100" y="2141498"/>
            <a:ext cx="4325975" cy="288715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3" name="矩形 2"/>
          <p:cNvSpPr>
            <a:spLocks noChangeArrowheads="1"/>
          </p:cNvSpPr>
          <p:nvPr/>
        </p:nvSpPr>
        <p:spPr bwMode="auto">
          <a:xfrm>
            <a:off x="1692359" y="5336064"/>
            <a:ext cx="8728011"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zh-CN"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观感：</a:t>
            </a:r>
            <a:r>
              <a:rPr kumimoji="0" lang="zh-CN"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地板表面洁净，无沾污、磨痕、毛刺等现象</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安装牢固</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行走时无明显响声</a:t>
            </a:r>
            <a:r>
              <a:rPr kumimoji="0" lang="zh-CN" altLang="en-US" sz="16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合格。</a:t>
            </a:r>
          </a:p>
        </p:txBody>
      </p:sp>
      <p:pic>
        <p:nvPicPr>
          <p:cNvPr id="93190" name="Picture 2"/>
          <p:cNvPicPr>
            <a:picLocks noChangeAspect="1"/>
          </p:cNvPicPr>
          <p:nvPr/>
        </p:nvPicPr>
        <p:blipFill>
          <a:blip r:embed="rId3"/>
          <a:stretch>
            <a:fillRect/>
          </a:stretch>
        </p:blipFill>
        <p:spPr bwMode="auto">
          <a:xfrm>
            <a:off x="6241764" y="2141498"/>
            <a:ext cx="4330728" cy="289032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93191" name="椭圆 15"/>
          <p:cNvSpPr/>
          <p:nvPr/>
        </p:nvSpPr>
        <p:spPr>
          <a:xfrm>
            <a:off x="6541254" y="3055816"/>
            <a:ext cx="2156649" cy="1400792"/>
          </a:xfrm>
          <a:prstGeom prst="ellipse">
            <a:avLst/>
          </a:prstGeom>
          <a:noFill/>
          <a:ln w="38100" cap="flat" cmpd="sng">
            <a:solidFill>
              <a:srgbClr val="C00000"/>
            </a:solidFill>
            <a:prstDash val="dashDot"/>
            <a:headEnd type="none" w="med" len="med"/>
            <a:tailEnd type="none" w="med" len="med"/>
          </a:ln>
        </p:spPr>
        <p:txBody>
          <a:bodyPr/>
          <a:lstStyle/>
          <a:p>
            <a:endParaRPr lang="zh-CN" altLang="en-US" sz="2295" dirty="0">
              <a:latin typeface="Arial" panose="020B0604020202020204" pitchFamily="34" charset="0"/>
              <a:ea typeface="宋体" panose="02010600030101010101" pitchFamily="2" charset="-122"/>
            </a:endParaRPr>
          </a:p>
        </p:txBody>
      </p:sp>
      <p:grpSp>
        <p:nvGrpSpPr>
          <p:cNvPr id="93193" name="组合 19"/>
          <p:cNvGrpSpPr/>
          <p:nvPr/>
        </p:nvGrpSpPr>
        <p:grpSpPr>
          <a:xfrm>
            <a:off x="4785510" y="2440989"/>
            <a:ext cx="928579" cy="484889"/>
            <a:chOff x="624359" y="2918833"/>
            <a:chExt cx="929460" cy="485735"/>
          </a:xfrm>
        </p:grpSpPr>
        <p:sp>
          <p:nvSpPr>
            <p:cNvPr id="93195" name="矩形 20"/>
            <p:cNvSpPr/>
            <p:nvPr/>
          </p:nvSpPr>
          <p:spPr>
            <a:xfrm rot="2914338">
              <a:off x="493077" y="3050114"/>
              <a:ext cx="485735" cy="223172"/>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sp>
          <p:nvSpPr>
            <p:cNvPr id="93196" name="矩形 21"/>
            <p:cNvSpPr/>
            <p:nvPr/>
          </p:nvSpPr>
          <p:spPr>
            <a:xfrm rot="8307572">
              <a:off x="625060" y="2938243"/>
              <a:ext cx="928759" cy="200253"/>
            </a:xfrm>
            <a:prstGeom prst="rect">
              <a:avLst/>
            </a:prstGeom>
            <a:solidFill>
              <a:srgbClr val="C00000"/>
            </a:solidFill>
            <a:ln w="28575">
              <a:noFill/>
            </a:ln>
          </p:spPr>
          <p:txBody>
            <a:bodyPr wrap="none" anchor="ctr"/>
            <a:lstStyle/>
            <a:p>
              <a:pPr algn="ctr"/>
              <a:endParaRPr lang="zh-CN" altLang="en-US" sz="2395" dirty="0">
                <a:latin typeface="Arial" panose="020B0604020202020204" pitchFamily="34" charset="0"/>
                <a:ea typeface="华文中宋" panose="02010600040101010101" pitchFamily="2" charset="-122"/>
              </a:endParaRPr>
            </a:p>
          </p:txBody>
        </p:sp>
      </p:grpSp>
      <p:sp>
        <p:nvSpPr>
          <p:cNvPr id="23" name="乘号 22"/>
          <p:cNvSpPr/>
          <p:nvPr/>
        </p:nvSpPr>
        <p:spPr bwMode="auto">
          <a:xfrm>
            <a:off x="9504468" y="1989376"/>
            <a:ext cx="941256" cy="1293039"/>
          </a:xfrm>
          <a:prstGeom prst="mathMultiply">
            <a:avLst/>
          </a:prstGeom>
          <a:solidFill>
            <a:srgbClr val="C00000"/>
          </a:solidFill>
          <a:ln w="28575" algn="ctr">
            <a:noFill/>
            <a:rou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2395" b="1" i="0" u="none" strike="noStrike" kern="1200" cap="none" spc="0" normalizeH="0" baseline="0" noProof="0" dirty="0">
              <a:ln>
                <a:noFill/>
              </a:ln>
              <a:solidFill>
                <a:schemeClr val="tx1"/>
              </a:solidFill>
              <a:effectLst/>
              <a:uLnTx/>
              <a:uFillTx/>
              <a:latin typeface="Arial" panose="020B0604020202020204" pitchFamily="34" charset="0"/>
              <a:ea typeface="华文中宋" panose="02010600040101010101" pitchFamily="2" charset="-122"/>
              <a:cs typeface="+mn-cs"/>
            </a:endParaRPr>
          </a:p>
        </p:txBody>
      </p:sp>
      <p:sp>
        <p:nvSpPr>
          <p:cNvPr id="3" name="文本框 2"/>
          <p:cNvSpPr txBox="1"/>
          <p:nvPr/>
        </p:nvSpPr>
        <p:spPr>
          <a:xfrm>
            <a:off x="684530" y="720725"/>
            <a:ext cx="6988810"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5.3-6.4-1</a:t>
            </a:r>
            <a:r>
              <a:rPr lang="zh-CN" altLang="en-US" sz="1800" b="1" dirty="0" smtClean="0">
                <a:solidFill>
                  <a:srgbClr val="000000"/>
                </a:solidFill>
                <a:cs typeface="+mn-ea"/>
              </a:rPr>
              <a:t>、木制品安装</a:t>
            </a:r>
            <a:r>
              <a:rPr lang="en-US" altLang="zh-CN" sz="1800" b="1" dirty="0" smtClean="0">
                <a:solidFill>
                  <a:srgbClr val="000000"/>
                </a:solidFill>
                <a:cs typeface="+mn-ea"/>
              </a:rPr>
              <a:t>-</a:t>
            </a:r>
            <a:r>
              <a:rPr lang="zh-CN" sz="1800" b="1" dirty="0" smtClean="0">
                <a:solidFill>
                  <a:srgbClr val="000000"/>
                </a:solidFill>
                <a:cs typeface="+mn-ea"/>
              </a:rPr>
              <a:t>木地板铺装</a:t>
            </a:r>
            <a:r>
              <a:rPr lang="zh-CN" altLang="en-US" sz="1800" b="1" dirty="0" smtClean="0">
                <a:solidFill>
                  <a:srgbClr val="000000"/>
                </a:solidFill>
                <a:cs typeface="+mn-ea"/>
              </a:rPr>
              <a:t>质量   </a:t>
            </a:r>
            <a:r>
              <a:rPr lang="zh-CN" altLang="en-US" sz="1800" dirty="0">
                <a:latin typeface="微软雅黑" panose="020B0503020204020204" pitchFamily="34" charset="-122"/>
                <a:ea typeface="微软雅黑" panose="020B0503020204020204" pitchFamily="34" charset="-122"/>
                <a:sym typeface="+mn-ea"/>
              </a:rPr>
              <a:t>（观感实例）</a:t>
            </a:r>
            <a:endParaRPr lang="zh-CN" altLang="en-US" sz="1800" b="1" dirty="0" smtClean="0">
              <a:solidFill>
                <a:srgbClr val="000000"/>
              </a:solidFill>
              <a:cs typeface="+mn-ea"/>
              <a:sym typeface="+mn-ea"/>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五</a:t>
            </a:r>
            <a:r>
              <a:rPr lang="zh-CN" altLang="en-US" sz="2000" b="1" dirty="0" smtClean="0">
                <a:solidFill>
                  <a:srgbClr val="F64C31"/>
                </a:solidFill>
                <a:cs typeface="+mn-ea"/>
              </a:rPr>
              <a:t>、精装过程</a:t>
            </a:r>
          </a:p>
        </p:txBody>
      </p:sp>
      <p:sp>
        <p:nvSpPr>
          <p:cNvPr id="12"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ransition spd="med">
    <p:strips dir="ru"/>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551815" y="701675"/>
            <a:ext cx="11203305" cy="5545455"/>
            <a:chOff x="869" y="1105"/>
            <a:chExt cx="17643" cy="8733"/>
          </a:xfrm>
        </p:grpSpPr>
        <p:pic>
          <p:nvPicPr>
            <p:cNvPr id="1027" name="Picture 3"/>
            <p:cNvPicPr>
              <a:picLocks noChangeAspect="1" noChangeArrowheads="1"/>
            </p:cNvPicPr>
            <p:nvPr/>
          </p:nvPicPr>
          <p:blipFill rotWithShape="1">
            <a:blip r:embed="rId2"/>
            <a:srcRect/>
            <a:stretch>
              <a:fillRect/>
            </a:stretch>
          </p:blipFill>
          <p:spPr bwMode="auto">
            <a:xfrm>
              <a:off x="869" y="1106"/>
              <a:ext cx="17643" cy="873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70" y="1105"/>
              <a:ext cx="17642" cy="8732"/>
            </a:xfrm>
            <a:prstGeom prst="rect">
              <a:avLst/>
            </a:prstGeom>
            <a:gradFill>
              <a:gsLst>
                <a:gs pos="0">
                  <a:schemeClr val="bg1"/>
                </a:gs>
                <a:gs pos="50000">
                  <a:schemeClr val="bg1">
                    <a:alpha val="80000"/>
                  </a:schemeClr>
                </a:gs>
                <a:gs pos="100000">
                  <a:schemeClr val="accent1">
                    <a:tint val="23500"/>
                    <a:satMod val="160000"/>
                    <a:alpha val="2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grpSp>
      <p:sp>
        <p:nvSpPr>
          <p:cNvPr id="2" name="标题 1"/>
          <p:cNvSpPr txBox="1">
            <a:spLocks noGrp="1"/>
          </p:cNvSpPr>
          <p:nvPr>
            <p:ph type="title"/>
          </p:nvPr>
        </p:nvSpPr>
        <p:spPr>
          <a:xfrm>
            <a:off x="1727200" y="1936115"/>
            <a:ext cx="2817495" cy="646430"/>
          </a:xfrm>
          <a:solidFill>
            <a:srgbClr val="F64C31"/>
          </a:solidFill>
          <a:ln>
            <a:noFill/>
          </a:ln>
          <a:effectLst>
            <a:outerShdw blurRad="50800" dist="38100" dir="2700000" algn="tl" rotWithShape="0">
              <a:prstClr val="black">
                <a:alpha val="40000"/>
              </a:prstClr>
            </a:outerShdw>
          </a:effectLst>
        </p:spPr>
        <p:txBody>
          <a:bodyPr vert="horz" wrap="square" lIns="46494" tIns="46494" rIns="46494" bIns="46494" numCol="1" rtlCol="0" anchor="b" anchorCtr="0" compatLnSpc="1">
            <a:spAutoFit/>
          </a:bodyPr>
          <a:lstStyle/>
          <a:p>
            <a:pPr lvl="0" algn="l" defTabSz="1180465" eaLnBrk="1" fontAlgn="auto" hangingPunct="1">
              <a:lnSpc>
                <a:spcPct val="150000"/>
              </a:lnSpc>
            </a:pPr>
            <a:r>
              <a:rPr sz="2400" kern="1200" dirty="0">
                <a:solidFill>
                  <a:srgbClr val="000000"/>
                </a:solidFill>
                <a:latin typeface="+mn-ea"/>
                <a:ea typeface="+mn-ea"/>
                <a:cs typeface="+mn-ea"/>
                <a:sym typeface="+mn-ea"/>
              </a:rPr>
              <a:t>六</a:t>
            </a:r>
            <a:r>
              <a:rPr lang="en-US" altLang="zh-CN" sz="2400" kern="1200" dirty="0">
                <a:solidFill>
                  <a:srgbClr val="000000"/>
                </a:solidFill>
                <a:latin typeface="+mn-ea"/>
                <a:ea typeface="+mn-ea"/>
                <a:cs typeface="+mn-ea"/>
                <a:sym typeface="+mn-ea"/>
              </a:rPr>
              <a:t>、</a:t>
            </a:r>
            <a:r>
              <a:rPr sz="2400" kern="1200" dirty="0">
                <a:solidFill>
                  <a:srgbClr val="000000"/>
                </a:solidFill>
                <a:latin typeface="+mn-ea"/>
                <a:ea typeface="+mn-ea"/>
                <a:cs typeface="+mn-ea"/>
                <a:sym typeface="+mn-ea"/>
              </a:rPr>
              <a:t>安全文明</a:t>
            </a:r>
          </a:p>
        </p:txBody>
      </p:sp>
      <p:sp>
        <p:nvSpPr>
          <p:cNvPr id="4" name="内容占位符 3"/>
          <p:cNvSpPr txBox="1">
            <a:spLocks noGrp="1"/>
          </p:cNvSpPr>
          <p:nvPr>
            <p:ph type="body" sz="half" idx="2"/>
          </p:nvPr>
        </p:nvSpPr>
        <p:spPr>
          <a:xfrm>
            <a:off x="1727200" y="2582545"/>
            <a:ext cx="2817495" cy="1932305"/>
          </a:xfrm>
          <a:prstGeom prst="rect">
            <a:avLst/>
          </a:prstGeom>
          <a:noFill/>
          <a:extLst>
            <a:ext uri="{909E8E84-426E-40DD-AFC4-6F175D3DCCD1}">
              <a14:hiddenFill xmlns:a14="http://schemas.microsoft.com/office/drawing/2010/main">
                <a:solidFill>
                  <a:schemeClr val="bg1"/>
                </a:solidFill>
              </a14:hiddenFill>
            </a:ext>
          </a:extLst>
        </p:spPr>
        <p:txBody>
          <a:bodyPr wrap="square" rtlCol="0">
            <a:noAutofit/>
          </a:bodyPr>
          <a:lstStyle/>
          <a:p>
            <a:pPr>
              <a:lnSpc>
                <a:spcPct val="150000"/>
              </a:lnSpc>
            </a:pPr>
            <a:r>
              <a:rPr lang="en-US" altLang="zh-CN" b="1" dirty="0" smtClean="0">
                <a:latin typeface="+mn-ea"/>
                <a:ea typeface="+mn-ea"/>
                <a:cs typeface="+mn-ea"/>
              </a:rPr>
              <a:t>1</a:t>
            </a:r>
            <a:r>
              <a:rPr lang="zh-CN" altLang="en-US" b="1" dirty="0" smtClean="0">
                <a:latin typeface="+mn-ea"/>
                <a:ea typeface="+mn-ea"/>
                <a:cs typeface="+mn-ea"/>
              </a:rPr>
              <a:t>、安全管理</a:t>
            </a:r>
          </a:p>
          <a:p>
            <a:pPr>
              <a:lnSpc>
                <a:spcPct val="150000"/>
              </a:lnSpc>
            </a:pPr>
            <a:r>
              <a:rPr lang="en-US" altLang="zh-CN" b="1" smtClean="0">
                <a:solidFill>
                  <a:srgbClr val="000000"/>
                </a:solidFill>
                <a:latin typeface="+mn-ea"/>
                <a:ea typeface="+mn-ea"/>
                <a:cs typeface="+mn-ea"/>
                <a:sym typeface="+mn-ea"/>
              </a:rPr>
              <a:t>2</a:t>
            </a:r>
            <a:r>
              <a:rPr b="1" smtClean="0">
                <a:solidFill>
                  <a:srgbClr val="000000"/>
                </a:solidFill>
                <a:latin typeface="+mn-ea"/>
                <a:ea typeface="+mn-ea"/>
                <a:cs typeface="+mn-ea"/>
                <a:sym typeface="+mn-ea"/>
              </a:rPr>
              <a:t>、文明施工</a:t>
            </a:r>
          </a:p>
          <a:p>
            <a:pPr>
              <a:lnSpc>
                <a:spcPct val="150000"/>
              </a:lnSpc>
            </a:pPr>
            <a:r>
              <a:rPr lang="en-US" altLang="zh-CN" b="1" smtClean="0">
                <a:solidFill>
                  <a:srgbClr val="000000"/>
                </a:solidFill>
                <a:latin typeface="+mn-ea"/>
                <a:ea typeface="+mn-ea"/>
                <a:cs typeface="+mn-ea"/>
                <a:sym typeface="+mn-ea"/>
              </a:rPr>
              <a:t>3</a:t>
            </a:r>
            <a:r>
              <a:rPr b="1" smtClean="0">
                <a:solidFill>
                  <a:srgbClr val="000000"/>
                </a:solidFill>
                <a:latin typeface="+mn-ea"/>
                <a:ea typeface="+mn-ea"/>
                <a:cs typeface="+mn-ea"/>
                <a:sym typeface="+mn-ea"/>
              </a:rPr>
              <a:t>、成品保护</a:t>
            </a:r>
            <a:endParaRPr b="1" dirty="0" smtClean="0">
              <a:solidFill>
                <a:srgbClr val="000000"/>
              </a:solidFill>
              <a:latin typeface="+mn-ea"/>
              <a:ea typeface="+mn-ea"/>
              <a:cs typeface="+mn-ea"/>
            </a:endParaRPr>
          </a:p>
        </p:txBody>
      </p:sp>
      <p:sp>
        <p:nvSpPr>
          <p:cNvPr id="7"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684530" y="1350010"/>
            <a:ext cx="4550410" cy="4523105"/>
          </a:xfrm>
          <a:prstGeom prst="rect">
            <a:avLst/>
          </a:prstGeom>
          <a:noFill/>
          <a:extLst>
            <a:ext uri="{909E8E84-426E-40DD-AFC4-6F175D3DCCD1}">
              <a14:hiddenFill xmlns:a14="http://schemas.microsoft.com/office/drawing/2010/main">
                <a:solidFill>
                  <a:schemeClr val="bg1"/>
                </a:solidFill>
              </a14:hiddenFill>
            </a:ext>
          </a:extLst>
        </p:spPr>
        <p:txBody>
          <a:bodyPr wrap="square" rtlCol="0">
            <a:spAutoFit/>
          </a:bodyPr>
          <a:lstStyle/>
          <a:p>
            <a:pPr>
              <a:lnSpc>
                <a:spcPct val="150000"/>
              </a:lnSpc>
            </a:pPr>
            <a:r>
              <a:rPr lang="zh-CN" altLang="en-US" sz="1600" b="1" dirty="0" smtClean="0">
                <a:solidFill>
                  <a:srgbClr val="000000"/>
                </a:solidFill>
                <a:cs typeface="+mn-ea"/>
              </a:rPr>
              <a:t>精装施工过程中，严格加倍管控现场的各种安全文明施工作为：</a:t>
            </a:r>
            <a:endParaRPr lang="en-US" altLang="zh-CN" sz="1600" b="1" dirty="0" smtClean="0">
              <a:solidFill>
                <a:srgbClr val="000000"/>
              </a:solidFill>
              <a:cs typeface="+mn-ea"/>
            </a:endParaRPr>
          </a:p>
          <a:p>
            <a:pPr>
              <a:lnSpc>
                <a:spcPct val="150000"/>
              </a:lnSpc>
            </a:pPr>
            <a:r>
              <a:rPr lang="en-US" altLang="zh-CN" sz="1600" dirty="0" smtClean="0">
                <a:solidFill>
                  <a:srgbClr val="000000"/>
                </a:solidFill>
                <a:cs typeface="+mn-ea"/>
                <a:sym typeface="+mn-ea"/>
              </a:rPr>
              <a:t>1</a:t>
            </a:r>
            <a:r>
              <a:rPr lang="zh-CN" altLang="en-US" sz="1600" dirty="0" smtClean="0">
                <a:solidFill>
                  <a:srgbClr val="000000"/>
                </a:solidFill>
                <a:cs typeface="+mn-ea"/>
                <a:sym typeface="+mn-ea"/>
              </a:rPr>
              <a:t>、安全帽佩戴、电动工具安全使用等安全问题必须进行每日班前安全宣讲，形成常态化管理。</a:t>
            </a:r>
          </a:p>
          <a:p>
            <a:pPr>
              <a:lnSpc>
                <a:spcPct val="150000"/>
              </a:lnSpc>
            </a:pPr>
            <a:r>
              <a:rPr lang="en-US" altLang="zh-CN" sz="1600" dirty="0" smtClean="0">
                <a:solidFill>
                  <a:srgbClr val="000000"/>
                </a:solidFill>
                <a:cs typeface="+mn-ea"/>
              </a:rPr>
              <a:t>2</a:t>
            </a:r>
            <a:r>
              <a:rPr lang="zh-CN" altLang="en-US" sz="1600" dirty="0" smtClean="0">
                <a:solidFill>
                  <a:srgbClr val="000000"/>
                </a:solidFill>
                <a:cs typeface="+mn-ea"/>
              </a:rPr>
              <a:t>、建筑及房间挑空、洞口的临边防护；</a:t>
            </a:r>
          </a:p>
          <a:p>
            <a:pPr>
              <a:lnSpc>
                <a:spcPct val="150000"/>
              </a:lnSpc>
            </a:pPr>
            <a:r>
              <a:rPr lang="en-US" altLang="zh-CN" sz="1600" dirty="0" smtClean="0">
                <a:solidFill>
                  <a:srgbClr val="000000"/>
                </a:solidFill>
                <a:cs typeface="+mn-ea"/>
              </a:rPr>
              <a:t>3</a:t>
            </a:r>
            <a:r>
              <a:rPr lang="zh-CN" altLang="en-US" sz="1600" dirty="0" smtClean="0">
                <a:solidFill>
                  <a:srgbClr val="000000"/>
                </a:solidFill>
                <a:cs typeface="+mn-ea"/>
              </a:rPr>
              <a:t>、施工区域内的消防设备设施必须配备齐全，定期组织劳务进行消防演练，强化个人的备防火意识。</a:t>
            </a:r>
          </a:p>
          <a:p>
            <a:pPr>
              <a:lnSpc>
                <a:spcPct val="150000"/>
              </a:lnSpc>
            </a:pPr>
            <a:endParaRPr lang="en-US" altLang="zh-CN" sz="1600" b="1" dirty="0" smtClean="0">
              <a:solidFill>
                <a:srgbClr val="000000"/>
              </a:solidFill>
              <a:cs typeface="+mn-ea"/>
            </a:endParaRPr>
          </a:p>
          <a:p>
            <a:pPr>
              <a:lnSpc>
                <a:spcPct val="150000"/>
              </a:lnSpc>
            </a:pPr>
            <a:endParaRPr lang="en-US" altLang="zh-CN" sz="1600" b="1" dirty="0">
              <a:solidFill>
                <a:srgbClr val="000000"/>
              </a:solidFill>
              <a:cs typeface="+mn-ea"/>
            </a:endParaRPr>
          </a:p>
          <a:p>
            <a:pPr>
              <a:lnSpc>
                <a:spcPct val="150000"/>
              </a:lnSpc>
            </a:pPr>
            <a:r>
              <a:rPr lang="zh-CN" altLang="en-US" sz="1600" b="1" dirty="0" smtClean="0">
                <a:solidFill>
                  <a:srgbClr val="000000"/>
                </a:solidFill>
                <a:cs typeface="+mn-ea"/>
              </a:rPr>
              <a:t>工作目的：精装也有</a:t>
            </a:r>
            <a:r>
              <a:rPr lang="zh-CN" altLang="en-US" sz="1600" b="1" dirty="0" smtClean="0">
                <a:solidFill>
                  <a:srgbClr val="000000"/>
                </a:solidFill>
                <a:cs typeface="+mn-ea"/>
                <a:sym typeface="+mn-ea"/>
              </a:rPr>
              <a:t>三宝、四口、五临边，</a:t>
            </a:r>
            <a:r>
              <a:rPr lang="zh-CN" altLang="en-US" sz="1600" b="1" dirty="0" smtClean="0">
                <a:solidFill>
                  <a:srgbClr val="000000"/>
                </a:solidFill>
                <a:cs typeface="+mn-ea"/>
              </a:rPr>
              <a:t>安全无小事，杜绝一切隐患。</a:t>
            </a:r>
            <a:endParaRPr lang="en-US" altLang="zh-CN" sz="1600" b="1" dirty="0">
              <a:solidFill>
                <a:srgbClr val="000000"/>
              </a:solidFill>
              <a:cs typeface="+mn-ea"/>
            </a:endParaRPr>
          </a:p>
        </p:txBody>
      </p:sp>
      <p:pic>
        <p:nvPicPr>
          <p:cNvPr id="7" name="图片 4" descr="P1060291.JPG"/>
          <p:cNvPicPr>
            <a:picLocks noChangeAspect="1"/>
          </p:cNvPicPr>
          <p:nvPr/>
        </p:nvPicPr>
        <p:blipFill>
          <a:blip r:embed="rId2"/>
          <a:stretch>
            <a:fillRect/>
          </a:stretch>
        </p:blipFill>
        <p:spPr bwMode="auto">
          <a:xfrm>
            <a:off x="5732378" y="1233781"/>
            <a:ext cx="2784058" cy="2088232"/>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9" name="图片 8"/>
          <p:cNvPicPr>
            <a:picLocks noChangeAspect="1"/>
          </p:cNvPicPr>
          <p:nvPr/>
        </p:nvPicPr>
        <p:blipFill>
          <a:blip r:embed="rId3"/>
          <a:stretch>
            <a:fillRect/>
          </a:stretch>
        </p:blipFill>
        <p:spPr bwMode="auto">
          <a:xfrm>
            <a:off x="8714292" y="3849346"/>
            <a:ext cx="2572464" cy="2088232"/>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10" name="Text Box 7"/>
          <p:cNvSpPr txBox="1">
            <a:spLocks noChangeArrowheads="1"/>
          </p:cNvSpPr>
          <p:nvPr/>
        </p:nvSpPr>
        <p:spPr bwMode="auto">
          <a:xfrm>
            <a:off x="10765407" y="6679108"/>
            <a:ext cx="1368152" cy="303913"/>
          </a:xfrm>
          <a:prstGeom prst="rect">
            <a:avLst/>
          </a:prstGeom>
          <a:noFill/>
          <a:ln w="9525">
            <a:noFill/>
            <a:miter lim="800000"/>
          </a:ln>
        </p:spPr>
        <p:txBody>
          <a:bodyPr wrap="square" lIns="118095" tIns="59047" rIns="118095" bIns="59047">
            <a:spAutoFit/>
          </a:bodyPr>
          <a:lstStyle/>
          <a:p>
            <a:pPr algn="ctr">
              <a:spcBef>
                <a:spcPts val="1550"/>
              </a:spcBef>
              <a:spcAft>
                <a:spcPts val="1550"/>
              </a:spcAft>
            </a:pPr>
            <a:r>
              <a:rPr lang="zh-CN" altLang="en-US" sz="1200" b="1" dirty="0" smtClean="0">
                <a:latin typeface="微软雅黑" panose="020B0503020204020204" pitchFamily="34" charset="-122"/>
                <a:ea typeface="微软雅黑" panose="020B0503020204020204" pitchFamily="34" charset="-122"/>
              </a:rPr>
              <a:t>编制人：王慧卿</a:t>
            </a:r>
            <a:endParaRPr lang="zh-CN" altLang="zh-CN" sz="1200" b="1" dirty="0" smtClean="0">
              <a:latin typeface="微软雅黑" panose="020B0503020204020204" pitchFamily="34" charset="-122"/>
              <a:ea typeface="微软雅黑" panose="020B0503020204020204" pitchFamily="34" charset="-122"/>
            </a:endParaRPr>
          </a:p>
        </p:txBody>
      </p:sp>
      <p:sp>
        <p:nvSpPr>
          <p:cNvPr id="4" name="TextBox 4"/>
          <p:cNvSpPr txBox="1"/>
          <p:nvPr/>
        </p:nvSpPr>
        <p:spPr>
          <a:xfrm>
            <a:off x="252239" y="76438"/>
            <a:ext cx="4320480" cy="553085"/>
          </a:xfrm>
          <a:prstGeom prst="rect">
            <a:avLst/>
          </a:prstGeom>
          <a:solidFill>
            <a:schemeClr val="bg1"/>
          </a:solidFill>
        </p:spPr>
        <p:txBody>
          <a:bodyPr wrap="square" rtlCol="0">
            <a:spAutoFit/>
          </a:bodyPr>
          <a:lstStyle/>
          <a:p>
            <a:pPr>
              <a:lnSpc>
                <a:spcPct val="150000"/>
              </a:lnSpc>
            </a:pPr>
            <a:r>
              <a:rPr lang="zh-CN" altLang="en-US" sz="2000" b="1" dirty="0">
                <a:solidFill>
                  <a:srgbClr val="F64C31"/>
                </a:solidFill>
                <a:cs typeface="+mn-ea"/>
              </a:rPr>
              <a:t>六</a:t>
            </a:r>
            <a:r>
              <a:rPr lang="zh-CN" altLang="en-US" sz="2000" b="1" dirty="0" smtClean="0">
                <a:solidFill>
                  <a:srgbClr val="F64C31"/>
                </a:solidFill>
                <a:cs typeface="+mn-ea"/>
              </a:rPr>
              <a:t>、安全文明</a:t>
            </a:r>
          </a:p>
        </p:txBody>
      </p:sp>
      <p:sp>
        <p:nvSpPr>
          <p:cNvPr id="12" name="文本框 11"/>
          <p:cNvSpPr txBox="1"/>
          <p:nvPr/>
        </p:nvSpPr>
        <p:spPr>
          <a:xfrm>
            <a:off x="684530" y="720725"/>
            <a:ext cx="3326765" cy="506730"/>
          </a:xfrm>
          <a:prstGeom prst="rect">
            <a:avLst/>
          </a:prstGeom>
          <a:solidFill>
            <a:srgbClr val="F64C31"/>
          </a:solidFill>
          <a:effectLst>
            <a:outerShdw blurRad="50800" dist="38100" dir="2700000" algn="tl" rotWithShape="0">
              <a:prstClr val="black">
                <a:alpha val="40000"/>
              </a:prstClr>
            </a:outerShdw>
          </a:effectLst>
        </p:spPr>
        <p:txBody>
          <a:bodyPr wrap="square" rtlCol="0">
            <a:spAutoFit/>
          </a:bodyPr>
          <a:lstStyle/>
          <a:p>
            <a:pPr>
              <a:lnSpc>
                <a:spcPct val="150000"/>
              </a:lnSpc>
            </a:pPr>
            <a:r>
              <a:rPr lang="en-US" altLang="zh-CN" sz="1800" b="1" dirty="0">
                <a:solidFill>
                  <a:srgbClr val="000000"/>
                </a:solidFill>
                <a:cs typeface="+mn-ea"/>
              </a:rPr>
              <a:t>6.1  </a:t>
            </a:r>
            <a:r>
              <a:rPr lang="zh-CN" sz="1800" b="1" dirty="0" smtClean="0">
                <a:solidFill>
                  <a:srgbClr val="000000"/>
                </a:solidFill>
                <a:cs typeface="+mn-ea"/>
              </a:rPr>
              <a:t>安全管理</a:t>
            </a:r>
            <a:r>
              <a:rPr lang="zh-CN" altLang="en-US" sz="1800" b="1" dirty="0" smtClean="0">
                <a:solidFill>
                  <a:srgbClr val="000000"/>
                </a:solidFill>
                <a:cs typeface="+mn-ea"/>
              </a:rPr>
              <a:t>   </a:t>
            </a:r>
            <a:endParaRPr lang="zh-CN" altLang="en-US" sz="1800" b="1" dirty="0" smtClean="0">
              <a:solidFill>
                <a:srgbClr val="000000"/>
              </a:solidFill>
              <a:cs typeface="+mn-ea"/>
              <a:sym typeface="+mn-ea"/>
            </a:endParaRPr>
          </a:p>
        </p:txBody>
      </p:sp>
      <p:pic>
        <p:nvPicPr>
          <p:cNvPr id="93190" name="图片 1"/>
          <p:cNvPicPr>
            <a:picLocks noChangeAspect="1"/>
          </p:cNvPicPr>
          <p:nvPr/>
        </p:nvPicPr>
        <p:blipFill>
          <a:blip r:embed="rId4"/>
          <a:stretch>
            <a:fillRect/>
          </a:stretch>
        </p:blipFill>
        <p:spPr bwMode="auto">
          <a:xfrm>
            <a:off x="8714105" y="1227455"/>
            <a:ext cx="2572385" cy="2101215"/>
          </a:xfrm>
          <a:prstGeom prst="rect">
            <a:avLst/>
          </a:prstGeom>
          <a:noFill/>
          <a:ln w="88900" cap="sq" cmpd="thickThin">
            <a:solidFill>
              <a:srgbClr val="000000"/>
            </a:solidFill>
            <a:prstDash val="solid"/>
            <a:miter lim="800000"/>
            <a:headEnd/>
            <a:tailEnd/>
          </a:ln>
          <a:effectLst>
            <a:innerShdw blurRad="76200">
              <a:srgbClr val="000000"/>
            </a:innerShdw>
          </a:effectLst>
        </p:spPr>
      </p:pic>
      <p:pic>
        <p:nvPicPr>
          <p:cNvPr id="95238" name="Picture 7"/>
          <p:cNvPicPr>
            <a:picLocks noChangeAspect="1"/>
          </p:cNvPicPr>
          <p:nvPr/>
        </p:nvPicPr>
        <p:blipFill>
          <a:blip r:embed="rId5"/>
          <a:stretch>
            <a:fillRect/>
          </a:stretch>
        </p:blipFill>
        <p:spPr bwMode="auto">
          <a:xfrm>
            <a:off x="5732145" y="3849370"/>
            <a:ext cx="2784475" cy="2088515"/>
          </a:xfrm>
          <a:prstGeom prst="rect">
            <a:avLst/>
          </a:prstGeom>
          <a:noFill/>
          <a:ln w="88900" cap="sq" cmpd="thickThin">
            <a:solidFill>
              <a:srgbClr val="000000"/>
            </a:solidFill>
            <a:prstDash val="solid"/>
            <a:miter lim="800000"/>
            <a:headEnd/>
            <a:tailEnd/>
          </a:ln>
          <a:effectLst>
            <a:innerShdw blurRad="76200">
              <a:srgbClr val="000000"/>
            </a:innerShdw>
          </a:effectLst>
        </p:spPr>
      </p:pic>
      <p:sp>
        <p:nvSpPr>
          <p:cNvPr id="2" name="文本框 1"/>
          <p:cNvSpPr txBox="1"/>
          <p:nvPr/>
        </p:nvSpPr>
        <p:spPr>
          <a:xfrm>
            <a:off x="6551930" y="3345180"/>
            <a:ext cx="995680" cy="337185"/>
          </a:xfrm>
          <a:prstGeom prst="rect">
            <a:avLst/>
          </a:prstGeom>
          <a:noFill/>
          <a:extLst>
            <a:ext uri="{909E8E84-426E-40DD-AFC4-6F175D3DCCD1}">
              <a14:hiddenFill xmlns:a14="http://schemas.microsoft.com/office/drawing/2010/main">
                <a:solidFill>
                  <a:schemeClr val="bg1"/>
                </a:solidFill>
              </a14:hiddenFill>
            </a:ext>
          </a:extLst>
        </p:spPr>
        <p:txBody>
          <a:bodyPr wrap="none" rtlCol="0" anchor="t">
            <a:spAutoFit/>
          </a:bodyPr>
          <a:lstStyle/>
          <a:p>
            <a:r>
              <a:rPr lang="zh-CN" altLang="en-US" sz="1600" b="1" dirty="0" smtClean="0">
                <a:solidFill>
                  <a:srgbClr val="000000"/>
                </a:solidFill>
                <a:cs typeface="+mn-ea"/>
                <a:sym typeface="+mn-ea"/>
              </a:rPr>
              <a:t>班前宣讲</a:t>
            </a:r>
            <a:endParaRPr lang="zh-CN" altLang="en-US" sz="1600" dirty="0" smtClean="0">
              <a:solidFill>
                <a:schemeClr val="tx1"/>
              </a:solidFill>
            </a:endParaRPr>
          </a:p>
        </p:txBody>
      </p:sp>
      <p:sp>
        <p:nvSpPr>
          <p:cNvPr id="3" name="文本框 2"/>
          <p:cNvSpPr txBox="1"/>
          <p:nvPr/>
        </p:nvSpPr>
        <p:spPr>
          <a:xfrm>
            <a:off x="9477375" y="3328670"/>
            <a:ext cx="1198880" cy="337185"/>
          </a:xfrm>
          <a:prstGeom prst="rect">
            <a:avLst/>
          </a:prstGeom>
          <a:noFill/>
          <a:extLst>
            <a:ext uri="{909E8E84-426E-40DD-AFC4-6F175D3DCCD1}">
              <a14:hiddenFill xmlns:a14="http://schemas.microsoft.com/office/drawing/2010/main">
                <a:solidFill>
                  <a:schemeClr val="bg1"/>
                </a:solidFill>
              </a14:hiddenFill>
            </a:ext>
          </a:extLst>
        </p:spPr>
        <p:txBody>
          <a:bodyPr wrap="none" rtlCol="0" anchor="t">
            <a:spAutoFit/>
          </a:bodyPr>
          <a:lstStyle/>
          <a:p>
            <a:r>
              <a:rPr lang="zh-CN" altLang="en-US" sz="1600" b="1" dirty="0" smtClean="0">
                <a:solidFill>
                  <a:srgbClr val="000000"/>
                </a:solidFill>
                <a:cs typeface="+mn-ea"/>
                <a:sym typeface="+mn-ea"/>
              </a:rPr>
              <a:t>安全帽佩戴</a:t>
            </a:r>
            <a:endParaRPr lang="zh-CN" altLang="en-US" sz="1600" dirty="0" smtClean="0">
              <a:solidFill>
                <a:schemeClr val="tx1"/>
              </a:solidFill>
            </a:endParaRPr>
          </a:p>
        </p:txBody>
      </p:sp>
      <p:sp>
        <p:nvSpPr>
          <p:cNvPr id="5" name="文本框 4"/>
          <p:cNvSpPr txBox="1"/>
          <p:nvPr/>
        </p:nvSpPr>
        <p:spPr>
          <a:xfrm>
            <a:off x="6524625" y="6029325"/>
            <a:ext cx="995680" cy="337185"/>
          </a:xfrm>
          <a:prstGeom prst="rect">
            <a:avLst/>
          </a:prstGeom>
          <a:noFill/>
          <a:extLst>
            <a:ext uri="{909E8E84-426E-40DD-AFC4-6F175D3DCCD1}">
              <a14:hiddenFill xmlns:a14="http://schemas.microsoft.com/office/drawing/2010/main">
                <a:solidFill>
                  <a:schemeClr val="bg1"/>
                </a:solidFill>
              </a14:hiddenFill>
            </a:ext>
          </a:extLst>
        </p:spPr>
        <p:txBody>
          <a:bodyPr wrap="none" rtlCol="0" anchor="t">
            <a:spAutoFit/>
          </a:bodyPr>
          <a:lstStyle/>
          <a:p>
            <a:r>
              <a:rPr lang="zh-CN" altLang="en-US" sz="1600" b="1" dirty="0" smtClean="0">
                <a:solidFill>
                  <a:srgbClr val="000000"/>
                </a:solidFill>
                <a:cs typeface="+mn-ea"/>
                <a:sym typeface="+mn-ea"/>
              </a:rPr>
              <a:t>防火演练</a:t>
            </a:r>
            <a:endParaRPr lang="zh-CN" altLang="en-US" sz="1600" dirty="0" smtClean="0">
              <a:solidFill>
                <a:schemeClr val="tx1"/>
              </a:solidFill>
            </a:endParaRPr>
          </a:p>
        </p:txBody>
      </p:sp>
      <p:sp>
        <p:nvSpPr>
          <p:cNvPr id="8" name="文本框 7"/>
          <p:cNvSpPr txBox="1"/>
          <p:nvPr/>
        </p:nvSpPr>
        <p:spPr>
          <a:xfrm>
            <a:off x="9502140" y="6029325"/>
            <a:ext cx="995680" cy="337185"/>
          </a:xfrm>
          <a:prstGeom prst="rect">
            <a:avLst/>
          </a:prstGeom>
          <a:noFill/>
          <a:extLst>
            <a:ext uri="{909E8E84-426E-40DD-AFC4-6F175D3DCCD1}">
              <a14:hiddenFill xmlns:a14="http://schemas.microsoft.com/office/drawing/2010/main">
                <a:solidFill>
                  <a:schemeClr val="bg1"/>
                </a:solidFill>
              </a14:hiddenFill>
            </a:ext>
          </a:extLst>
        </p:spPr>
        <p:txBody>
          <a:bodyPr wrap="none" rtlCol="0" anchor="t">
            <a:spAutoFit/>
          </a:bodyPr>
          <a:lstStyle/>
          <a:p>
            <a:r>
              <a:rPr lang="zh-CN" altLang="en-US" sz="1600" b="1" dirty="0" smtClean="0">
                <a:solidFill>
                  <a:srgbClr val="000000"/>
                </a:solidFill>
                <a:cs typeface="+mn-ea"/>
                <a:sym typeface="+mn-ea"/>
              </a:rPr>
              <a:t>临边防护</a:t>
            </a:r>
            <a:endParaRPr lang="zh-CN" altLang="en-US" sz="1600" dirty="0" smtClean="0">
              <a:solidFill>
                <a:schemeClr val="tx1"/>
              </a:solidFill>
            </a:endParaRPr>
          </a:p>
        </p:txBody>
      </p:sp>
    </p:spTree>
  </p:cSld>
  <p:clrMapOvr>
    <a:masterClrMapping/>
  </p:clrMapOvr>
  <p:transition>
    <p:zoom dir="in"/>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_Tq_TRIlU2UihDuzC7B_A"/>
</p:tagLst>
</file>

<file path=ppt/tags/tag10.xml><?xml version="1.0" encoding="utf-8"?>
<p:tagLst xmlns:a="http://schemas.openxmlformats.org/drawingml/2006/main" xmlns:r="http://schemas.openxmlformats.org/officeDocument/2006/relationships" xmlns:p="http://schemas.openxmlformats.org/presentationml/2006/main">
  <p:tag name="PA" val="v3.2.0"/>
</p:tagLst>
</file>

<file path=ppt/tags/tag11.xml><?xml version="1.0" encoding="utf-8"?>
<p:tagLst xmlns:a="http://schemas.openxmlformats.org/drawingml/2006/main" xmlns:r="http://schemas.openxmlformats.org/officeDocument/2006/relationships" xmlns:p="http://schemas.openxmlformats.org/presentationml/2006/main">
  <p:tag name="PA" val="v3.2.0"/>
</p:tagLst>
</file>

<file path=ppt/tags/tag12.xml><?xml version="1.0" encoding="utf-8"?>
<p:tagLst xmlns:a="http://schemas.openxmlformats.org/drawingml/2006/main" xmlns:r="http://schemas.openxmlformats.org/officeDocument/2006/relationships" xmlns:p="http://schemas.openxmlformats.org/presentationml/2006/main">
  <p:tag name="PA" val="v3.2.0"/>
</p:tagLst>
</file>

<file path=ppt/tags/tag13.xml><?xml version="1.0" encoding="utf-8"?>
<p:tagLst xmlns:a="http://schemas.openxmlformats.org/drawingml/2006/main" xmlns:r="http://schemas.openxmlformats.org/officeDocument/2006/relationships" xmlns:p="http://schemas.openxmlformats.org/presentationml/2006/main">
  <p:tag name="PA" val="v3.2.0"/>
</p:tagLst>
</file>

<file path=ppt/tags/tag14.xml><?xml version="1.0" encoding="utf-8"?>
<p:tagLst xmlns:a="http://schemas.openxmlformats.org/drawingml/2006/main" xmlns:r="http://schemas.openxmlformats.org/officeDocument/2006/relationships" xmlns:p="http://schemas.openxmlformats.org/presentationml/2006/main">
  <p:tag name="PA" val="v3.2.0"/>
</p:tagLst>
</file>

<file path=ppt/tags/tag15.xml><?xml version="1.0" encoding="utf-8"?>
<p:tagLst xmlns:a="http://schemas.openxmlformats.org/drawingml/2006/main" xmlns:r="http://schemas.openxmlformats.org/officeDocument/2006/relationships" xmlns:p="http://schemas.openxmlformats.org/presentationml/2006/main">
  <p:tag name="PA" val="v3.2.0"/>
</p:tagLst>
</file>

<file path=ppt/tags/tag16.xml><?xml version="1.0" encoding="utf-8"?>
<p:tagLst xmlns:a="http://schemas.openxmlformats.org/drawingml/2006/main" xmlns:r="http://schemas.openxmlformats.org/officeDocument/2006/relationships" xmlns:p="http://schemas.openxmlformats.org/presentationml/2006/main">
  <p:tag name="PA" val="v3.2.0"/>
</p:tagLst>
</file>

<file path=ppt/tags/tag17.xml><?xml version="1.0" encoding="utf-8"?>
<p:tagLst xmlns:a="http://schemas.openxmlformats.org/drawingml/2006/main" xmlns:r="http://schemas.openxmlformats.org/officeDocument/2006/relationships" xmlns:p="http://schemas.openxmlformats.org/presentationml/2006/main">
  <p:tag name="PA" val="v3.2.0"/>
</p:tagLst>
</file>

<file path=ppt/tags/tag18.xml><?xml version="1.0" encoding="utf-8"?>
<p:tagLst xmlns:a="http://schemas.openxmlformats.org/drawingml/2006/main" xmlns:r="http://schemas.openxmlformats.org/officeDocument/2006/relationships" xmlns:p="http://schemas.openxmlformats.org/presentationml/2006/main">
  <p:tag name="PA" val="v3.2.0"/>
</p:tagLst>
</file>

<file path=ppt/tags/tag19.xml><?xml version="1.0" encoding="utf-8"?>
<p:tagLst xmlns:a="http://schemas.openxmlformats.org/drawingml/2006/main" xmlns:r="http://schemas.openxmlformats.org/officeDocument/2006/relationships" xmlns:p="http://schemas.openxmlformats.org/presentationml/2006/main">
  <p:tag name="PA" val="v3.2.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ohczqLU8EmMROIELWbYsg"/>
</p:tagLst>
</file>

<file path=ppt/tags/tag3.xml><?xml version="1.0" encoding="utf-8"?>
<p:tagLst xmlns:a="http://schemas.openxmlformats.org/drawingml/2006/main" xmlns:r="http://schemas.openxmlformats.org/officeDocument/2006/relationships" xmlns:p="http://schemas.openxmlformats.org/presentationml/2006/main">
  <p:tag name="TOP" val="285.875"/>
  <p:tag name="LEFT" val="59.25"/>
  <p:tag name="WIDTH" val="542"/>
  <p:tag name="HEIGHT" val="0.125"/>
  <p:tag name="THINKCELLSHAPEDONOTDELETE" val="pD_uDwpHIS0uJf4RzDqA6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E3tm9ve9k.VcrflZDAj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aokVWlB0iIe04cOCi8.Q"/>
</p:tagLst>
</file>

<file path=ppt/tags/tag6.xml><?xml version="1.0" encoding="utf-8"?>
<p:tagLst xmlns:a="http://schemas.openxmlformats.org/drawingml/2006/main" xmlns:r="http://schemas.openxmlformats.org/officeDocument/2006/relationships" xmlns:p="http://schemas.openxmlformats.org/presentationml/2006/main">
  <p:tag name="PA" val="v3.2.0"/>
</p:tagLst>
</file>

<file path=ppt/tags/tag7.xml><?xml version="1.0" encoding="utf-8"?>
<p:tagLst xmlns:a="http://schemas.openxmlformats.org/drawingml/2006/main" xmlns:r="http://schemas.openxmlformats.org/officeDocument/2006/relationships" xmlns:p="http://schemas.openxmlformats.org/presentationml/2006/main">
  <p:tag name="PA" val="v3.2.0"/>
</p:tagLst>
</file>

<file path=ppt/tags/tag8.xml><?xml version="1.0" encoding="utf-8"?>
<p:tagLst xmlns:a="http://schemas.openxmlformats.org/drawingml/2006/main" xmlns:r="http://schemas.openxmlformats.org/officeDocument/2006/relationships" xmlns:p="http://schemas.openxmlformats.org/presentationml/2006/main">
  <p:tag name="PA" val="v3.2.0"/>
</p:tagLst>
</file>

<file path=ppt/tags/tag9.xml><?xml version="1.0" encoding="utf-8"?>
<p:tagLst xmlns:a="http://schemas.openxmlformats.org/drawingml/2006/main" xmlns:r="http://schemas.openxmlformats.org/officeDocument/2006/relationships" xmlns:p="http://schemas.openxmlformats.org/presentationml/2006/main">
  <p:tag name="PA" val="v3.2.0"/>
</p:tagLst>
</file>

<file path=ppt/theme/theme1.xml><?xml version="1.0" encoding="utf-8"?>
<a:theme xmlns:a="http://schemas.openxmlformats.org/drawingml/2006/main" name="1_金地可研报告模版（20130728）">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wrap="none" rtlCol="0">
        <a:spAutoFit/>
      </a:bodyPr>
      <a:lstStyle>
        <a:defPPr>
          <a:defRPr dirty="0" smtClean="0">
            <a:solidFill>
              <a:schemeClr val="tx1"/>
            </a:solidFill>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金地可研报告模版（20130728）">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wrap="none" rtlCol="0">
        <a:spAutoFit/>
      </a:bodyPr>
      <a:lstStyle>
        <a:defPPr>
          <a:defRPr dirty="0" smtClean="0">
            <a:solidFill>
              <a:schemeClr val="tx1"/>
            </a:solidFill>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金地集团">
  <a:themeElements>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fontScheme name="金地标准（投资与运营管理部）">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rgbClr val="FF0000"/>
        </a:solidFill>
        <a:ln>
          <a:noFill/>
        </a:ln>
      </a:spPr>
      <a:bodyPr>
        <a:spAutoFit/>
      </a:bodyPr>
      <a:lstStyle>
        <a:defPPr algn="ctr" eaLnBrk="1" hangingPunct="1">
          <a:defRPr sz="2400" b="1" dirty="0">
            <a:latin typeface="微软雅黑" panose="020B0503020204020204" pitchFamily="34" charset="-122"/>
            <a:ea typeface="微软雅黑" panose="020B0503020204020204" pitchFamily="34" charset="-122"/>
          </a:defRPr>
        </a:defPPr>
      </a:lstStyle>
    </a:txDef>
  </a:objectDefaults>
  <a:extraClrSchemeLst>
    <a:extraClrScheme>
      <a:clrScheme name="5_金地集团 1">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5F5F5F"/>
        </a:folHlink>
      </a:clrScheme>
      <a:clrMap bg1="lt1" tx1="dk1" bg2="lt2" tx2="dk2" accent1="accent1" accent2="accent2" accent3="accent3" accent4="accent4" accent5="accent5" accent6="accent6" hlink="hlink" folHlink="folHlink"/>
    </a:extraClrScheme>
    <a:extraClrScheme>
      <a:clrScheme name="5_金地集团 2">
        <a:dk1>
          <a:srgbClr val="000000"/>
        </a:dk1>
        <a:lt1>
          <a:srgbClr val="FFFFFF"/>
        </a:lt1>
        <a:dk2>
          <a:srgbClr val="000000"/>
        </a:dk2>
        <a:lt2>
          <a:srgbClr val="808080"/>
        </a:lt2>
        <a:accent1>
          <a:srgbClr val="F64C31"/>
        </a:accent1>
        <a:accent2>
          <a:srgbClr val="CC3300"/>
        </a:accent2>
        <a:accent3>
          <a:srgbClr val="FFFFFF"/>
        </a:accent3>
        <a:accent4>
          <a:srgbClr val="000000"/>
        </a:accent4>
        <a:accent5>
          <a:srgbClr val="FAB2AD"/>
        </a:accent5>
        <a:accent6>
          <a:srgbClr val="B92D00"/>
        </a:accent6>
        <a:hlink>
          <a:srgbClr val="B2B2B2"/>
        </a:hlink>
        <a:folHlink>
          <a:srgbClr val="316EF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金地投资与运营管理部">
    <a:dk1>
      <a:srgbClr val="000000"/>
    </a:dk1>
    <a:lt1>
      <a:srgbClr val="FFFFFF"/>
    </a:lt1>
    <a:dk2>
      <a:srgbClr val="000000"/>
    </a:dk2>
    <a:lt2>
      <a:srgbClr val="808080"/>
    </a:lt2>
    <a:accent1>
      <a:srgbClr val="DB2613"/>
    </a:accent1>
    <a:accent2>
      <a:srgbClr val="5A5D64"/>
    </a:accent2>
    <a:accent3>
      <a:srgbClr val="E7BA10"/>
    </a:accent3>
    <a:accent4>
      <a:srgbClr val="639629"/>
    </a:accent4>
    <a:accent5>
      <a:srgbClr val="9C55AD"/>
    </a:accent5>
    <a:accent6>
      <a:srgbClr val="CEC3C6"/>
    </a:accent6>
    <a:hlink>
      <a:srgbClr val="B2B2B2"/>
    </a:hlink>
    <a:folHlink>
      <a:srgbClr val="5F5F5F"/>
    </a:folHlink>
  </a:clrScheme>
</a:themeOverride>
</file>

<file path=docProps/app.xml><?xml version="1.0" encoding="utf-8"?>
<Properties xmlns="http://schemas.openxmlformats.org/officeDocument/2006/extended-properties" xmlns:vt="http://schemas.openxmlformats.org/officeDocument/2006/docPropsVTypes">
  <TotalTime>216</TotalTime>
  <Words>12461</Words>
  <Application>Microsoft Office PowerPoint</Application>
  <PresentationFormat>自定义</PresentationFormat>
  <Paragraphs>1792</Paragraphs>
  <Slides>124</Slides>
  <Notes>0</Notes>
  <HiddenSlides>0</HiddenSlides>
  <MMClips>0</MMClips>
  <ScaleCrop>false</ScaleCrop>
  <HeadingPairs>
    <vt:vector size="8" baseType="variant">
      <vt:variant>
        <vt:lpstr>已用的字体</vt:lpstr>
      </vt:variant>
      <vt:variant>
        <vt:i4>10</vt:i4>
      </vt:variant>
      <vt:variant>
        <vt:lpstr>主题</vt:lpstr>
      </vt:variant>
      <vt:variant>
        <vt:i4>3</vt:i4>
      </vt:variant>
      <vt:variant>
        <vt:lpstr>嵌入 OLE 服务器</vt:lpstr>
      </vt:variant>
      <vt:variant>
        <vt:i4>3</vt:i4>
      </vt:variant>
      <vt:variant>
        <vt:lpstr>幻灯片标题</vt:lpstr>
      </vt:variant>
      <vt:variant>
        <vt:i4>124</vt:i4>
      </vt:variant>
    </vt:vector>
  </HeadingPairs>
  <TitlesOfParts>
    <vt:vector size="140" baseType="lpstr">
      <vt:lpstr>Arial Unicode MS</vt:lpstr>
      <vt:lpstr>黑体</vt:lpstr>
      <vt:lpstr>华文中宋</vt:lpstr>
      <vt:lpstr>宋体</vt:lpstr>
      <vt:lpstr>微软雅黑</vt:lpstr>
      <vt:lpstr>Arial</vt:lpstr>
      <vt:lpstr>Calibri</vt:lpstr>
      <vt:lpstr>Times New Roman</vt:lpstr>
      <vt:lpstr>Wingdings</vt:lpstr>
      <vt:lpstr>Wingdings 2</vt:lpstr>
      <vt:lpstr>1_金地可研报告模版（20130728）</vt:lpstr>
      <vt:lpstr>9_金地可研报告模版（20130728）</vt:lpstr>
      <vt:lpstr>5_金地集团</vt:lpstr>
      <vt:lpstr>think-cell Slide</vt:lpstr>
      <vt:lpstr>Microsoft Word 97 - 2003 文档</vt:lpstr>
      <vt:lpstr>工作表</vt:lpstr>
      <vt:lpstr>9</vt:lpstr>
      <vt:lpstr>PowerPoint 演示文稿</vt:lpstr>
      <vt:lpstr>一、项目前期</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二、精装启动</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三、招标阶段</vt:lpstr>
      <vt:lpstr>PowerPoint 演示文稿</vt:lpstr>
      <vt:lpstr>PowerPoint 演示文稿</vt:lpstr>
      <vt:lpstr>PowerPoint 演示文稿</vt:lpstr>
      <vt:lpstr>四、精装进场</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控制线</vt:lpstr>
      <vt:lpstr>PowerPoint 演示文稿</vt:lpstr>
      <vt:lpstr>排版线</vt:lpstr>
      <vt:lpstr>PowerPoint 演示文稿</vt:lpstr>
      <vt:lpstr>PowerPoint 演示文稿</vt:lpstr>
      <vt:lpstr>PowerPoint 演示文稿</vt:lpstr>
      <vt:lpstr>五、精装过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六、安全文明</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七、客户敏感点</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精装管控</dc:title>
  <dc:creator>CIC28王慧卿</dc:creator>
  <cp:lastModifiedBy>A00024</cp:lastModifiedBy>
  <cp:revision>1653</cp:revision>
  <cp:lastPrinted>2015-11-06T05:39:00Z</cp:lastPrinted>
  <dcterms:created xsi:type="dcterms:W3CDTF">2016-05-15T10:35:00Z</dcterms:created>
  <dcterms:modified xsi:type="dcterms:W3CDTF">2021-01-13T00:2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